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slideLayouts/slideLayout20.xml" ContentType="application/vnd.openxmlformats-officedocument.presentationml.slideLayout+xml"/>
  <Override PartName="/ppt/theme/theme6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7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8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9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10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1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2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3.xml" ContentType="application/vnd.openxmlformats-officedocument.theme+xml"/>
  <Override PartName="/ppt/slideLayouts/slideLayout77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4"/>
    <p:sldMasterId id="2147483713" r:id="rId5"/>
    <p:sldMasterId id="2147483701" r:id="rId6"/>
    <p:sldMasterId id="2147483715" r:id="rId7"/>
    <p:sldMasterId id="2147483735" r:id="rId8"/>
    <p:sldMasterId id="2147483738" r:id="rId9"/>
    <p:sldMasterId id="2147483745" r:id="rId10"/>
    <p:sldMasterId id="2147483752" r:id="rId11"/>
    <p:sldMasterId id="2147483808" r:id="rId12"/>
    <p:sldMasterId id="2147483822" r:id="rId13"/>
    <p:sldMasterId id="2147483832" r:id="rId14"/>
    <p:sldMasterId id="2147483842" r:id="rId15"/>
    <p:sldMasterId id="2147483848" r:id="rId16"/>
    <p:sldMasterId id="2147483880" r:id="rId17"/>
  </p:sldMasterIdLst>
  <p:notesMasterIdLst>
    <p:notesMasterId r:id="rId25"/>
  </p:notesMasterIdLst>
  <p:handoutMasterIdLst>
    <p:handoutMasterId r:id="rId26"/>
  </p:handoutMasterIdLst>
  <p:sldIdLst>
    <p:sldId id="256" r:id="rId18"/>
    <p:sldId id="585" r:id="rId19"/>
    <p:sldId id="591" r:id="rId20"/>
    <p:sldId id="1592" r:id="rId21"/>
    <p:sldId id="1593" r:id="rId22"/>
    <p:sldId id="1478" r:id="rId23"/>
    <p:sldId id="1553" r:id="rId24"/>
  </p:sldIdLst>
  <p:sldSz cx="20104100" cy="11309350"/>
  <p:notesSz cx="10233025" cy="7102475"/>
  <p:custDataLst>
    <p:tags r:id="rId27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struções de Uso" id="{FF060140-1442-4412-8E28-51499665E347}">
          <p14:sldIdLst>
            <p14:sldId id="256"/>
            <p14:sldId id="585"/>
            <p14:sldId id="591"/>
            <p14:sldId id="1592"/>
            <p14:sldId id="1593"/>
            <p14:sldId id="1478"/>
            <p14:sldId id="155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90" userDrawn="1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8192"/>
    <a:srgbClr val="002F4F"/>
    <a:srgbClr val="00999B"/>
    <a:srgbClr val="2D4D7E"/>
    <a:srgbClr val="F1F5E7"/>
    <a:srgbClr val="E39303"/>
    <a:srgbClr val="8B117C"/>
    <a:srgbClr val="2C4272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Estilo com Tema 1 - Ênfas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586" autoAdjust="0"/>
    <p:restoredTop sz="96395" autoAdjust="0"/>
  </p:normalViewPr>
  <p:slideViewPr>
    <p:cSldViewPr>
      <p:cViewPr varScale="1">
        <p:scale>
          <a:sx n="41" d="100"/>
          <a:sy n="41" d="100"/>
        </p:scale>
        <p:origin x="356" y="44"/>
      </p:cViewPr>
      <p:guideLst>
        <p:guide orient="horz" pos="2890"/>
        <p:guide pos="2160"/>
      </p:guideLst>
    </p:cSldViewPr>
  </p:slideViewPr>
  <p:outlineViewPr>
    <p:cViewPr>
      <p:scale>
        <a:sx n="33" d="100"/>
        <a:sy n="33" d="100"/>
      </p:scale>
      <p:origin x="0" y="-490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8" d="100"/>
          <a:sy n="48" d="100"/>
        </p:scale>
        <p:origin x="1014" y="4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7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6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5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Users\pedro.costa\Downloads\Iniciativas%20Consolidadas%2022-26%20baseline%20replanejado.xlsm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486841942425423"/>
          <c:y val="0.10216273372962928"/>
          <c:w val="0.82861086098511305"/>
          <c:h val="0.6653972527639469"/>
        </c:manualLayout>
      </c:layout>
      <c:barChart>
        <c:barDir val="col"/>
        <c:grouping val="clustered"/>
        <c:varyColors val="0"/>
        <c:ser>
          <c:idx val="1"/>
          <c:order val="0"/>
          <c:tx>
            <c:v>Realizado</c:v>
          </c:tx>
          <c:spPr>
            <a:solidFill>
              <a:schemeClr val="accent2"/>
            </a:solidFill>
            <a:ln w="53975">
              <a:noFill/>
            </a:ln>
            <a:effectLst/>
          </c:spPr>
          <c:invertIfNegative val="0"/>
          <c:cat>
            <c:numRef>
              <c:f>Físico!$E$3:$AB$3</c:f>
              <c:numCache>
                <c:formatCode>mmm</c:formatCode>
                <c:ptCount val="24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</c:numCache>
            </c:numRef>
          </c:cat>
          <c:val>
            <c:numRef>
              <c:f>Físico!$E$41:$AN$41</c:f>
              <c:numCache>
                <c:formatCode>0%</c:formatCode>
                <c:ptCount val="36"/>
                <c:pt idx="0">
                  <c:v>3.2051127881638934E-2</c:v>
                </c:pt>
                <c:pt idx="1">
                  <c:v>7.6927388038410136E-2</c:v>
                </c:pt>
                <c:pt idx="2">
                  <c:v>0.11962666406819726</c:v>
                </c:pt>
                <c:pt idx="3">
                  <c:v>0.162367484992755</c:v>
                </c:pt>
                <c:pt idx="4">
                  <c:v>0.19812871698772391</c:v>
                </c:pt>
                <c:pt idx="5">
                  <c:v>0.2549078871974052</c:v>
                </c:pt>
                <c:pt idx="6">
                  <c:v>0.30407362668858329</c:v>
                </c:pt>
                <c:pt idx="7">
                  <c:v>0.35992465377150051</c:v>
                </c:pt>
                <c:pt idx="8">
                  <c:v>0.41087835566908415</c:v>
                </c:pt>
                <c:pt idx="9">
                  <c:v>0.46577447125510513</c:v>
                </c:pt>
                <c:pt idx="10">
                  <c:v>0.50625266978073247</c:v>
                </c:pt>
                <c:pt idx="11">
                  <c:v>0.54660647217109404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D4-48BA-9641-39B384F4DA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97"/>
        <c:axId val="311332160"/>
        <c:axId val="618096400"/>
      </c:barChart>
      <c:lineChart>
        <c:grouping val="standard"/>
        <c:varyColors val="0"/>
        <c:ser>
          <c:idx val="2"/>
          <c:order val="1"/>
          <c:tx>
            <c:strRef>
              <c:f>Físico!$B$44</c:f>
              <c:strCache>
                <c:ptCount val="1"/>
                <c:pt idx="0">
                  <c:v>Linha base original</c:v>
                </c:pt>
              </c:strCache>
              <c:extLst xmlns:c15="http://schemas.microsoft.com/office/drawing/2012/chart"/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Físico!$E$3:$AB$3</c:f>
              <c:numCache>
                <c:formatCode>mmm</c:formatCode>
                <c:ptCount val="24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</c:numCache>
              <c:extLst xmlns:c15="http://schemas.microsoft.com/office/drawing/2012/chart"/>
            </c:numRef>
          </c:cat>
          <c:val>
            <c:numRef>
              <c:f>Físico!$E$44:$AB$44</c:f>
              <c:extLst xmlns:c15="http://schemas.microsoft.com/office/drawing/2012/chart"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3ED4-48BA-9641-39B384F4DAB0}"/>
            </c:ext>
          </c:extLst>
        </c:ser>
        <c:ser>
          <c:idx val="0"/>
          <c:order val="2"/>
          <c:tx>
            <c:v>Planejado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dash"/>
            <c:size val="13"/>
            <c:spPr>
              <a:solidFill>
                <a:srgbClr val="5B9BD5"/>
              </a:solidFill>
              <a:ln w="0">
                <a:solidFill>
                  <a:schemeClr val="accent1"/>
                </a:solidFill>
              </a:ln>
              <a:effectLst/>
            </c:spPr>
          </c:marker>
          <c:cat>
            <c:numRef>
              <c:f>Físico!$E$3:$AB$3</c:f>
              <c:numCache>
                <c:formatCode>mmm</c:formatCode>
                <c:ptCount val="24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05</c:v>
                </c:pt>
                <c:pt idx="9">
                  <c:v>44835</c:v>
                </c:pt>
                <c:pt idx="10">
                  <c:v>44866</c:v>
                </c:pt>
                <c:pt idx="11">
                  <c:v>44896</c:v>
                </c:pt>
                <c:pt idx="12">
                  <c:v>44927</c:v>
                </c:pt>
                <c:pt idx="13">
                  <c:v>44958</c:v>
                </c:pt>
                <c:pt idx="14">
                  <c:v>44986</c:v>
                </c:pt>
                <c:pt idx="15">
                  <c:v>45017</c:v>
                </c:pt>
                <c:pt idx="16">
                  <c:v>45047</c:v>
                </c:pt>
                <c:pt idx="17">
                  <c:v>45078</c:v>
                </c:pt>
                <c:pt idx="18">
                  <c:v>45108</c:v>
                </c:pt>
                <c:pt idx="19">
                  <c:v>45139</c:v>
                </c:pt>
                <c:pt idx="20">
                  <c:v>45170</c:v>
                </c:pt>
                <c:pt idx="21">
                  <c:v>45200</c:v>
                </c:pt>
                <c:pt idx="22">
                  <c:v>45231</c:v>
                </c:pt>
                <c:pt idx="23">
                  <c:v>45261</c:v>
                </c:pt>
              </c:numCache>
            </c:numRef>
          </c:cat>
          <c:val>
            <c:numRef>
              <c:f>Físico!$E$40:$AN$40</c:f>
              <c:numCache>
                <c:formatCode>0%</c:formatCode>
                <c:ptCount val="36"/>
                <c:pt idx="0">
                  <c:v>3.7606683437194498E-2</c:v>
                </c:pt>
                <c:pt idx="1">
                  <c:v>8.1556400384089164E-2</c:v>
                </c:pt>
                <c:pt idx="2">
                  <c:v>0.12286925666078985</c:v>
                </c:pt>
                <c:pt idx="3">
                  <c:v>0.16421810227670564</c:v>
                </c:pt>
                <c:pt idx="4">
                  <c:v>0.20395005737573102</c:v>
                </c:pt>
                <c:pt idx="5">
                  <c:v>0.26271026814978615</c:v>
                </c:pt>
                <c:pt idx="6">
                  <c:v>0.31828555828892058</c:v>
                </c:pt>
                <c:pt idx="7">
                  <c:v>0.36494322596688433</c:v>
                </c:pt>
                <c:pt idx="8">
                  <c:v>0.41232488200908879</c:v>
                </c:pt>
                <c:pt idx="9">
                  <c:v>0.46842492676501318</c:v>
                </c:pt>
                <c:pt idx="10">
                  <c:v>0.51250620323509888</c:v>
                </c:pt>
                <c:pt idx="11">
                  <c:v>0.55710720595317176</c:v>
                </c:pt>
                <c:pt idx="12">
                  <c:v>0.56999999999999995</c:v>
                </c:pt>
                <c:pt idx="13">
                  <c:v>0.56696686234051707</c:v>
                </c:pt>
                <c:pt idx="14">
                  <c:v>0.59694806448878923</c:v>
                </c:pt>
                <c:pt idx="15">
                  <c:v>0.62698434429536531</c:v>
                </c:pt>
                <c:pt idx="16">
                  <c:v>0.65393173521305203</c:v>
                </c:pt>
                <c:pt idx="17">
                  <c:v>0.68822219662058381</c:v>
                </c:pt>
                <c:pt idx="18">
                  <c:v>0.70696709156403548</c:v>
                </c:pt>
                <c:pt idx="19">
                  <c:v>0.73276288256483513</c:v>
                </c:pt>
                <c:pt idx="20">
                  <c:v>0.75677766998140505</c:v>
                </c:pt>
                <c:pt idx="21">
                  <c:v>0.78257901653776019</c:v>
                </c:pt>
                <c:pt idx="22">
                  <c:v>0.8047905781478788</c:v>
                </c:pt>
                <c:pt idx="23">
                  <c:v>0.82521558061821221</c:v>
                </c:pt>
                <c:pt idx="24">
                  <c:v>0.89223148148148157</c:v>
                </c:pt>
                <c:pt idx="25">
                  <c:v>0.90368518518518526</c:v>
                </c:pt>
                <c:pt idx="26">
                  <c:v>0.91513888888888895</c:v>
                </c:pt>
                <c:pt idx="27">
                  <c:v>0.92232592592592588</c:v>
                </c:pt>
                <c:pt idx="28">
                  <c:v>0.92950740740740734</c:v>
                </c:pt>
                <c:pt idx="29">
                  <c:v>0.93668888888888879</c:v>
                </c:pt>
                <c:pt idx="30">
                  <c:v>0.94387592592592595</c:v>
                </c:pt>
                <c:pt idx="31">
                  <c:v>0.95105740740740741</c:v>
                </c:pt>
                <c:pt idx="32">
                  <c:v>0.95823888888888886</c:v>
                </c:pt>
                <c:pt idx="33">
                  <c:v>0.96542592592592591</c:v>
                </c:pt>
                <c:pt idx="34">
                  <c:v>0.97260740740740759</c:v>
                </c:pt>
                <c:pt idx="35">
                  <c:v>0.977777777777777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D4-48BA-9641-39B384F4DA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1332160"/>
        <c:axId val="618096400"/>
        <c:extLst/>
      </c:lineChart>
      <c:dateAx>
        <c:axId val="31133216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65000"/>
                  <a:lumOff val="3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</c:minorGridlines>
        <c:numFmt formatCode="mmm\-yy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2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18096400"/>
        <c:crosses val="autoZero"/>
        <c:auto val="1"/>
        <c:lblOffset val="100"/>
        <c:baseTimeUnit val="months"/>
      </c:dateAx>
      <c:valAx>
        <c:axId val="618096400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2000" dirty="0" err="1"/>
                  <a:t>Execução</a:t>
                </a:r>
                <a:r>
                  <a:rPr lang="en-US" sz="2000" dirty="0"/>
                  <a:t> do Plano </a:t>
                </a:r>
                <a:r>
                  <a:rPr lang="en-US" sz="2000" dirty="0" err="1"/>
                  <a:t>Estratégico</a:t>
                </a:r>
                <a:r>
                  <a:rPr lang="en-US" sz="2000" dirty="0"/>
                  <a:t> 22-26</a:t>
                </a:r>
              </a:p>
            </c:rich>
          </c:tx>
          <c:layout>
            <c:manualLayout>
              <c:xMode val="edge"/>
              <c:yMode val="edge"/>
              <c:x val="3.2597900529064743E-2"/>
              <c:y val="0.1540765153707386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20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pt-BR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11332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5445427512495713"/>
          <c:y val="0.1225769035449101"/>
          <c:w val="0.26303815208068204"/>
          <c:h val="0.20618084613894408"/>
        </c:manualLayout>
      </c:layout>
      <c:overlay val="0"/>
      <c:spPr>
        <a:solidFill>
          <a:srgbClr val="5B9BD5">
            <a:lumMod val="40000"/>
            <a:lumOff val="60000"/>
          </a:srgb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zero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pt-B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158B46B9-8D2E-4E4B-8026-E5B29B36F20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4434526" cy="355921"/>
          </a:xfrm>
          <a:prstGeom prst="rect">
            <a:avLst/>
          </a:prstGeom>
        </p:spPr>
        <p:txBody>
          <a:bodyPr vert="horz" lIns="50451" tIns="25225" rIns="50451" bIns="25225" rtlCol="0"/>
          <a:lstStyle>
            <a:lvl1pPr algn="l">
              <a:defRPr sz="6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9811221F-4476-48A9-9656-3E35558FC8D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796075" y="1"/>
            <a:ext cx="4434526" cy="355921"/>
          </a:xfrm>
          <a:prstGeom prst="rect">
            <a:avLst/>
          </a:prstGeom>
        </p:spPr>
        <p:txBody>
          <a:bodyPr vert="horz" lIns="50451" tIns="25225" rIns="50451" bIns="25225" rtlCol="0"/>
          <a:lstStyle>
            <a:lvl1pPr algn="r">
              <a:defRPr sz="600"/>
            </a:lvl1pPr>
          </a:lstStyle>
          <a:p>
            <a:fld id="{A5D20037-AF47-449D-9500-DF295BB457A5}" type="datetimeFigureOut">
              <a:rPr lang="pt-BR" smtClean="0"/>
              <a:t>21/03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46944379-552E-4375-8D88-CA7A37BECF1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746554"/>
            <a:ext cx="4434526" cy="355921"/>
          </a:xfrm>
          <a:prstGeom prst="rect">
            <a:avLst/>
          </a:prstGeom>
        </p:spPr>
        <p:txBody>
          <a:bodyPr vert="horz" lIns="50451" tIns="25225" rIns="50451" bIns="25225" rtlCol="0" anchor="b"/>
          <a:lstStyle>
            <a:lvl1pPr algn="l">
              <a:defRPr sz="6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AC21249C-8D2A-4B0C-A8BF-0E0CDD8E849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796075" y="6746554"/>
            <a:ext cx="4434526" cy="355921"/>
          </a:xfrm>
          <a:prstGeom prst="rect">
            <a:avLst/>
          </a:prstGeom>
        </p:spPr>
        <p:txBody>
          <a:bodyPr vert="horz" lIns="50451" tIns="25225" rIns="50451" bIns="25225" rtlCol="0" anchor="b"/>
          <a:lstStyle>
            <a:lvl1pPr algn="r">
              <a:defRPr sz="600"/>
            </a:lvl1pPr>
          </a:lstStyle>
          <a:p>
            <a:fld id="{F709903B-3827-4D2D-8A30-EC50D36297B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184694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434526" cy="355921"/>
          </a:xfrm>
          <a:prstGeom prst="rect">
            <a:avLst/>
          </a:prstGeom>
        </p:spPr>
        <p:txBody>
          <a:bodyPr vert="horz" lIns="50451" tIns="25225" rIns="50451" bIns="25225" rtlCol="0"/>
          <a:lstStyle>
            <a:lvl1pPr algn="l">
              <a:defRPr sz="6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5796075" y="1"/>
            <a:ext cx="4434526" cy="355921"/>
          </a:xfrm>
          <a:prstGeom prst="rect">
            <a:avLst/>
          </a:prstGeom>
        </p:spPr>
        <p:txBody>
          <a:bodyPr vert="horz" lIns="50451" tIns="25225" rIns="50451" bIns="25225" rtlCol="0"/>
          <a:lstStyle>
            <a:lvl1pPr algn="r">
              <a:defRPr sz="600"/>
            </a:lvl1pPr>
          </a:lstStyle>
          <a:p>
            <a:fld id="{CC9A8A20-3295-4A8D-98FE-9178DB1FA239}" type="datetimeFigureOut">
              <a:rPr lang="pt-BR" smtClean="0"/>
              <a:t>21/03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2986088" y="889000"/>
            <a:ext cx="4260850" cy="2397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50451" tIns="25225" rIns="50451" bIns="25225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1022981" y="3417643"/>
            <a:ext cx="8187066" cy="2797522"/>
          </a:xfrm>
          <a:prstGeom prst="rect">
            <a:avLst/>
          </a:prstGeom>
        </p:spPr>
        <p:txBody>
          <a:bodyPr vert="horz" lIns="50451" tIns="25225" rIns="50451" bIns="25225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6746554"/>
            <a:ext cx="4434526" cy="355921"/>
          </a:xfrm>
          <a:prstGeom prst="rect">
            <a:avLst/>
          </a:prstGeom>
        </p:spPr>
        <p:txBody>
          <a:bodyPr vert="horz" lIns="50451" tIns="25225" rIns="50451" bIns="25225" rtlCol="0" anchor="b"/>
          <a:lstStyle>
            <a:lvl1pPr algn="l">
              <a:defRPr sz="6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5796075" y="6746554"/>
            <a:ext cx="4434526" cy="355921"/>
          </a:xfrm>
          <a:prstGeom prst="rect">
            <a:avLst/>
          </a:prstGeom>
        </p:spPr>
        <p:txBody>
          <a:bodyPr vert="horz" lIns="50451" tIns="25225" rIns="50451" bIns="25225" rtlCol="0" anchor="b"/>
          <a:lstStyle>
            <a:lvl1pPr algn="r">
              <a:defRPr sz="600"/>
            </a:lvl1pPr>
          </a:lstStyle>
          <a:p>
            <a:fld id="{BC41E5B3-7BA8-4D9C-8E84-522CB2F809AE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117359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41E5B3-7BA8-4D9C-8E84-522CB2F809AE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65915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ertur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água, navio, céu, ao ar livre&#10;&#10;Descrição gerada automaticamente">
            <a:extLst>
              <a:ext uri="{FF2B5EF4-FFF2-40B4-BE49-F238E27FC236}">
                <a16:creationId xmlns:a16="http://schemas.microsoft.com/office/drawing/2014/main" id="{775E8919-C5B0-43F3-8101-8BA50DCBC5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5" name="object 4">
            <a:extLst>
              <a:ext uri="{FF2B5EF4-FFF2-40B4-BE49-F238E27FC236}">
                <a16:creationId xmlns:a16="http://schemas.microsoft.com/office/drawing/2014/main" id="{2451A4D8-F287-4093-9F05-30E661B6698C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25FA034-F50A-4D2E-9CD0-4305F77094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0" name="Título 2">
            <a:extLst>
              <a:ext uri="{FF2B5EF4-FFF2-40B4-BE49-F238E27FC236}">
                <a16:creationId xmlns:a16="http://schemas.microsoft.com/office/drawing/2014/main" id="{5B249C66-D68B-41B5-8757-5C4D47B64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106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7" name="Espaço Reservado para Texto 10">
            <a:extLst>
              <a:ext uri="{FF2B5EF4-FFF2-40B4-BE49-F238E27FC236}">
                <a16:creationId xmlns:a16="http://schemas.microsoft.com/office/drawing/2014/main" id="{C8DFEAF4-01C8-466D-A6D8-4D543A9329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1502976"/>
          </a:xfrm>
          <a:prstGeom prst="rect">
            <a:avLst/>
          </a:prstGeom>
        </p:spPr>
        <p:txBody>
          <a:bodyPr>
            <a:spAutoFit/>
          </a:bodyPr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a Especi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9">
            <a:extLst>
              <a:ext uri="{FF2B5EF4-FFF2-40B4-BE49-F238E27FC236}">
                <a16:creationId xmlns:a16="http://schemas.microsoft.com/office/drawing/2014/main" id="{797997E0-7D8A-4FF9-BE06-1FC96DABB813}"/>
              </a:ext>
            </a:extLst>
          </p:cNvPr>
          <p:cNvSpPr/>
          <p:nvPr userDrawn="1"/>
        </p:nvSpPr>
        <p:spPr>
          <a:xfrm>
            <a:off x="6851650" y="3581042"/>
            <a:ext cx="0" cy="5654675"/>
          </a:xfrm>
          <a:custGeom>
            <a:avLst/>
            <a:gdLst/>
            <a:ahLst/>
            <a:cxnLst/>
            <a:rect l="l" t="t" r="r" b="b"/>
            <a:pathLst>
              <a:path h="5654675">
                <a:moveTo>
                  <a:pt x="0" y="0"/>
                </a:moveTo>
                <a:lnTo>
                  <a:pt x="0" y="5654278"/>
                </a:lnTo>
              </a:path>
            </a:pathLst>
          </a:custGeom>
          <a:ln w="20941">
            <a:solidFill>
              <a:srgbClr val="EBDE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0BEE2230-922E-4542-995C-6488B3567D9F}"/>
              </a:ext>
            </a:extLst>
          </p:cNvPr>
          <p:cNvSpPr/>
          <p:nvPr userDrawn="1"/>
        </p:nvSpPr>
        <p:spPr>
          <a:xfrm>
            <a:off x="13252450" y="3581042"/>
            <a:ext cx="0" cy="5654675"/>
          </a:xfrm>
          <a:custGeom>
            <a:avLst/>
            <a:gdLst/>
            <a:ahLst/>
            <a:cxnLst/>
            <a:rect l="l" t="t" r="r" b="b"/>
            <a:pathLst>
              <a:path h="5654675">
                <a:moveTo>
                  <a:pt x="0" y="0"/>
                </a:moveTo>
                <a:lnTo>
                  <a:pt x="0" y="5654278"/>
                </a:lnTo>
              </a:path>
            </a:pathLst>
          </a:custGeom>
          <a:ln w="20941">
            <a:solidFill>
              <a:srgbClr val="EBDE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Espaço Reservado para Imagem 17">
            <a:extLst>
              <a:ext uri="{FF2B5EF4-FFF2-40B4-BE49-F238E27FC236}">
                <a16:creationId xmlns:a16="http://schemas.microsoft.com/office/drawing/2014/main" id="{925BC933-18EF-4252-97D5-F755424A718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2247311" y="3680835"/>
            <a:ext cx="2839628" cy="2821584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19" name="Espaço Reservado para Imagem 17">
            <a:extLst>
              <a:ext uri="{FF2B5EF4-FFF2-40B4-BE49-F238E27FC236}">
                <a16:creationId xmlns:a16="http://schemas.microsoft.com/office/drawing/2014/main" id="{F4D39560-7225-4B3D-BF7E-754D3414BDF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654461" y="3680835"/>
            <a:ext cx="2839628" cy="2821584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0" name="Espaço Reservado para Imagem 17">
            <a:extLst>
              <a:ext uri="{FF2B5EF4-FFF2-40B4-BE49-F238E27FC236}">
                <a16:creationId xmlns:a16="http://schemas.microsoft.com/office/drawing/2014/main" id="{ACEFC230-3F60-4FAD-B062-2249C3E3AE6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5017161" y="3672981"/>
            <a:ext cx="2839628" cy="2821584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27" name="Espaço Reservado para Texto 22">
            <a:extLst>
              <a:ext uri="{FF2B5EF4-FFF2-40B4-BE49-F238E27FC236}">
                <a16:creationId xmlns:a16="http://schemas.microsoft.com/office/drawing/2014/main" id="{1F62795D-EB90-4D6E-8243-FA6203932B7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9050" y="6797675"/>
            <a:ext cx="4756150" cy="507831"/>
          </a:xfrm>
          <a:prstGeom prst="rect">
            <a:avLst/>
          </a:prstGeom>
        </p:spPr>
        <p:txBody>
          <a:bodyPr/>
          <a:lstStyle>
            <a:lvl1pPr marL="0" marR="3175" indent="0" algn="ctr" defTabSz="914400" eaLnBrk="1" fontAlgn="auto" latinLnBrk="0" hangingPunct="1">
              <a:lnSpc>
                <a:spcPct val="100000"/>
              </a:lnSpc>
              <a:spcBef>
                <a:spcPts val="217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3300" b="1" kern="1200" spc="-65" dirty="0" smtClean="0">
                <a:solidFill>
                  <a:schemeClr val="accent2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0" marR="3175" lvl="0" indent="0" algn="ctr" defTabSz="914400" eaLnBrk="1" fontAlgn="auto" latinLnBrk="0" hangingPunct="1">
              <a:lnSpc>
                <a:spcPct val="100000"/>
              </a:lnSpc>
              <a:spcBef>
                <a:spcPts val="2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3600" dirty="0">
                <a:latin typeface="Calibri"/>
                <a:cs typeface="Calibri"/>
              </a:rPr>
              <a:t>Clique para adicionar um título</a:t>
            </a:r>
          </a:p>
        </p:txBody>
      </p:sp>
      <p:sp>
        <p:nvSpPr>
          <p:cNvPr id="28" name="Espaço Reservado para Texto 25">
            <a:extLst>
              <a:ext uri="{FF2B5EF4-FFF2-40B4-BE49-F238E27FC236}">
                <a16:creationId xmlns:a16="http://schemas.microsoft.com/office/drawing/2014/main" id="{059D54A9-2D5E-45F1-8405-4FEA1F9E501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289050" y="7469749"/>
            <a:ext cx="4756150" cy="1994925"/>
          </a:xfrm>
          <a:prstGeom prst="rect">
            <a:avLst/>
          </a:prstGeom>
        </p:spPr>
        <p:txBody>
          <a:bodyPr/>
          <a:lstStyle>
            <a:lvl1pPr marL="12700" marR="5080" indent="-2540" algn="ctr" defTabSz="914400" rtl="0" eaLnBrk="1" latinLnBrk="0" hangingPunct="1">
              <a:lnSpc>
                <a:spcPct val="101000"/>
              </a:lnSpc>
              <a:spcBef>
                <a:spcPts val="1545"/>
              </a:spcBef>
              <a:defRPr lang="pt-BR" sz="2450" b="0" kern="1200" dirty="0" smtClean="0">
                <a:solidFill>
                  <a:srgbClr val="005378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5080" indent="-2540" algn="ctr">
              <a:lnSpc>
                <a:spcPct val="101000"/>
              </a:lnSpc>
              <a:spcBef>
                <a:spcPts val="1545"/>
              </a:spcBef>
            </a:pPr>
            <a:endParaRPr lang="pt-BR" sz="2450" dirty="0">
              <a:latin typeface="Calibri"/>
              <a:cs typeface="Calibri"/>
            </a:endParaRPr>
          </a:p>
        </p:txBody>
      </p:sp>
      <p:sp>
        <p:nvSpPr>
          <p:cNvPr id="36" name="Espaço Reservado para Texto 25">
            <a:extLst>
              <a:ext uri="{FF2B5EF4-FFF2-40B4-BE49-F238E27FC236}">
                <a16:creationId xmlns:a16="http://schemas.microsoft.com/office/drawing/2014/main" id="{B5E98317-21E2-45B9-8162-FA5E91BDCF7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689850" y="7469749"/>
            <a:ext cx="4756150" cy="1994925"/>
          </a:xfrm>
          <a:prstGeom prst="rect">
            <a:avLst/>
          </a:prstGeom>
        </p:spPr>
        <p:txBody>
          <a:bodyPr/>
          <a:lstStyle>
            <a:lvl1pPr marL="12700" marR="5080" indent="1270" algn="ctr" defTabSz="914400" rtl="0" eaLnBrk="1" latinLnBrk="0" hangingPunct="1">
              <a:lnSpc>
                <a:spcPct val="101000"/>
              </a:lnSpc>
              <a:spcBef>
                <a:spcPts val="1545"/>
              </a:spcBef>
              <a:defRPr lang="pt-BR" sz="2450" b="0" kern="1200" dirty="0" smtClean="0">
                <a:solidFill>
                  <a:srgbClr val="005378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5080" indent="1270" algn="ctr">
              <a:lnSpc>
                <a:spcPct val="101000"/>
              </a:lnSpc>
              <a:spcBef>
                <a:spcPts val="1545"/>
              </a:spcBef>
            </a:pPr>
            <a:endParaRPr lang="pt-BR" sz="2450" dirty="0">
              <a:latin typeface="Calibri"/>
              <a:cs typeface="Calibri"/>
            </a:endParaRPr>
          </a:p>
        </p:txBody>
      </p:sp>
      <p:sp>
        <p:nvSpPr>
          <p:cNvPr id="38" name="Espaço Reservado para Texto 25">
            <a:extLst>
              <a:ext uri="{FF2B5EF4-FFF2-40B4-BE49-F238E27FC236}">
                <a16:creationId xmlns:a16="http://schemas.microsoft.com/office/drawing/2014/main" id="{DB1B9FFE-79EA-4E8E-AB6A-FECA483455D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4058900" y="7469749"/>
            <a:ext cx="4756150" cy="1994925"/>
          </a:xfrm>
          <a:prstGeom prst="rect">
            <a:avLst/>
          </a:prstGeom>
        </p:spPr>
        <p:txBody>
          <a:bodyPr/>
          <a:lstStyle>
            <a:lvl1pPr marL="12700" marR="5080" indent="1270" algn="ctr" defTabSz="914400" rtl="0" eaLnBrk="1" latinLnBrk="0" hangingPunct="1">
              <a:lnSpc>
                <a:spcPts val="2970"/>
              </a:lnSpc>
              <a:spcBef>
                <a:spcPts val="100"/>
              </a:spcBef>
              <a:defRPr lang="pt-BR" sz="2450" b="0" kern="1200" dirty="0" smtClean="0">
                <a:solidFill>
                  <a:srgbClr val="005378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06045">
              <a:lnSpc>
                <a:spcPct val="100000"/>
              </a:lnSpc>
              <a:spcBef>
                <a:spcPts val="1575"/>
              </a:spcBef>
            </a:pPr>
            <a:endParaRPr lang="pt-BR" sz="2450" dirty="0">
              <a:latin typeface="Calibri"/>
              <a:cs typeface="Calibri"/>
            </a:endParaRPr>
          </a:p>
        </p:txBody>
      </p:sp>
      <p:sp>
        <p:nvSpPr>
          <p:cNvPr id="16" name="Espaço Reservado para Texto 22">
            <a:extLst>
              <a:ext uri="{FF2B5EF4-FFF2-40B4-BE49-F238E27FC236}">
                <a16:creationId xmlns:a16="http://schemas.microsoft.com/office/drawing/2014/main" id="{4444FE59-E9BC-4623-8A2A-B9FB84C043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89850" y="6797675"/>
            <a:ext cx="4756150" cy="507831"/>
          </a:xfrm>
          <a:prstGeom prst="rect">
            <a:avLst/>
          </a:prstGeom>
        </p:spPr>
        <p:txBody>
          <a:bodyPr/>
          <a:lstStyle>
            <a:lvl1pPr marL="0" marR="3175" indent="0" algn="ctr" defTabSz="914400" eaLnBrk="1" fontAlgn="auto" latinLnBrk="0" hangingPunct="1">
              <a:lnSpc>
                <a:spcPct val="100000"/>
              </a:lnSpc>
              <a:spcBef>
                <a:spcPts val="217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3300" b="1" kern="1200" spc="-65" dirty="0" smtClean="0">
                <a:solidFill>
                  <a:schemeClr val="accent2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0" marR="3175" lvl="0" indent="0" algn="ctr" defTabSz="914400" eaLnBrk="1" fontAlgn="auto" latinLnBrk="0" hangingPunct="1">
              <a:lnSpc>
                <a:spcPct val="100000"/>
              </a:lnSpc>
              <a:spcBef>
                <a:spcPts val="2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3600" dirty="0">
                <a:latin typeface="Calibri"/>
                <a:cs typeface="Calibri"/>
              </a:rPr>
              <a:t>Clique para adicionar um título</a:t>
            </a:r>
          </a:p>
        </p:txBody>
      </p:sp>
      <p:sp>
        <p:nvSpPr>
          <p:cNvPr id="17" name="Espaço Reservado para Texto 22">
            <a:extLst>
              <a:ext uri="{FF2B5EF4-FFF2-40B4-BE49-F238E27FC236}">
                <a16:creationId xmlns:a16="http://schemas.microsoft.com/office/drawing/2014/main" id="{A3BF339F-B8DC-40CC-98BE-3BE483B1257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048068" y="6797675"/>
            <a:ext cx="4756150" cy="507831"/>
          </a:xfrm>
          <a:prstGeom prst="rect">
            <a:avLst/>
          </a:prstGeom>
        </p:spPr>
        <p:txBody>
          <a:bodyPr/>
          <a:lstStyle>
            <a:lvl1pPr marL="0" marR="3175" indent="0" algn="ctr" defTabSz="914400" eaLnBrk="1" fontAlgn="auto" latinLnBrk="0" hangingPunct="1">
              <a:lnSpc>
                <a:spcPct val="100000"/>
              </a:lnSpc>
              <a:spcBef>
                <a:spcPts val="217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3300" b="1" kern="1200" spc="-65" dirty="0" smtClean="0">
                <a:solidFill>
                  <a:schemeClr val="accent2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0" marR="3175" lvl="0" indent="0" algn="ctr" defTabSz="914400" eaLnBrk="1" fontAlgn="auto" latinLnBrk="0" hangingPunct="1">
              <a:lnSpc>
                <a:spcPct val="100000"/>
              </a:lnSpc>
              <a:spcBef>
                <a:spcPts val="21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3600" dirty="0">
                <a:latin typeface="Calibri"/>
                <a:cs typeface="Calibri"/>
              </a:rPr>
              <a:t>Clique para adicionar um título</a:t>
            </a:r>
          </a:p>
        </p:txBody>
      </p:sp>
      <p:sp>
        <p:nvSpPr>
          <p:cNvPr id="14" name="Título 13">
            <a:extLst>
              <a:ext uri="{FF2B5EF4-FFF2-40B4-BE49-F238E27FC236}">
                <a16:creationId xmlns:a16="http://schemas.microsoft.com/office/drawing/2014/main" id="{B91EAF39-2D63-40CF-A629-DCDED3912F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9050" y="1369334"/>
            <a:ext cx="11963394" cy="1542141"/>
          </a:xfrm>
        </p:spPr>
        <p:txBody>
          <a:bodyPr/>
          <a:lstStyle>
            <a:lvl1pPr>
              <a:defRPr lang="pt-BR" sz="6600" b="1" i="0" u="none" cap="none" spc="-75" baseline="0" dirty="0" smtClean="0">
                <a:solidFill>
                  <a:schemeClr val="accent2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700" marR="2402840" lvl="0">
              <a:lnSpc>
                <a:spcPct val="85000"/>
              </a:lnSpc>
              <a:spcBef>
                <a:spcPts val="2240"/>
              </a:spcBef>
            </a:pPr>
            <a:r>
              <a:rPr lang="pt-BR" dirty="0"/>
              <a:t>Clique para editar o título Mestre</a:t>
            </a:r>
          </a:p>
        </p:txBody>
      </p:sp>
      <p:sp>
        <p:nvSpPr>
          <p:cNvPr id="2" name="Espaço Reservado para Rodapé 1">
            <a:extLst>
              <a:ext uri="{FF2B5EF4-FFF2-40B4-BE49-F238E27FC236}">
                <a16:creationId xmlns:a16="http://schemas.microsoft.com/office/drawing/2014/main" id="{BDC195E1-385D-40C1-A036-2AD52034D420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3700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a Especia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tângulo 23">
            <a:extLst>
              <a:ext uri="{FF2B5EF4-FFF2-40B4-BE49-F238E27FC236}">
                <a16:creationId xmlns:a16="http://schemas.microsoft.com/office/drawing/2014/main" id="{AED01704-D135-4799-B1EB-240A2F68202A}"/>
              </a:ext>
            </a:extLst>
          </p:cNvPr>
          <p:cNvSpPr/>
          <p:nvPr userDrawn="1"/>
        </p:nvSpPr>
        <p:spPr>
          <a:xfrm>
            <a:off x="1256505" y="3332682"/>
            <a:ext cx="5696585" cy="6131993"/>
          </a:xfrm>
          <a:prstGeom prst="rect">
            <a:avLst/>
          </a:prstGeom>
          <a:solidFill>
            <a:srgbClr val="002F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1ADEF398-9461-4712-B8FD-C5EB2174B74E}"/>
              </a:ext>
            </a:extLst>
          </p:cNvPr>
          <p:cNvSpPr/>
          <p:nvPr userDrawn="1"/>
        </p:nvSpPr>
        <p:spPr>
          <a:xfrm>
            <a:off x="7203757" y="3332682"/>
            <a:ext cx="5696585" cy="6131993"/>
          </a:xfrm>
          <a:prstGeom prst="rect">
            <a:avLst/>
          </a:prstGeom>
          <a:solidFill>
            <a:srgbClr val="008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6" name="object 6">
            <a:extLst>
              <a:ext uri="{FF2B5EF4-FFF2-40B4-BE49-F238E27FC236}">
                <a16:creationId xmlns:a16="http://schemas.microsoft.com/office/drawing/2014/main" id="{C27BC258-C59B-402F-88D2-B52217454F66}"/>
              </a:ext>
            </a:extLst>
          </p:cNvPr>
          <p:cNvSpPr/>
          <p:nvPr userDrawn="1"/>
        </p:nvSpPr>
        <p:spPr>
          <a:xfrm>
            <a:off x="7203968" y="4357647"/>
            <a:ext cx="5696585" cy="20955"/>
          </a:xfrm>
          <a:custGeom>
            <a:avLst/>
            <a:gdLst/>
            <a:ahLst/>
            <a:cxnLst/>
            <a:rect l="l" t="t" r="r" b="b"/>
            <a:pathLst>
              <a:path w="5696584" h="20954">
                <a:moveTo>
                  <a:pt x="0" y="20941"/>
                </a:moveTo>
                <a:lnTo>
                  <a:pt x="5696161" y="20941"/>
                </a:lnTo>
                <a:lnTo>
                  <a:pt x="5696161" y="0"/>
                </a:lnTo>
                <a:lnTo>
                  <a:pt x="0" y="0"/>
                </a:lnTo>
                <a:lnTo>
                  <a:pt x="0" y="2094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5">
            <a:extLst>
              <a:ext uri="{FF2B5EF4-FFF2-40B4-BE49-F238E27FC236}">
                <a16:creationId xmlns:a16="http://schemas.microsoft.com/office/drawing/2014/main" id="{0B37EF35-EEF5-48B0-856F-33228827C04B}"/>
              </a:ext>
            </a:extLst>
          </p:cNvPr>
          <p:cNvSpPr/>
          <p:nvPr userDrawn="1"/>
        </p:nvSpPr>
        <p:spPr>
          <a:xfrm>
            <a:off x="1256506" y="4357647"/>
            <a:ext cx="5696585" cy="20955"/>
          </a:xfrm>
          <a:custGeom>
            <a:avLst/>
            <a:gdLst/>
            <a:ahLst/>
            <a:cxnLst/>
            <a:rect l="l" t="t" r="r" b="b"/>
            <a:pathLst>
              <a:path w="5696584" h="20954">
                <a:moveTo>
                  <a:pt x="0" y="20941"/>
                </a:moveTo>
                <a:lnTo>
                  <a:pt x="5696161" y="20941"/>
                </a:lnTo>
                <a:lnTo>
                  <a:pt x="5696161" y="0"/>
                </a:lnTo>
                <a:lnTo>
                  <a:pt x="0" y="0"/>
                </a:lnTo>
                <a:lnTo>
                  <a:pt x="0" y="2094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Espaço Reservado para Texto 3">
            <a:extLst>
              <a:ext uri="{FF2B5EF4-FFF2-40B4-BE49-F238E27FC236}">
                <a16:creationId xmlns:a16="http://schemas.microsoft.com/office/drawing/2014/main" id="{E92FDC27-4862-4C93-92B2-A2B8AF4A61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74849" y="3521075"/>
            <a:ext cx="4648201" cy="318549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2300" cap="all" baseline="0">
                <a:solidFill>
                  <a:schemeClr val="bg1"/>
                </a:solidFill>
                <a:latin typeface="+mn-lt"/>
              </a:defRPr>
            </a:lvl1pPr>
            <a:lvl2pPr>
              <a:defRPr sz="2300">
                <a:latin typeface="+mn-lt"/>
              </a:defRPr>
            </a:lvl2pPr>
            <a:lvl3pPr>
              <a:defRPr sz="2300">
                <a:latin typeface="+mn-lt"/>
              </a:defRPr>
            </a:lvl3pPr>
            <a:lvl4pPr>
              <a:defRPr sz="2300">
                <a:latin typeface="+mn-lt"/>
              </a:defRPr>
            </a:lvl4pPr>
            <a:lvl5pPr>
              <a:defRPr sz="2300">
                <a:latin typeface="+mn-lt"/>
              </a:defRPr>
            </a:lvl5pPr>
          </a:lstStyle>
          <a:p>
            <a:pPr lvl="0"/>
            <a:r>
              <a:rPr lang="pt-BR" dirty="0"/>
              <a:t>Clique para adicionar um título para o box</a:t>
            </a:r>
          </a:p>
        </p:txBody>
      </p:sp>
      <p:sp>
        <p:nvSpPr>
          <p:cNvPr id="29" name="Espaço Reservado para Texto 3">
            <a:extLst>
              <a:ext uri="{FF2B5EF4-FFF2-40B4-BE49-F238E27FC236}">
                <a16:creationId xmlns:a16="http://schemas.microsoft.com/office/drawing/2014/main" id="{D1642661-EA9A-4B71-BFF2-5E0E1850CD7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93851" y="4772251"/>
            <a:ext cx="5029200" cy="4366667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90000"/>
              </a:lnSpc>
              <a:spcBef>
                <a:spcPts val="2400"/>
              </a:spcBef>
              <a:buClr>
                <a:schemeClr val="accent6"/>
              </a:buClr>
              <a:buFont typeface="Wingdings 2" panose="05020102010507070707" pitchFamily="18" charset="2"/>
              <a:buChar char=""/>
              <a:defRPr sz="2450" b="0" cap="none" baseline="0">
                <a:solidFill>
                  <a:schemeClr val="bg1"/>
                </a:solidFill>
                <a:latin typeface="+mn-lt"/>
              </a:defRPr>
            </a:lvl1pPr>
            <a:lvl2pPr>
              <a:defRPr sz="2300">
                <a:latin typeface="+mn-lt"/>
              </a:defRPr>
            </a:lvl2pPr>
            <a:lvl3pPr>
              <a:defRPr sz="2300">
                <a:latin typeface="+mn-lt"/>
              </a:defRPr>
            </a:lvl3pPr>
            <a:lvl4pPr>
              <a:defRPr sz="2300">
                <a:latin typeface="+mn-lt"/>
              </a:defRPr>
            </a:lvl4pPr>
            <a:lvl5pPr>
              <a:defRPr sz="2300">
                <a:latin typeface="+mn-lt"/>
              </a:defRPr>
            </a:lvl5pPr>
          </a:lstStyle>
          <a:p>
            <a:pPr lvl="0"/>
            <a:endParaRPr lang="pt-BR" dirty="0"/>
          </a:p>
        </p:txBody>
      </p:sp>
      <p:sp>
        <p:nvSpPr>
          <p:cNvPr id="30" name="Espaço Reservado para Texto 3">
            <a:extLst>
              <a:ext uri="{FF2B5EF4-FFF2-40B4-BE49-F238E27FC236}">
                <a16:creationId xmlns:a16="http://schemas.microsoft.com/office/drawing/2014/main" id="{D4B24351-95F6-4CF3-85E6-E292311F99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18448" y="3521075"/>
            <a:ext cx="4648201" cy="318549"/>
          </a:xfrm>
          <a:prstGeom prst="rect">
            <a:avLst/>
          </a:prstGeom>
        </p:spPr>
        <p:txBody>
          <a:bodyPr/>
          <a:lstStyle>
            <a:lvl1pPr marL="0" marR="0" indent="0" defTabSz="91440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0" cap="all" baseline="0">
                <a:solidFill>
                  <a:schemeClr val="bg1"/>
                </a:solidFill>
                <a:latin typeface="+mn-lt"/>
              </a:defRPr>
            </a:lvl1pPr>
            <a:lvl2pPr>
              <a:defRPr sz="2300">
                <a:latin typeface="+mn-lt"/>
              </a:defRPr>
            </a:lvl2pPr>
            <a:lvl3pPr>
              <a:defRPr sz="2300">
                <a:latin typeface="+mn-lt"/>
              </a:defRPr>
            </a:lvl3pPr>
            <a:lvl4pPr>
              <a:defRPr sz="2300">
                <a:latin typeface="+mn-lt"/>
              </a:defRPr>
            </a:lvl4pPr>
            <a:lvl5pPr>
              <a:defRPr sz="2300">
                <a:latin typeface="+mn-lt"/>
              </a:defRPr>
            </a:lvl5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adicionar um título para o box</a:t>
            </a:r>
          </a:p>
          <a:p>
            <a:pPr lvl="0"/>
            <a:endParaRPr lang="pt-BR" dirty="0"/>
          </a:p>
        </p:txBody>
      </p:sp>
      <p:sp>
        <p:nvSpPr>
          <p:cNvPr id="31" name="Espaço Reservado para Texto 3">
            <a:extLst>
              <a:ext uri="{FF2B5EF4-FFF2-40B4-BE49-F238E27FC236}">
                <a16:creationId xmlns:a16="http://schemas.microsoft.com/office/drawing/2014/main" id="{93D6E771-6D77-4880-B095-C851303A336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537450" y="4772251"/>
            <a:ext cx="5029200" cy="4366667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90000"/>
              </a:lnSpc>
              <a:spcBef>
                <a:spcPts val="2400"/>
              </a:spcBef>
              <a:buClr>
                <a:schemeClr val="accent6"/>
              </a:buClr>
              <a:buFont typeface="Wingdings 2" panose="05020102010507070707" pitchFamily="18" charset="2"/>
              <a:buChar char=""/>
              <a:defRPr sz="2450" b="0" cap="none" baseline="0">
                <a:solidFill>
                  <a:schemeClr val="bg1"/>
                </a:solidFill>
                <a:latin typeface="+mn-lt"/>
              </a:defRPr>
            </a:lvl1pPr>
            <a:lvl2pPr>
              <a:defRPr sz="2300">
                <a:latin typeface="+mn-lt"/>
              </a:defRPr>
            </a:lvl2pPr>
            <a:lvl3pPr>
              <a:defRPr sz="2300">
                <a:latin typeface="+mn-lt"/>
              </a:defRPr>
            </a:lvl3pPr>
            <a:lvl4pPr>
              <a:defRPr sz="2300">
                <a:latin typeface="+mn-lt"/>
              </a:defRPr>
            </a:lvl4pPr>
            <a:lvl5pPr>
              <a:defRPr sz="2300">
                <a:latin typeface="+mn-lt"/>
              </a:defRPr>
            </a:lvl5pPr>
          </a:lstStyle>
          <a:p>
            <a:pPr lvl="0"/>
            <a:endParaRPr lang="pt-BR" dirty="0"/>
          </a:p>
        </p:txBody>
      </p:sp>
      <p:sp>
        <p:nvSpPr>
          <p:cNvPr id="36" name="Retângulo 35">
            <a:extLst>
              <a:ext uri="{FF2B5EF4-FFF2-40B4-BE49-F238E27FC236}">
                <a16:creationId xmlns:a16="http://schemas.microsoft.com/office/drawing/2014/main" id="{A24C91D6-8F18-40CD-8C59-25DFE785AAF7}"/>
              </a:ext>
            </a:extLst>
          </p:cNvPr>
          <p:cNvSpPr/>
          <p:nvPr userDrawn="1"/>
        </p:nvSpPr>
        <p:spPr>
          <a:xfrm>
            <a:off x="13151008" y="3332682"/>
            <a:ext cx="5696585" cy="6131993"/>
          </a:xfrm>
          <a:prstGeom prst="rect">
            <a:avLst/>
          </a:prstGeom>
          <a:solidFill>
            <a:srgbClr val="0099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7" name="object 6">
            <a:extLst>
              <a:ext uri="{FF2B5EF4-FFF2-40B4-BE49-F238E27FC236}">
                <a16:creationId xmlns:a16="http://schemas.microsoft.com/office/drawing/2014/main" id="{757BDA8A-AE1C-4865-9BA7-7269FCFB3242}"/>
              </a:ext>
            </a:extLst>
          </p:cNvPr>
          <p:cNvSpPr/>
          <p:nvPr userDrawn="1"/>
        </p:nvSpPr>
        <p:spPr>
          <a:xfrm>
            <a:off x="13151219" y="4357647"/>
            <a:ext cx="5696585" cy="20955"/>
          </a:xfrm>
          <a:custGeom>
            <a:avLst/>
            <a:gdLst/>
            <a:ahLst/>
            <a:cxnLst/>
            <a:rect l="l" t="t" r="r" b="b"/>
            <a:pathLst>
              <a:path w="5696584" h="20954">
                <a:moveTo>
                  <a:pt x="0" y="20941"/>
                </a:moveTo>
                <a:lnTo>
                  <a:pt x="5696161" y="20941"/>
                </a:lnTo>
                <a:lnTo>
                  <a:pt x="5696161" y="0"/>
                </a:lnTo>
                <a:lnTo>
                  <a:pt x="0" y="0"/>
                </a:lnTo>
                <a:lnTo>
                  <a:pt x="0" y="2094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Espaço Reservado para Texto 3">
            <a:extLst>
              <a:ext uri="{FF2B5EF4-FFF2-40B4-BE49-F238E27FC236}">
                <a16:creationId xmlns:a16="http://schemas.microsoft.com/office/drawing/2014/main" id="{F6EECBED-040A-4568-8849-486F021ED3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865699" y="3521075"/>
            <a:ext cx="4648201" cy="318549"/>
          </a:xfrm>
          <a:prstGeom prst="rect">
            <a:avLst/>
          </a:prstGeom>
        </p:spPr>
        <p:txBody>
          <a:bodyPr/>
          <a:lstStyle>
            <a:lvl1pPr marL="0" marR="0" indent="0" defTabSz="91440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0" cap="all" baseline="0">
                <a:solidFill>
                  <a:schemeClr val="bg1"/>
                </a:solidFill>
                <a:latin typeface="+mn-lt"/>
              </a:defRPr>
            </a:lvl1pPr>
            <a:lvl2pPr>
              <a:defRPr sz="2300">
                <a:latin typeface="+mn-lt"/>
              </a:defRPr>
            </a:lvl2pPr>
            <a:lvl3pPr>
              <a:defRPr sz="2300">
                <a:latin typeface="+mn-lt"/>
              </a:defRPr>
            </a:lvl3pPr>
            <a:lvl4pPr>
              <a:defRPr sz="2300">
                <a:latin typeface="+mn-lt"/>
              </a:defRPr>
            </a:lvl4pPr>
            <a:lvl5pPr>
              <a:defRPr sz="2300">
                <a:latin typeface="+mn-lt"/>
              </a:defRPr>
            </a:lvl5pPr>
          </a:lstStyle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0"/>
              <a:t>Clique para adicionar um título para o box</a:t>
            </a:r>
          </a:p>
          <a:p>
            <a:pPr lvl="0"/>
            <a:endParaRPr lang="pt-BR" dirty="0"/>
          </a:p>
        </p:txBody>
      </p:sp>
      <p:sp>
        <p:nvSpPr>
          <p:cNvPr id="39" name="Espaço Reservado para Texto 3">
            <a:extLst>
              <a:ext uri="{FF2B5EF4-FFF2-40B4-BE49-F238E27FC236}">
                <a16:creationId xmlns:a16="http://schemas.microsoft.com/office/drawing/2014/main" id="{72FD0CE1-DAF1-41F3-BC05-E4E6F05942F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3484701" y="4772251"/>
            <a:ext cx="5029200" cy="4366667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90000"/>
              </a:lnSpc>
              <a:spcBef>
                <a:spcPts val="2400"/>
              </a:spcBef>
              <a:buClr>
                <a:schemeClr val="accent6"/>
              </a:buClr>
              <a:buFont typeface="Wingdings 2" panose="05020102010507070707" pitchFamily="18" charset="2"/>
              <a:buChar char=""/>
              <a:defRPr sz="2450" b="0" cap="none" baseline="0">
                <a:solidFill>
                  <a:schemeClr val="bg1"/>
                </a:solidFill>
                <a:latin typeface="+mn-lt"/>
              </a:defRPr>
            </a:lvl1pPr>
            <a:lvl2pPr>
              <a:defRPr sz="2300">
                <a:latin typeface="+mn-lt"/>
              </a:defRPr>
            </a:lvl2pPr>
            <a:lvl3pPr>
              <a:defRPr sz="2300">
                <a:latin typeface="+mn-lt"/>
              </a:defRPr>
            </a:lvl3pPr>
            <a:lvl4pPr>
              <a:defRPr sz="2300">
                <a:latin typeface="+mn-lt"/>
              </a:defRPr>
            </a:lvl4pPr>
            <a:lvl5pPr>
              <a:defRPr sz="2300">
                <a:latin typeface="+mn-lt"/>
              </a:defRPr>
            </a:lvl5pPr>
          </a:lstStyle>
          <a:p>
            <a:pPr lvl="0"/>
            <a:endParaRPr lang="pt-BR" dirty="0"/>
          </a:p>
        </p:txBody>
      </p:sp>
      <p:sp>
        <p:nvSpPr>
          <p:cNvPr id="15" name="Título 13">
            <a:extLst>
              <a:ext uri="{FF2B5EF4-FFF2-40B4-BE49-F238E27FC236}">
                <a16:creationId xmlns:a16="http://schemas.microsoft.com/office/drawing/2014/main" id="{2636014C-34AA-4794-8C01-4FAE816BFA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9050" y="1369334"/>
            <a:ext cx="11611292" cy="1542141"/>
          </a:xfrm>
        </p:spPr>
        <p:txBody>
          <a:bodyPr/>
          <a:lstStyle>
            <a:lvl1pPr>
              <a:defRPr lang="pt-BR" sz="6600" b="1" i="0" u="none" cap="none" spc="-75" baseline="0" dirty="0" smtClean="0">
                <a:solidFill>
                  <a:schemeClr val="accent2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700" marR="2402840" lvl="0">
              <a:lnSpc>
                <a:spcPct val="85000"/>
              </a:lnSpc>
              <a:spcBef>
                <a:spcPts val="2240"/>
              </a:spcBef>
            </a:pPr>
            <a:r>
              <a:rPr lang="pt-BR" dirty="0"/>
              <a:t>Clique para editar o título Mestre</a:t>
            </a:r>
          </a:p>
        </p:txBody>
      </p:sp>
      <p:sp>
        <p:nvSpPr>
          <p:cNvPr id="2" name="Espaço Reservado para Rodapé 1">
            <a:extLst>
              <a:ext uri="{FF2B5EF4-FFF2-40B4-BE49-F238E27FC236}">
                <a16:creationId xmlns:a16="http://schemas.microsoft.com/office/drawing/2014/main" id="{E980CC96-6D78-4802-BBF2-4E17261E8E4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3467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a Especia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ço Reservado para Texto 2">
            <a:extLst>
              <a:ext uri="{FF2B5EF4-FFF2-40B4-BE49-F238E27FC236}">
                <a16:creationId xmlns:a16="http://schemas.microsoft.com/office/drawing/2014/main" id="{8C74C196-38F0-4DC9-ACCF-4C8B1044A1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57030" y="2834056"/>
            <a:ext cx="9900340" cy="534619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ts val="405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3450" b="1" kern="1200" spc="-60" dirty="0" smtClean="0">
                <a:solidFill>
                  <a:schemeClr val="accent2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ts val="405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3600" dirty="0">
                <a:latin typeface="Calibri"/>
                <a:cs typeface="Calibri"/>
              </a:rPr>
              <a:t>Clique para adicionar um subtítulo</a:t>
            </a:r>
          </a:p>
          <a:p>
            <a:pPr marL="12700">
              <a:lnSpc>
                <a:spcPts val="4050"/>
              </a:lnSpc>
              <a:spcBef>
                <a:spcPts val="110"/>
              </a:spcBef>
            </a:pPr>
            <a:endParaRPr lang="pt-BR" sz="3450" dirty="0">
              <a:latin typeface="Calibri"/>
              <a:cs typeface="Calibri"/>
            </a:endParaRPr>
          </a:p>
        </p:txBody>
      </p:sp>
      <p:sp>
        <p:nvSpPr>
          <p:cNvPr id="27" name="Espaço Reservado para Texto 4">
            <a:extLst>
              <a:ext uri="{FF2B5EF4-FFF2-40B4-BE49-F238E27FC236}">
                <a16:creationId xmlns:a16="http://schemas.microsoft.com/office/drawing/2014/main" id="{B8C5130A-F67A-4F4A-A090-9534B500B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57029" y="3408109"/>
            <a:ext cx="9900340" cy="525785"/>
          </a:xfrm>
          <a:prstGeom prst="rect">
            <a:avLst/>
          </a:prstGeom>
        </p:spPr>
        <p:txBody>
          <a:bodyPr/>
          <a:lstStyle>
            <a:lvl1pPr marL="12700" algn="l" defTabSz="914400" rtl="0" eaLnBrk="1" latinLnBrk="0" hangingPunct="1">
              <a:lnSpc>
                <a:spcPts val="4050"/>
              </a:lnSpc>
              <a:defRPr lang="pt-BR" sz="3450" b="0" kern="1200" spc="-55" dirty="0" smtClean="0">
                <a:solidFill>
                  <a:srgbClr val="00445F"/>
                </a:solidFill>
                <a:latin typeface="Calibri Light"/>
                <a:ea typeface="+mn-ea"/>
                <a:cs typeface="Calibri Light"/>
              </a:defRPr>
            </a:lvl1pPr>
          </a:lstStyle>
          <a:p>
            <a:pPr marL="12700">
              <a:lnSpc>
                <a:spcPts val="4050"/>
              </a:lnSpc>
            </a:pPr>
            <a:endParaRPr lang="pt-BR" sz="3450" dirty="0">
              <a:latin typeface="Calibri Light"/>
              <a:cs typeface="Calibri Light"/>
            </a:endParaRPr>
          </a:p>
        </p:txBody>
      </p:sp>
      <p:sp>
        <p:nvSpPr>
          <p:cNvPr id="32" name="Espaço Reservado para Texto 43">
            <a:extLst>
              <a:ext uri="{FF2B5EF4-FFF2-40B4-BE49-F238E27FC236}">
                <a16:creationId xmlns:a16="http://schemas.microsoft.com/office/drawing/2014/main" id="{135D7E51-5810-4666-BF0B-88C2FD1A6A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38851" y="5399222"/>
            <a:ext cx="5644960" cy="1196310"/>
          </a:xfrm>
          <a:prstGeom prst="rect">
            <a:avLst/>
          </a:prstGeom>
        </p:spPr>
        <p:txBody>
          <a:bodyPr/>
          <a:lstStyle>
            <a:lvl1pPr>
              <a:defRPr lang="pt-BR" sz="2450" b="0" kern="1200" dirty="0" smtClean="0">
                <a:solidFill>
                  <a:srgbClr val="6F777C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14604">
              <a:lnSpc>
                <a:spcPct val="101000"/>
              </a:lnSpc>
              <a:spcBef>
                <a:spcPts val="1620"/>
              </a:spcBef>
            </a:pPr>
            <a:endParaRPr lang="pt-BR" sz="2450" dirty="0">
              <a:latin typeface="Calibri"/>
              <a:cs typeface="Calibri"/>
            </a:endParaRPr>
          </a:p>
        </p:txBody>
      </p:sp>
      <p:sp>
        <p:nvSpPr>
          <p:cNvPr id="33" name="Espaço Reservado para Texto 2">
            <a:extLst>
              <a:ext uri="{FF2B5EF4-FFF2-40B4-BE49-F238E27FC236}">
                <a16:creationId xmlns:a16="http://schemas.microsoft.com/office/drawing/2014/main" id="{EE99FE92-8866-4B01-A771-49D232EFC9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36634" y="5024899"/>
            <a:ext cx="5644960" cy="362022"/>
          </a:xfrm>
          <a:prstGeom prst="rect">
            <a:avLst/>
          </a:prstGeom>
        </p:spPr>
        <p:txBody>
          <a:bodyPr/>
          <a:lstStyle>
            <a:lvl1pPr marL="12700" marR="978535" algn="l" defTabSz="914400" rtl="0" eaLnBrk="1" latinLnBrk="0" hangingPunct="1">
              <a:lnSpc>
                <a:spcPct val="76900"/>
              </a:lnSpc>
              <a:spcBef>
                <a:spcPts val="935"/>
              </a:spcBef>
              <a:defRPr lang="pt-BR" sz="2950" b="1" kern="1200" spc="-50" dirty="0" smtClean="0">
                <a:solidFill>
                  <a:schemeClr val="accent2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978535">
              <a:lnSpc>
                <a:spcPct val="76900"/>
              </a:lnSpc>
              <a:spcBef>
                <a:spcPts val="935"/>
              </a:spcBef>
            </a:pPr>
            <a:r>
              <a:rPr lang="da-DK" sz="2950" dirty="0">
                <a:latin typeface="Calibri"/>
                <a:cs typeface="Calibri"/>
              </a:rPr>
              <a:t>Clique para adicionar um título</a:t>
            </a:r>
          </a:p>
        </p:txBody>
      </p:sp>
      <p:sp>
        <p:nvSpPr>
          <p:cNvPr id="36" name="Espaço Reservado para Texto 43">
            <a:extLst>
              <a:ext uri="{FF2B5EF4-FFF2-40B4-BE49-F238E27FC236}">
                <a16:creationId xmlns:a16="http://schemas.microsoft.com/office/drawing/2014/main" id="{FD7003F5-41F6-4496-99EB-46ACFEA318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38851" y="7857798"/>
            <a:ext cx="5644960" cy="1235902"/>
          </a:xfrm>
          <a:prstGeom prst="rect">
            <a:avLst/>
          </a:prstGeom>
        </p:spPr>
        <p:txBody>
          <a:bodyPr/>
          <a:lstStyle>
            <a:lvl1pPr>
              <a:defRPr lang="pt-BR" sz="2450" b="0" kern="1200" dirty="0" smtClean="0">
                <a:solidFill>
                  <a:srgbClr val="6F777C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14604">
              <a:lnSpc>
                <a:spcPct val="101000"/>
              </a:lnSpc>
              <a:spcBef>
                <a:spcPts val="1620"/>
              </a:spcBef>
            </a:pPr>
            <a:endParaRPr lang="pt-BR" sz="2450" dirty="0">
              <a:latin typeface="Calibri"/>
              <a:cs typeface="Calibri"/>
            </a:endParaRPr>
          </a:p>
        </p:txBody>
      </p:sp>
      <p:sp>
        <p:nvSpPr>
          <p:cNvPr id="37" name="Espaço Reservado para Texto 2">
            <a:extLst>
              <a:ext uri="{FF2B5EF4-FFF2-40B4-BE49-F238E27FC236}">
                <a16:creationId xmlns:a16="http://schemas.microsoft.com/office/drawing/2014/main" id="{A143B7E0-9637-4368-BD5F-8CDC3C0D31D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36634" y="7483475"/>
            <a:ext cx="5652408" cy="362022"/>
          </a:xfrm>
          <a:prstGeom prst="rect">
            <a:avLst/>
          </a:prstGeom>
        </p:spPr>
        <p:txBody>
          <a:bodyPr/>
          <a:lstStyle>
            <a:lvl1pPr marL="12700" marR="978535" indent="0" algn="l" defTabSz="914400" rtl="0" eaLnBrk="1" fontAlgn="auto" latinLnBrk="0" hangingPunct="1">
              <a:lnSpc>
                <a:spcPct val="76900"/>
              </a:lnSpc>
              <a:spcBef>
                <a:spcPts val="93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2950" b="1" kern="1200" spc="-50" dirty="0" smtClean="0">
                <a:solidFill>
                  <a:schemeClr val="accent2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978535" lvl="0" indent="0" algn="l" defTabSz="914400" rtl="0" eaLnBrk="1" fontAlgn="auto" latinLnBrk="0" hangingPunct="1">
              <a:lnSpc>
                <a:spcPct val="76900"/>
              </a:lnSpc>
              <a:spcBef>
                <a:spcPts val="9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950" dirty="0">
                <a:latin typeface="Calibri"/>
                <a:cs typeface="Calibri"/>
              </a:rPr>
              <a:t>Clique para adicionar um título</a:t>
            </a:r>
          </a:p>
        </p:txBody>
      </p:sp>
      <p:sp>
        <p:nvSpPr>
          <p:cNvPr id="40" name="Espaço Reservado para Texto 43">
            <a:extLst>
              <a:ext uri="{FF2B5EF4-FFF2-40B4-BE49-F238E27FC236}">
                <a16:creationId xmlns:a16="http://schemas.microsoft.com/office/drawing/2014/main" id="{591E799B-8F3C-4372-8F8A-5C630AF5B96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80551" y="5399222"/>
            <a:ext cx="5642743" cy="1196310"/>
          </a:xfrm>
          <a:prstGeom prst="rect">
            <a:avLst/>
          </a:prstGeom>
        </p:spPr>
        <p:txBody>
          <a:bodyPr/>
          <a:lstStyle>
            <a:lvl1pPr>
              <a:defRPr lang="pt-BR" sz="2450" b="0" kern="1200" dirty="0" smtClean="0">
                <a:solidFill>
                  <a:srgbClr val="6F777C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14604">
              <a:lnSpc>
                <a:spcPct val="101000"/>
              </a:lnSpc>
              <a:spcBef>
                <a:spcPts val="1620"/>
              </a:spcBef>
            </a:pPr>
            <a:endParaRPr lang="pt-BR" sz="2450" dirty="0">
              <a:latin typeface="Calibri"/>
              <a:cs typeface="Calibri"/>
            </a:endParaRPr>
          </a:p>
        </p:txBody>
      </p:sp>
      <p:sp>
        <p:nvSpPr>
          <p:cNvPr id="41" name="Espaço Reservado para Texto 2">
            <a:extLst>
              <a:ext uri="{FF2B5EF4-FFF2-40B4-BE49-F238E27FC236}">
                <a16:creationId xmlns:a16="http://schemas.microsoft.com/office/drawing/2014/main" id="{B31BF625-53C5-4F67-98B5-5647F68C2D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1578333" y="5024899"/>
            <a:ext cx="5649395" cy="362022"/>
          </a:xfrm>
          <a:prstGeom prst="rect">
            <a:avLst/>
          </a:prstGeom>
        </p:spPr>
        <p:txBody>
          <a:bodyPr/>
          <a:lstStyle>
            <a:lvl1pPr marL="12700" marR="978535" indent="0" algn="l" defTabSz="914400" rtl="0" eaLnBrk="1" fontAlgn="auto" latinLnBrk="0" hangingPunct="1">
              <a:lnSpc>
                <a:spcPct val="76900"/>
              </a:lnSpc>
              <a:spcBef>
                <a:spcPts val="93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2950" b="1" kern="1200" spc="-50" dirty="0" smtClean="0">
                <a:solidFill>
                  <a:schemeClr val="accent2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978535" lvl="0" indent="0" algn="l" defTabSz="914400" rtl="0" eaLnBrk="1" fontAlgn="auto" latinLnBrk="0" hangingPunct="1">
              <a:lnSpc>
                <a:spcPct val="76900"/>
              </a:lnSpc>
              <a:spcBef>
                <a:spcPts val="9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950" dirty="0">
                <a:latin typeface="Calibri"/>
                <a:cs typeface="Calibri"/>
              </a:rPr>
              <a:t>Clique para adicionar um título</a:t>
            </a:r>
          </a:p>
        </p:txBody>
      </p:sp>
      <p:sp>
        <p:nvSpPr>
          <p:cNvPr id="44" name="Espaço Reservado para Texto 43">
            <a:extLst>
              <a:ext uri="{FF2B5EF4-FFF2-40B4-BE49-F238E27FC236}">
                <a16:creationId xmlns:a16="http://schemas.microsoft.com/office/drawing/2014/main" id="{33D9142B-64E5-4B7C-BF73-DE88A2A37BC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582768" y="7857798"/>
            <a:ext cx="5647240" cy="1235902"/>
          </a:xfrm>
          <a:prstGeom prst="rect">
            <a:avLst/>
          </a:prstGeom>
        </p:spPr>
        <p:txBody>
          <a:bodyPr/>
          <a:lstStyle>
            <a:lvl1pPr>
              <a:defRPr lang="pt-BR" sz="2450" b="0" kern="1200" dirty="0" smtClean="0">
                <a:solidFill>
                  <a:srgbClr val="6F777C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14604">
              <a:lnSpc>
                <a:spcPct val="101000"/>
              </a:lnSpc>
              <a:spcBef>
                <a:spcPts val="1620"/>
              </a:spcBef>
            </a:pPr>
            <a:endParaRPr lang="pt-BR" sz="2450" dirty="0">
              <a:latin typeface="Calibri"/>
              <a:cs typeface="Calibri"/>
            </a:endParaRPr>
          </a:p>
        </p:txBody>
      </p:sp>
      <p:sp>
        <p:nvSpPr>
          <p:cNvPr id="45" name="Espaço Reservado para Texto 2">
            <a:extLst>
              <a:ext uri="{FF2B5EF4-FFF2-40B4-BE49-F238E27FC236}">
                <a16:creationId xmlns:a16="http://schemas.microsoft.com/office/drawing/2014/main" id="{A291CFCC-F0C1-4634-975A-BC1AA748B8F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580551" y="7483475"/>
            <a:ext cx="5649395" cy="368626"/>
          </a:xfrm>
          <a:prstGeom prst="rect">
            <a:avLst/>
          </a:prstGeom>
        </p:spPr>
        <p:txBody>
          <a:bodyPr/>
          <a:lstStyle>
            <a:lvl1pPr marL="12700" marR="978535" indent="0" algn="l" defTabSz="914400" rtl="0" eaLnBrk="1" fontAlgn="auto" latinLnBrk="0" hangingPunct="1">
              <a:lnSpc>
                <a:spcPct val="76900"/>
              </a:lnSpc>
              <a:spcBef>
                <a:spcPts val="93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2950" b="1" kern="1200" spc="-50" dirty="0" smtClean="0">
                <a:solidFill>
                  <a:schemeClr val="accent2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978535" lvl="0" indent="0" algn="l" defTabSz="914400" rtl="0" eaLnBrk="1" fontAlgn="auto" latinLnBrk="0" hangingPunct="1">
              <a:lnSpc>
                <a:spcPct val="76900"/>
              </a:lnSpc>
              <a:spcBef>
                <a:spcPts val="9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950" dirty="0">
                <a:latin typeface="Calibri"/>
                <a:cs typeface="Calibri"/>
              </a:rPr>
              <a:t>Clique para adicionar um título</a:t>
            </a:r>
          </a:p>
        </p:txBody>
      </p:sp>
      <p:sp>
        <p:nvSpPr>
          <p:cNvPr id="54" name="Espaço Reservado para Imagem 17">
            <a:extLst>
              <a:ext uri="{FF2B5EF4-FFF2-40B4-BE49-F238E27FC236}">
                <a16:creationId xmlns:a16="http://schemas.microsoft.com/office/drawing/2014/main" id="{6F3865AA-8F0D-4E34-9D12-09EC3E51DFB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282700" y="5024899"/>
            <a:ext cx="1580677" cy="157063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55" name="Espaço Reservado para Imagem 17">
            <a:extLst>
              <a:ext uri="{FF2B5EF4-FFF2-40B4-BE49-F238E27FC236}">
                <a16:creationId xmlns:a16="http://schemas.microsoft.com/office/drawing/2014/main" id="{799F44EA-0892-4990-9FAB-025CC4C6FA4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257030" y="7501366"/>
            <a:ext cx="1580677" cy="1592334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56" name="Espaço Reservado para Imagem 17">
            <a:extLst>
              <a:ext uri="{FF2B5EF4-FFF2-40B4-BE49-F238E27FC236}">
                <a16:creationId xmlns:a16="http://schemas.microsoft.com/office/drawing/2014/main" id="{00E02FFD-C05F-4ACD-B2A6-0273D8E4456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9634383" y="5024899"/>
            <a:ext cx="1580677" cy="1570633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57" name="Espaço Reservado para Imagem 17">
            <a:extLst>
              <a:ext uri="{FF2B5EF4-FFF2-40B4-BE49-F238E27FC236}">
                <a16:creationId xmlns:a16="http://schemas.microsoft.com/office/drawing/2014/main" id="{B87BD144-C1CE-4070-839E-2A3D536EEFE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608713" y="7501366"/>
            <a:ext cx="1580677" cy="1592334"/>
          </a:xfrm>
          <a:prstGeom prst="rect">
            <a:avLst/>
          </a:prstGeo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17" name="Título 13">
            <a:extLst>
              <a:ext uri="{FF2B5EF4-FFF2-40B4-BE49-F238E27FC236}">
                <a16:creationId xmlns:a16="http://schemas.microsoft.com/office/drawing/2014/main" id="{788F479D-B662-4072-85F5-C4F897DF8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9050" y="1369334"/>
            <a:ext cx="9900340" cy="1542141"/>
          </a:xfrm>
        </p:spPr>
        <p:txBody>
          <a:bodyPr/>
          <a:lstStyle>
            <a:lvl1pPr>
              <a:defRPr lang="pt-BR" sz="6600" b="1" i="0" u="none" cap="none" spc="-75" baseline="0" dirty="0" smtClean="0">
                <a:solidFill>
                  <a:schemeClr val="accent2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700" marR="2402840" lvl="0">
              <a:lnSpc>
                <a:spcPct val="85000"/>
              </a:lnSpc>
              <a:spcBef>
                <a:spcPts val="2240"/>
              </a:spcBef>
            </a:pPr>
            <a:r>
              <a:rPr lang="pt-BR" dirty="0"/>
              <a:t>Clique para editar o título Mestre</a:t>
            </a:r>
          </a:p>
        </p:txBody>
      </p:sp>
      <p:sp>
        <p:nvSpPr>
          <p:cNvPr id="2" name="Espaço Reservado para Rodapé 1">
            <a:extLst>
              <a:ext uri="{FF2B5EF4-FFF2-40B4-BE49-F238E27FC236}">
                <a16:creationId xmlns:a16="http://schemas.microsoft.com/office/drawing/2014/main" id="{70C8AA17-9D3A-4C5C-A51D-BABC5CAB7117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827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eria – Foto Ampli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7F9A1E7D-956A-4928-811F-F851013AB19B}"/>
              </a:ext>
            </a:extLst>
          </p:cNvPr>
          <p:cNvSpPr/>
          <p:nvPr userDrawn="1"/>
        </p:nvSpPr>
        <p:spPr>
          <a:xfrm>
            <a:off x="0" y="9998075"/>
            <a:ext cx="20104100" cy="1311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002F4F"/>
              </a:solidFill>
            </a:endParaRPr>
          </a:p>
        </p:txBody>
      </p:sp>
      <p:sp>
        <p:nvSpPr>
          <p:cNvPr id="30" name="Espaço Reservado para Imagem 29">
            <a:extLst>
              <a:ext uri="{FF2B5EF4-FFF2-40B4-BE49-F238E27FC236}">
                <a16:creationId xmlns:a16="http://schemas.microsoft.com/office/drawing/2014/main" id="{8F6905DF-CF78-4C5A-B12D-3D2B6BF8E4C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0104100" cy="11309349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1"/>
                </a:solidFill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902743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eria – 2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7F9A1E7D-956A-4928-811F-F851013AB19B}"/>
              </a:ext>
            </a:extLst>
          </p:cNvPr>
          <p:cNvSpPr/>
          <p:nvPr userDrawn="1"/>
        </p:nvSpPr>
        <p:spPr>
          <a:xfrm>
            <a:off x="0" y="9998075"/>
            <a:ext cx="20104100" cy="1311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002F4F"/>
              </a:solidFill>
            </a:endParaRPr>
          </a:p>
        </p:txBody>
      </p:sp>
      <p:sp>
        <p:nvSpPr>
          <p:cNvPr id="30" name="Espaço Reservado para Imagem 29">
            <a:extLst>
              <a:ext uri="{FF2B5EF4-FFF2-40B4-BE49-F238E27FC236}">
                <a16:creationId xmlns:a16="http://schemas.microsoft.com/office/drawing/2014/main" id="{8F6905DF-CF78-4C5A-B12D-3D2B6BF8E4C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0052050" cy="11309349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1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31" name="Espaço Reservado para Imagem 29">
            <a:extLst>
              <a:ext uri="{FF2B5EF4-FFF2-40B4-BE49-F238E27FC236}">
                <a16:creationId xmlns:a16="http://schemas.microsoft.com/office/drawing/2014/main" id="{B6460604-D14D-4202-A402-25CFB5B93D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052050" y="0"/>
            <a:ext cx="10052050" cy="11309349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1"/>
                </a:solidFill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794955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eria – 3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E148627A-17FE-4D1F-BB51-7BC46DCD5EB0}"/>
              </a:ext>
            </a:extLst>
          </p:cNvPr>
          <p:cNvSpPr/>
          <p:nvPr userDrawn="1"/>
        </p:nvSpPr>
        <p:spPr>
          <a:xfrm>
            <a:off x="0" y="9998075"/>
            <a:ext cx="20104100" cy="1311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002F4F"/>
              </a:solidFill>
            </a:endParaRPr>
          </a:p>
        </p:txBody>
      </p:sp>
      <p:sp>
        <p:nvSpPr>
          <p:cNvPr id="30" name="Espaço Reservado para Imagem 29">
            <a:extLst>
              <a:ext uri="{FF2B5EF4-FFF2-40B4-BE49-F238E27FC236}">
                <a16:creationId xmlns:a16="http://schemas.microsoft.com/office/drawing/2014/main" id="{8F6905DF-CF78-4C5A-B12D-3D2B6BF8E4C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0052050" cy="11309350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1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13" name="Espaço Reservado para Imagem 29">
            <a:extLst>
              <a:ext uri="{FF2B5EF4-FFF2-40B4-BE49-F238E27FC236}">
                <a16:creationId xmlns:a16="http://schemas.microsoft.com/office/drawing/2014/main" id="{A3BDD10B-4E55-449B-9373-8F26A47FA2B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052050" y="-10115"/>
            <a:ext cx="10051200" cy="5664789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1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14" name="Espaço Reservado para Imagem 29">
            <a:extLst>
              <a:ext uri="{FF2B5EF4-FFF2-40B4-BE49-F238E27FC236}">
                <a16:creationId xmlns:a16="http://schemas.microsoft.com/office/drawing/2014/main" id="{D13ECEF2-DF1C-4D05-B6FE-598B6D97BD4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52900" y="5654675"/>
            <a:ext cx="10051200" cy="5636485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1"/>
                </a:solidFill>
              </a:defRPr>
            </a:lvl1pPr>
          </a:lstStyle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958192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A9D2F55B-E3BE-4424-9958-E8E3CD8A5F9D}"/>
              </a:ext>
            </a:extLst>
          </p:cNvPr>
          <p:cNvSpPr/>
          <p:nvPr userDrawn="1"/>
        </p:nvSpPr>
        <p:spPr>
          <a:xfrm>
            <a:off x="0" y="9998075"/>
            <a:ext cx="20104100" cy="1311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002F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5714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em Branco com Rodap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Rodapé 1">
            <a:extLst>
              <a:ext uri="{FF2B5EF4-FFF2-40B4-BE49-F238E27FC236}">
                <a16:creationId xmlns:a16="http://schemas.microsoft.com/office/drawing/2014/main" id="{D0B32060-FDF6-421C-8976-34A9D7634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0770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Agradecime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691EC15-A1A9-4B93-9A3D-2A1F903DE3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12602" y="4511675"/>
            <a:ext cx="8185330" cy="1426474"/>
          </a:xfrm>
        </p:spPr>
        <p:txBody>
          <a:bodyPr anchor="b"/>
          <a:lstStyle>
            <a:lvl1pPr marL="12700" algn="l" defTabSz="914400" rtl="0" eaLnBrk="1" latinLnBrk="0" hangingPunct="1">
              <a:lnSpc>
                <a:spcPct val="85000"/>
              </a:lnSpc>
              <a:spcBef>
                <a:spcPts val="110"/>
              </a:spcBef>
              <a:defRPr lang="en-US" sz="9600" b="1" i="0" u="none" kern="0" cap="all" spc="-5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dirty="0"/>
              <a:t>[MENSAGEM]</a:t>
            </a:r>
            <a:endParaRPr lang="en-US" dirty="0"/>
          </a:p>
        </p:txBody>
      </p:sp>
      <p:sp>
        <p:nvSpPr>
          <p:cNvPr id="5" name="object 28">
            <a:extLst>
              <a:ext uri="{FF2B5EF4-FFF2-40B4-BE49-F238E27FC236}">
                <a16:creationId xmlns:a16="http://schemas.microsoft.com/office/drawing/2014/main" id="{4E89D8DE-4AB0-43B8-A8FD-0E6B6601AC28}"/>
              </a:ext>
            </a:extLst>
          </p:cNvPr>
          <p:cNvSpPr/>
          <p:nvPr userDrawn="1"/>
        </p:nvSpPr>
        <p:spPr>
          <a:xfrm flipH="1">
            <a:off x="10244835" y="4511675"/>
            <a:ext cx="45719" cy="3097382"/>
          </a:xfrm>
          <a:custGeom>
            <a:avLst/>
            <a:gdLst/>
            <a:ahLst/>
            <a:cxnLst/>
            <a:rect l="l" t="t" r="r" b="b"/>
            <a:pathLst>
              <a:path h="2795904">
                <a:moveTo>
                  <a:pt x="0" y="0"/>
                </a:moveTo>
                <a:lnTo>
                  <a:pt x="0" y="2795726"/>
                </a:lnTo>
              </a:path>
            </a:pathLst>
          </a:custGeom>
          <a:ln w="62825">
            <a:solidFill>
              <a:srgbClr val="EBDE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Espaço Reservado para Texto 9">
            <a:extLst>
              <a:ext uri="{FF2B5EF4-FFF2-40B4-BE49-F238E27FC236}">
                <a16:creationId xmlns:a16="http://schemas.microsoft.com/office/drawing/2014/main" id="{16696E60-FDC6-4DBC-95ED-5B894AB600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17546" y="5717227"/>
            <a:ext cx="8080386" cy="623248"/>
          </a:xfrm>
          <a:prstGeom prst="rect">
            <a:avLst/>
          </a:prstGeom>
        </p:spPr>
        <p:txBody>
          <a:bodyPr/>
          <a:lstStyle>
            <a:lvl1pPr>
              <a:defRPr lang="en-US" sz="3200" b="1" kern="1200" spc="-125" dirty="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pt-BR" dirty="0"/>
              <a:t>[Nome do Apresentador]</a:t>
            </a:r>
            <a:endParaRPr lang="en-US" dirty="0"/>
          </a:p>
        </p:txBody>
      </p:sp>
      <p:sp>
        <p:nvSpPr>
          <p:cNvPr id="12" name="Espaço Reservado para Texto 9">
            <a:extLst>
              <a:ext uri="{FF2B5EF4-FFF2-40B4-BE49-F238E27FC236}">
                <a16:creationId xmlns:a16="http://schemas.microsoft.com/office/drawing/2014/main" id="{42B35EF3-16AF-4E7E-9C0E-C346DFFB01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917546" y="6959649"/>
            <a:ext cx="8080386" cy="623248"/>
          </a:xfrm>
          <a:prstGeom prst="rect">
            <a:avLst/>
          </a:prstGeom>
        </p:spPr>
        <p:txBody>
          <a:bodyPr/>
          <a:lstStyle>
            <a:lvl1pPr marL="12700" algn="l" defTabSz="914400" rtl="0" eaLnBrk="1" latinLnBrk="0" hangingPunct="1">
              <a:lnSpc>
                <a:spcPct val="100000"/>
              </a:lnSpc>
              <a:spcBef>
                <a:spcPts val="2330"/>
              </a:spcBef>
              <a:defRPr lang="en-US" sz="3200" b="0" kern="1200" spc="-120" dirty="0">
                <a:solidFill>
                  <a:schemeClr val="accent2"/>
                </a:solidFill>
                <a:highlight>
                  <a:srgbClr val="FFFFFF"/>
                </a:highlight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pt-BR" dirty="0"/>
              <a:t>[e-mail]@ppsa.gov.br</a:t>
            </a:r>
            <a:endParaRPr lang="en-US" dirty="0"/>
          </a:p>
        </p:txBody>
      </p:sp>
      <p:sp>
        <p:nvSpPr>
          <p:cNvPr id="13" name="Espaço Reservado para Texto 9">
            <a:extLst>
              <a:ext uri="{FF2B5EF4-FFF2-40B4-BE49-F238E27FC236}">
                <a16:creationId xmlns:a16="http://schemas.microsoft.com/office/drawing/2014/main" id="{0A4E89FB-7B46-42B9-8D27-0083E231FB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917546" y="6213000"/>
            <a:ext cx="8080386" cy="623248"/>
          </a:xfrm>
          <a:prstGeom prst="rect">
            <a:avLst/>
          </a:prstGeom>
        </p:spPr>
        <p:txBody>
          <a:bodyPr/>
          <a:lstStyle>
            <a:lvl1pPr marL="12700" algn="l" defTabSz="914400" rtl="0" eaLnBrk="1" latinLnBrk="0" hangingPunct="1">
              <a:lnSpc>
                <a:spcPct val="90000"/>
              </a:lnSpc>
              <a:defRPr lang="en-US" sz="3200" b="0" kern="1200" spc="-135" dirty="0">
                <a:solidFill>
                  <a:schemeClr val="tx1"/>
                </a:solidFill>
                <a:latin typeface="Calibri Light"/>
                <a:ea typeface="+mn-ea"/>
                <a:cs typeface="Calibri Light"/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pt-BR" dirty="0"/>
              <a:t>[Cargo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64070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3860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ertur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ao ar livre, navio, água, céu&#10;&#10;Descrição gerada automaticamente">
            <a:extLst>
              <a:ext uri="{FF2B5EF4-FFF2-40B4-BE49-F238E27FC236}">
                <a16:creationId xmlns:a16="http://schemas.microsoft.com/office/drawing/2014/main" id="{D91D8CBD-8A90-4241-BE36-2829A9B35D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5" name="object 4">
            <a:extLst>
              <a:ext uri="{FF2B5EF4-FFF2-40B4-BE49-F238E27FC236}">
                <a16:creationId xmlns:a16="http://schemas.microsoft.com/office/drawing/2014/main" id="{DBEAD5EF-68D5-4347-AEA6-30BBD1742CC9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305F8B04-89B9-4634-8BCA-0065466DA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7" name="Espaço Reservado para Texto 10">
            <a:extLst>
              <a:ext uri="{FF2B5EF4-FFF2-40B4-BE49-F238E27FC236}">
                <a16:creationId xmlns:a16="http://schemas.microsoft.com/office/drawing/2014/main" id="{889F8319-19EE-4D1F-B334-56CB61602A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0" name="Título 2">
            <a:extLst>
              <a:ext uri="{FF2B5EF4-FFF2-40B4-BE49-F238E27FC236}">
                <a16:creationId xmlns:a16="http://schemas.microsoft.com/office/drawing/2014/main" id="{9F887237-013C-4515-BD4D-3306A8719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106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59699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8032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493" y="2620"/>
          <a:ext cx="3489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93" y="2620"/>
                        <a:ext cx="3489" cy="261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57181" y="219905"/>
            <a:ext cx="18193951" cy="1334561"/>
          </a:xfrm>
          <a:prstGeom prst="rect">
            <a:avLst/>
          </a:prstGeom>
        </p:spPr>
        <p:txBody>
          <a:bodyPr/>
          <a:lstStyle>
            <a:lvl1pPr>
              <a:defRPr>
                <a:latin typeface="Arial"/>
                <a:sym typeface="Arial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683358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493" y="2620"/>
          <a:ext cx="3489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93" y="2620"/>
                        <a:ext cx="3489" cy="261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957180" y="2487463"/>
            <a:ext cx="18193953" cy="7610807"/>
          </a:xfrm>
          <a:prstGeom prst="rect">
            <a:avLst/>
          </a:prstGeom>
        </p:spPr>
        <p:txBody>
          <a:bodyPr/>
          <a:lstStyle>
            <a:lvl1pPr>
              <a:defRPr>
                <a:latin typeface="Arial"/>
                <a:sym typeface="Arial"/>
              </a:defRPr>
            </a:lvl1pPr>
            <a:lvl2pPr>
              <a:defRPr>
                <a:latin typeface="Arial"/>
                <a:sym typeface="Arial"/>
              </a:defRPr>
            </a:lvl2pPr>
            <a:lvl3pPr>
              <a:defRPr>
                <a:latin typeface="Arial"/>
                <a:sym typeface="Arial"/>
              </a:defRPr>
            </a:lvl3pPr>
            <a:lvl4pPr>
              <a:defRPr>
                <a:latin typeface="Arial"/>
                <a:sym typeface="Arial"/>
              </a:defRPr>
            </a:lvl4pPr>
            <a:lvl5pPr>
              <a:defRPr>
                <a:latin typeface="Arial"/>
                <a:sym typeface="Arial"/>
              </a:defRPr>
            </a:lvl5pPr>
          </a:lstStyle>
          <a:p>
            <a:pPr lvl="0"/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ext</a:t>
            </a:r>
            <a:r>
              <a:rPr lang="pt-BR" dirty="0"/>
              <a:t> </a:t>
            </a:r>
            <a:r>
              <a:rPr lang="pt-BR" dirty="0" err="1"/>
              <a:t>styles</a:t>
            </a:r>
            <a:endParaRPr lang="pt-BR" dirty="0"/>
          </a:p>
          <a:p>
            <a:pPr lvl="1"/>
            <a:r>
              <a:rPr lang="pt-BR" dirty="0" err="1"/>
              <a:t>Secon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2"/>
            <a:r>
              <a:rPr lang="pt-BR" dirty="0" err="1"/>
              <a:t>Third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3"/>
            <a:r>
              <a:rPr lang="pt-BR" dirty="0" err="1"/>
              <a:t>Four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  <a:p>
            <a:pPr lvl="4"/>
            <a:r>
              <a:rPr lang="pt-BR" dirty="0" err="1"/>
              <a:t>Fifth</a:t>
            </a:r>
            <a:r>
              <a:rPr lang="pt-BR" dirty="0"/>
              <a:t> </a:t>
            </a:r>
            <a:r>
              <a:rPr lang="pt-BR" dirty="0" err="1"/>
              <a:t>level</a:t>
            </a:r>
            <a:endParaRPr lang="pt-BR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57181" y="219905"/>
            <a:ext cx="18193951" cy="1334561"/>
          </a:xfrm>
          <a:prstGeom prst="rect">
            <a:avLst/>
          </a:prstGeom>
        </p:spPr>
        <p:txBody>
          <a:bodyPr/>
          <a:lstStyle>
            <a:lvl1pPr>
              <a:defRPr>
                <a:latin typeface="Arial"/>
                <a:sym typeface="Arial"/>
              </a:defRPr>
            </a:lvl1pPr>
          </a:lstStyle>
          <a:p>
            <a:r>
              <a:rPr lang="pt-BR" dirty="0"/>
              <a:t>Click </a:t>
            </a:r>
            <a:r>
              <a:rPr lang="pt-BR" dirty="0" err="1"/>
              <a:t>to</a:t>
            </a:r>
            <a:r>
              <a:rPr lang="pt-BR" dirty="0"/>
              <a:t> </a:t>
            </a:r>
            <a:r>
              <a:rPr lang="pt-BR" dirty="0" err="1"/>
              <a:t>edit</a:t>
            </a:r>
            <a:r>
              <a:rPr lang="pt-BR" dirty="0"/>
              <a:t> Master </a:t>
            </a:r>
            <a:r>
              <a:rPr lang="pt-BR" dirty="0" err="1"/>
              <a:t>title</a:t>
            </a:r>
            <a:r>
              <a:rPr lang="pt-BR" dirty="0"/>
              <a:t> </a:t>
            </a:r>
            <a:r>
              <a:rPr lang="pt-BR" dirty="0" err="1"/>
              <a:t>sty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901149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29309" y="376979"/>
            <a:ext cx="17622499" cy="150791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Rectangle 8"/>
          <p:cNvSpPr>
            <a:spLocks noGrp="1" noChangeArrowheads="1"/>
          </p:cNvSpPr>
          <p:nvPr>
            <p:ph type="dt" sz="half" idx="10"/>
          </p:nvPr>
        </p:nvSpPr>
        <p:spPr>
          <a:xfrm>
            <a:off x="1005205" y="10304074"/>
            <a:ext cx="4690957" cy="7539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6868901" y="10304074"/>
            <a:ext cx="6366298" cy="7539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4407938" y="10304074"/>
            <a:ext cx="4690957" cy="7539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D900B8-CDFA-4C71-97CB-A697FE0CE0FB}" type="slidenum">
              <a:rPr lang="pt-BR" altLang="pt-BR"/>
              <a:pPr>
                <a:defRPr/>
              </a:pPr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8841388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ertur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água, navio, céu, ao ar livre&#10;&#10;Descrição gerada automaticamente">
            <a:extLst>
              <a:ext uri="{FF2B5EF4-FFF2-40B4-BE49-F238E27FC236}">
                <a16:creationId xmlns:a16="http://schemas.microsoft.com/office/drawing/2014/main" id="{775E8919-C5B0-43F3-8101-8BA50DCBC5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5" name="object 4">
            <a:extLst>
              <a:ext uri="{FF2B5EF4-FFF2-40B4-BE49-F238E27FC236}">
                <a16:creationId xmlns:a16="http://schemas.microsoft.com/office/drawing/2014/main" id="{2451A4D8-F287-4093-9F05-30E661B6698C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25FA034-F50A-4D2E-9CD0-4305F77094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0" name="Título 2">
            <a:extLst>
              <a:ext uri="{FF2B5EF4-FFF2-40B4-BE49-F238E27FC236}">
                <a16:creationId xmlns:a16="http://schemas.microsoft.com/office/drawing/2014/main" id="{5B249C66-D68B-41B5-8757-5C4D47B64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106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7" name="Espaço Reservado para Texto 10">
            <a:extLst>
              <a:ext uri="{FF2B5EF4-FFF2-40B4-BE49-F238E27FC236}">
                <a16:creationId xmlns:a16="http://schemas.microsoft.com/office/drawing/2014/main" id="{C8DFEAF4-01C8-466D-A6D8-4D543A9329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1502976"/>
          </a:xfrm>
          <a:prstGeom prst="rect">
            <a:avLst/>
          </a:prstGeom>
        </p:spPr>
        <p:txBody>
          <a:bodyPr>
            <a:spAutoFit/>
          </a:bodyPr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</p:spTree>
    <p:extLst>
      <p:ext uri="{BB962C8B-B14F-4D97-AF65-F5344CB8AC3E}">
        <p14:creationId xmlns:p14="http://schemas.microsoft.com/office/powerpoint/2010/main" val="26126830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ertur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ao ar livre, navio, água, céu&#10;&#10;Descrição gerada automaticamente">
            <a:extLst>
              <a:ext uri="{FF2B5EF4-FFF2-40B4-BE49-F238E27FC236}">
                <a16:creationId xmlns:a16="http://schemas.microsoft.com/office/drawing/2014/main" id="{D91D8CBD-8A90-4241-BE36-2829A9B35D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5" name="object 4">
            <a:extLst>
              <a:ext uri="{FF2B5EF4-FFF2-40B4-BE49-F238E27FC236}">
                <a16:creationId xmlns:a16="http://schemas.microsoft.com/office/drawing/2014/main" id="{DBEAD5EF-68D5-4347-AEA6-30BBD1742CC9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305F8B04-89B9-4634-8BCA-0065466DA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7" name="Espaço Reservado para Texto 10">
            <a:extLst>
              <a:ext uri="{FF2B5EF4-FFF2-40B4-BE49-F238E27FC236}">
                <a16:creationId xmlns:a16="http://schemas.microsoft.com/office/drawing/2014/main" id="{889F8319-19EE-4D1F-B334-56CB61602A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0" name="Título 2">
            <a:extLst>
              <a:ext uri="{FF2B5EF4-FFF2-40B4-BE49-F238E27FC236}">
                <a16:creationId xmlns:a16="http://schemas.microsoft.com/office/drawing/2014/main" id="{9F887237-013C-4515-BD4D-3306A8719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106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910374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ção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CC4CF460-A26E-4D0A-88DC-5728C3D5DA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3" name="object 3">
            <a:extLst>
              <a:ext uri="{FF2B5EF4-FFF2-40B4-BE49-F238E27FC236}">
                <a16:creationId xmlns:a16="http://schemas.microsoft.com/office/drawing/2014/main" id="{1A2375F0-D374-4F7F-AAF4-67AFBD1BBA5C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1EE6A4D6-4A92-450F-BEE2-028B9496D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3" name="Espaço Reservado para Texto 10">
            <a:extLst>
              <a:ext uri="{FF2B5EF4-FFF2-40B4-BE49-F238E27FC236}">
                <a16:creationId xmlns:a16="http://schemas.microsoft.com/office/drawing/2014/main" id="{2DF0DB94-75B2-4060-AF97-42938DB7A9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4" name="Título 2">
            <a:extLst>
              <a:ext uri="{FF2B5EF4-FFF2-40B4-BE49-F238E27FC236}">
                <a16:creationId xmlns:a16="http://schemas.microsoft.com/office/drawing/2014/main" id="{A961BCBE-3AD6-4C8D-AC64-6944E771E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601654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ção 1 Sem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CC4CF460-A26E-4D0A-88DC-5728C3D5DA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13" name="Espaço Reservado para Texto 10">
            <a:extLst>
              <a:ext uri="{FF2B5EF4-FFF2-40B4-BE49-F238E27FC236}">
                <a16:creationId xmlns:a16="http://schemas.microsoft.com/office/drawing/2014/main" id="{2DF0DB94-75B2-4060-AF97-42938DB7A9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4" name="Título 2">
            <a:extLst>
              <a:ext uri="{FF2B5EF4-FFF2-40B4-BE49-F238E27FC236}">
                <a16:creationId xmlns:a16="http://schemas.microsoft.com/office/drawing/2014/main" id="{A961BCBE-3AD6-4C8D-AC64-6944E771E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91337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EDB9265A-052B-4398-9F1B-F0F8DF6A14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7" name="object 3">
            <a:extLst>
              <a:ext uri="{FF2B5EF4-FFF2-40B4-BE49-F238E27FC236}">
                <a16:creationId xmlns:a16="http://schemas.microsoft.com/office/drawing/2014/main" id="{43E4A770-279C-4FF8-AAF6-6BC68AF579A7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71E15E14-25D2-4147-B17B-E83B045846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C51FEB5A-735D-4F48-8836-9980D550FA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5DA0E63C-83B8-4B8A-B88D-48B43294C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166124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ção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CC4CF460-A26E-4D0A-88DC-5728C3D5DA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3" name="object 3">
            <a:extLst>
              <a:ext uri="{FF2B5EF4-FFF2-40B4-BE49-F238E27FC236}">
                <a16:creationId xmlns:a16="http://schemas.microsoft.com/office/drawing/2014/main" id="{1A2375F0-D374-4F7F-AAF4-67AFBD1BBA5C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1EE6A4D6-4A92-450F-BEE2-028B9496D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3" name="Espaço Reservado para Texto 10">
            <a:extLst>
              <a:ext uri="{FF2B5EF4-FFF2-40B4-BE49-F238E27FC236}">
                <a16:creationId xmlns:a16="http://schemas.microsoft.com/office/drawing/2014/main" id="{2DF0DB94-75B2-4060-AF97-42938DB7A9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4" name="Título 2">
            <a:extLst>
              <a:ext uri="{FF2B5EF4-FFF2-40B4-BE49-F238E27FC236}">
                <a16:creationId xmlns:a16="http://schemas.microsoft.com/office/drawing/2014/main" id="{A961BCBE-3AD6-4C8D-AC64-6944E771E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368780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2 Sem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EDB9265A-052B-4398-9F1B-F0F8DF6A14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C51FEB5A-735D-4F48-8836-9980D550FA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5DA0E63C-83B8-4B8A-B88D-48B43294C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844315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2C122274-7D09-4E1B-905F-D532877F72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7" name="object 3">
            <a:extLst>
              <a:ext uri="{FF2B5EF4-FFF2-40B4-BE49-F238E27FC236}">
                <a16:creationId xmlns:a16="http://schemas.microsoft.com/office/drawing/2014/main" id="{E3A9982C-D26E-43D8-B4CB-223B2E5FDFC6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11F8CD2-65D4-45FC-9DE3-36D290AA18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E160B763-6499-4DD0-BDCD-21B483D0A7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3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3" name="Título 2">
            <a:extLst>
              <a:ext uri="{FF2B5EF4-FFF2-40B4-BE49-F238E27FC236}">
                <a16:creationId xmlns:a16="http://schemas.microsoft.com/office/drawing/2014/main" id="{F0158AAA-8AF6-4995-B0C4-CDA2F49FF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976603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3 Sem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2C122274-7D09-4E1B-905F-D532877F72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E160B763-6499-4DD0-BDCD-21B483D0A7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130155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3" name="Título 2">
            <a:extLst>
              <a:ext uri="{FF2B5EF4-FFF2-40B4-BE49-F238E27FC236}">
                <a16:creationId xmlns:a16="http://schemas.microsoft.com/office/drawing/2014/main" id="{F0158AAA-8AF6-4995-B0C4-CDA2F49FF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130154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314021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513013" y="1851025"/>
            <a:ext cx="15078075" cy="39370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513013" y="5940425"/>
            <a:ext cx="15078075" cy="273050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FA4E0-F455-48C0-9627-0190E66C93E8}" type="datetimeFigureOut">
              <a:rPr lang="pt-BR" smtClean="0"/>
              <a:t>21/03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B94E-4847-4BC3-A14B-C424AFE5E1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39504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FA4E0-F455-48C0-9627-0190E66C93E8}" type="datetimeFigureOut">
              <a:rPr lang="pt-BR" smtClean="0"/>
              <a:t>21/03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B94E-4847-4BC3-A14B-C424AFE5E1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49079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371600" y="2819400"/>
            <a:ext cx="17340263" cy="470376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371600" y="7567613"/>
            <a:ext cx="17340263" cy="247491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FA4E0-F455-48C0-9627-0190E66C93E8}" type="datetimeFigureOut">
              <a:rPr lang="pt-BR" smtClean="0"/>
              <a:t>21/03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B94E-4847-4BC3-A14B-C424AFE5E1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901645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1382713" y="3009900"/>
            <a:ext cx="8593137" cy="71770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10128250" y="3009900"/>
            <a:ext cx="8593138" cy="71770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FA4E0-F455-48C0-9627-0190E66C93E8}" type="datetimeFigureOut">
              <a:rPr lang="pt-BR" smtClean="0"/>
              <a:t>21/03/202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B94E-4847-4BC3-A14B-C424AFE5E1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150975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384300" y="601663"/>
            <a:ext cx="17340263" cy="2185987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384300" y="2771775"/>
            <a:ext cx="8505825" cy="13589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1384300" y="4130675"/>
            <a:ext cx="8505825" cy="6076950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10177463" y="2771775"/>
            <a:ext cx="8547100" cy="13589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10177463" y="4130675"/>
            <a:ext cx="8547100" cy="6076950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FA4E0-F455-48C0-9627-0190E66C93E8}" type="datetimeFigureOut">
              <a:rPr lang="pt-BR" smtClean="0"/>
              <a:t>21/03/2023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B94E-4847-4BC3-A14B-C424AFE5E1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8787772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FA4E0-F455-48C0-9627-0190E66C93E8}" type="datetimeFigureOut">
              <a:rPr lang="pt-BR" smtClean="0"/>
              <a:t>21/03/202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B94E-4847-4BC3-A14B-C424AFE5E1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77455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FA4E0-F455-48C0-9627-0190E66C93E8}" type="datetimeFigureOut">
              <a:rPr lang="pt-BR" smtClean="0"/>
              <a:t>21/03/2023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B94E-4847-4BC3-A14B-C424AFE5E1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1808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ção 1 Sem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CC4CF460-A26E-4D0A-88DC-5728C3D5DA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13" name="Espaço Reservado para Texto 10">
            <a:extLst>
              <a:ext uri="{FF2B5EF4-FFF2-40B4-BE49-F238E27FC236}">
                <a16:creationId xmlns:a16="http://schemas.microsoft.com/office/drawing/2014/main" id="{2DF0DB94-75B2-4060-AF97-42938DB7A9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4" name="Título 2">
            <a:extLst>
              <a:ext uri="{FF2B5EF4-FFF2-40B4-BE49-F238E27FC236}">
                <a16:creationId xmlns:a16="http://schemas.microsoft.com/office/drawing/2014/main" id="{A961BCBE-3AD6-4C8D-AC64-6944E771E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384300" y="754063"/>
            <a:ext cx="6484938" cy="263842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547100" y="1628775"/>
            <a:ext cx="10177463" cy="80359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384300" y="3392488"/>
            <a:ext cx="6484938" cy="62865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FA4E0-F455-48C0-9627-0190E66C93E8}" type="datetimeFigureOut">
              <a:rPr lang="pt-BR" smtClean="0"/>
              <a:t>21/03/202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B94E-4847-4BC3-A14B-C424AFE5E1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177401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384300" y="754063"/>
            <a:ext cx="6484938" cy="263842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8547100" y="1628775"/>
            <a:ext cx="10177463" cy="80359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384300" y="3392488"/>
            <a:ext cx="6484938" cy="62865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FA4E0-F455-48C0-9627-0190E66C93E8}" type="datetimeFigureOut">
              <a:rPr lang="pt-BR" smtClean="0"/>
              <a:t>21/03/202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B94E-4847-4BC3-A14B-C424AFE5E1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5086307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FA4E0-F455-48C0-9627-0190E66C93E8}" type="datetimeFigureOut">
              <a:rPr lang="pt-BR" smtClean="0"/>
              <a:t>21/03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B94E-4847-4BC3-A14B-C424AFE5E1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160321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4387513" y="601663"/>
            <a:ext cx="4333875" cy="9585325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1382713" y="601663"/>
            <a:ext cx="12852400" cy="9585325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FA4E0-F455-48C0-9627-0190E66C93E8}" type="datetimeFigureOut">
              <a:rPr lang="pt-BR" smtClean="0"/>
              <a:t>21/03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EAB94E-4847-4BC3-A14B-C424AFE5E1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203600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ertur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água, navio, céu, ao ar livre&#10;&#10;Descrição gerada automaticamente">
            <a:extLst>
              <a:ext uri="{FF2B5EF4-FFF2-40B4-BE49-F238E27FC236}">
                <a16:creationId xmlns:a16="http://schemas.microsoft.com/office/drawing/2014/main" id="{775E8919-C5B0-43F3-8101-8BA50DCBC5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5" name="object 4">
            <a:extLst>
              <a:ext uri="{FF2B5EF4-FFF2-40B4-BE49-F238E27FC236}">
                <a16:creationId xmlns:a16="http://schemas.microsoft.com/office/drawing/2014/main" id="{2451A4D8-F287-4093-9F05-30E661B6698C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25FA034-F50A-4D2E-9CD0-4305F77094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0" name="Título 2">
            <a:extLst>
              <a:ext uri="{FF2B5EF4-FFF2-40B4-BE49-F238E27FC236}">
                <a16:creationId xmlns:a16="http://schemas.microsoft.com/office/drawing/2014/main" id="{5B249C66-D68B-41B5-8757-5C4D47B64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106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7" name="Espaço Reservado para Texto 10">
            <a:extLst>
              <a:ext uri="{FF2B5EF4-FFF2-40B4-BE49-F238E27FC236}">
                <a16:creationId xmlns:a16="http://schemas.microsoft.com/office/drawing/2014/main" id="{C8DFEAF4-01C8-466D-A6D8-4D543A9329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1502976"/>
          </a:xfrm>
          <a:prstGeom prst="rect">
            <a:avLst/>
          </a:prstGeom>
        </p:spPr>
        <p:txBody>
          <a:bodyPr>
            <a:spAutoFit/>
          </a:bodyPr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</p:spTree>
    <p:extLst>
      <p:ext uri="{BB962C8B-B14F-4D97-AF65-F5344CB8AC3E}">
        <p14:creationId xmlns:p14="http://schemas.microsoft.com/office/powerpoint/2010/main" val="335286081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ertur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ao ar livre, navio, água, céu&#10;&#10;Descrição gerada automaticamente">
            <a:extLst>
              <a:ext uri="{FF2B5EF4-FFF2-40B4-BE49-F238E27FC236}">
                <a16:creationId xmlns:a16="http://schemas.microsoft.com/office/drawing/2014/main" id="{D91D8CBD-8A90-4241-BE36-2829A9B35D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5" name="object 4">
            <a:extLst>
              <a:ext uri="{FF2B5EF4-FFF2-40B4-BE49-F238E27FC236}">
                <a16:creationId xmlns:a16="http://schemas.microsoft.com/office/drawing/2014/main" id="{DBEAD5EF-68D5-4347-AEA6-30BBD1742CC9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305F8B04-89B9-4634-8BCA-0065466DA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7" name="Espaço Reservado para Texto 10">
            <a:extLst>
              <a:ext uri="{FF2B5EF4-FFF2-40B4-BE49-F238E27FC236}">
                <a16:creationId xmlns:a16="http://schemas.microsoft.com/office/drawing/2014/main" id="{889F8319-19EE-4D1F-B334-56CB61602A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0" name="Título 2">
            <a:extLst>
              <a:ext uri="{FF2B5EF4-FFF2-40B4-BE49-F238E27FC236}">
                <a16:creationId xmlns:a16="http://schemas.microsoft.com/office/drawing/2014/main" id="{9F887237-013C-4515-BD4D-3306A8719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106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248200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ção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CC4CF460-A26E-4D0A-88DC-5728C3D5DA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3" name="object 3">
            <a:extLst>
              <a:ext uri="{FF2B5EF4-FFF2-40B4-BE49-F238E27FC236}">
                <a16:creationId xmlns:a16="http://schemas.microsoft.com/office/drawing/2014/main" id="{1A2375F0-D374-4F7F-AAF4-67AFBD1BBA5C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1EE6A4D6-4A92-450F-BEE2-028B9496D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3" name="Espaço Reservado para Texto 10">
            <a:extLst>
              <a:ext uri="{FF2B5EF4-FFF2-40B4-BE49-F238E27FC236}">
                <a16:creationId xmlns:a16="http://schemas.microsoft.com/office/drawing/2014/main" id="{2DF0DB94-75B2-4060-AF97-42938DB7A9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4" name="Título 2">
            <a:extLst>
              <a:ext uri="{FF2B5EF4-FFF2-40B4-BE49-F238E27FC236}">
                <a16:creationId xmlns:a16="http://schemas.microsoft.com/office/drawing/2014/main" id="{A961BCBE-3AD6-4C8D-AC64-6944E771E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401237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ção 1 Sem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CC4CF460-A26E-4D0A-88DC-5728C3D5DA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13" name="Espaço Reservado para Texto 10">
            <a:extLst>
              <a:ext uri="{FF2B5EF4-FFF2-40B4-BE49-F238E27FC236}">
                <a16:creationId xmlns:a16="http://schemas.microsoft.com/office/drawing/2014/main" id="{2DF0DB94-75B2-4060-AF97-42938DB7A9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4" name="Título 2">
            <a:extLst>
              <a:ext uri="{FF2B5EF4-FFF2-40B4-BE49-F238E27FC236}">
                <a16:creationId xmlns:a16="http://schemas.microsoft.com/office/drawing/2014/main" id="{A961BCBE-3AD6-4C8D-AC64-6944E771E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891920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EDB9265A-052B-4398-9F1B-F0F8DF6A14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7" name="object 3">
            <a:extLst>
              <a:ext uri="{FF2B5EF4-FFF2-40B4-BE49-F238E27FC236}">
                <a16:creationId xmlns:a16="http://schemas.microsoft.com/office/drawing/2014/main" id="{43E4A770-279C-4FF8-AAF6-6BC68AF579A7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71E15E14-25D2-4147-B17B-E83B045846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C51FEB5A-735D-4F48-8836-9980D550FA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5DA0E63C-83B8-4B8A-B88D-48B43294C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713109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2 Sem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EDB9265A-052B-4398-9F1B-F0F8DF6A14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C51FEB5A-735D-4F48-8836-9980D550FA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5DA0E63C-83B8-4B8A-B88D-48B43294C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890017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EDB9265A-052B-4398-9F1B-F0F8DF6A14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7" name="object 3">
            <a:extLst>
              <a:ext uri="{FF2B5EF4-FFF2-40B4-BE49-F238E27FC236}">
                <a16:creationId xmlns:a16="http://schemas.microsoft.com/office/drawing/2014/main" id="{43E4A770-279C-4FF8-AAF6-6BC68AF579A7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71E15E14-25D2-4147-B17B-E83B045846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C51FEB5A-735D-4F48-8836-9980D550FA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5DA0E63C-83B8-4B8A-B88D-48B43294C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405957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2C122274-7D09-4E1B-905F-D532877F72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7" name="object 3">
            <a:extLst>
              <a:ext uri="{FF2B5EF4-FFF2-40B4-BE49-F238E27FC236}">
                <a16:creationId xmlns:a16="http://schemas.microsoft.com/office/drawing/2014/main" id="{E3A9982C-D26E-43D8-B4CB-223B2E5FDFC6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11F8CD2-65D4-45FC-9DE3-36D290AA18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E160B763-6499-4DD0-BDCD-21B483D0A7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3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3" name="Título 2">
            <a:extLst>
              <a:ext uri="{FF2B5EF4-FFF2-40B4-BE49-F238E27FC236}">
                <a16:creationId xmlns:a16="http://schemas.microsoft.com/office/drawing/2014/main" id="{F0158AAA-8AF6-4995-B0C4-CDA2F49FF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4498797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3 Sem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2C122274-7D09-4E1B-905F-D532877F72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E160B763-6499-4DD0-BDCD-21B483D0A7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130155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3" name="Título 2">
            <a:extLst>
              <a:ext uri="{FF2B5EF4-FFF2-40B4-BE49-F238E27FC236}">
                <a16:creationId xmlns:a16="http://schemas.microsoft.com/office/drawing/2014/main" id="{F0158AAA-8AF6-4995-B0C4-CDA2F49FF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130154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899181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58625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ertur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água, navio, céu, ao ar livre&#10;&#10;Descrição gerada automaticamente">
            <a:extLst>
              <a:ext uri="{FF2B5EF4-FFF2-40B4-BE49-F238E27FC236}">
                <a16:creationId xmlns:a16="http://schemas.microsoft.com/office/drawing/2014/main" id="{775E8919-C5B0-43F3-8101-8BA50DCBC5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5" name="object 4">
            <a:extLst>
              <a:ext uri="{FF2B5EF4-FFF2-40B4-BE49-F238E27FC236}">
                <a16:creationId xmlns:a16="http://schemas.microsoft.com/office/drawing/2014/main" id="{2451A4D8-F287-4093-9F05-30E661B6698C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25FA034-F50A-4D2E-9CD0-4305F77094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0" name="Título 2">
            <a:extLst>
              <a:ext uri="{FF2B5EF4-FFF2-40B4-BE49-F238E27FC236}">
                <a16:creationId xmlns:a16="http://schemas.microsoft.com/office/drawing/2014/main" id="{5B249C66-D68B-41B5-8757-5C4D47B64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106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7" name="Espaço Reservado para Texto 10">
            <a:extLst>
              <a:ext uri="{FF2B5EF4-FFF2-40B4-BE49-F238E27FC236}">
                <a16:creationId xmlns:a16="http://schemas.microsoft.com/office/drawing/2014/main" id="{C8DFEAF4-01C8-466D-A6D8-4D543A9329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1502976"/>
          </a:xfrm>
          <a:prstGeom prst="rect">
            <a:avLst/>
          </a:prstGeom>
        </p:spPr>
        <p:txBody>
          <a:bodyPr>
            <a:spAutoFit/>
          </a:bodyPr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</p:spTree>
    <p:extLst>
      <p:ext uri="{BB962C8B-B14F-4D97-AF65-F5344CB8AC3E}">
        <p14:creationId xmlns:p14="http://schemas.microsoft.com/office/powerpoint/2010/main" val="266882935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ertur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ao ar livre, navio, água, céu&#10;&#10;Descrição gerada automaticamente">
            <a:extLst>
              <a:ext uri="{FF2B5EF4-FFF2-40B4-BE49-F238E27FC236}">
                <a16:creationId xmlns:a16="http://schemas.microsoft.com/office/drawing/2014/main" id="{D91D8CBD-8A90-4241-BE36-2829A9B35D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5" name="object 4">
            <a:extLst>
              <a:ext uri="{FF2B5EF4-FFF2-40B4-BE49-F238E27FC236}">
                <a16:creationId xmlns:a16="http://schemas.microsoft.com/office/drawing/2014/main" id="{DBEAD5EF-68D5-4347-AEA6-30BBD1742CC9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305F8B04-89B9-4634-8BCA-0065466DA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7" name="Espaço Reservado para Texto 10">
            <a:extLst>
              <a:ext uri="{FF2B5EF4-FFF2-40B4-BE49-F238E27FC236}">
                <a16:creationId xmlns:a16="http://schemas.microsoft.com/office/drawing/2014/main" id="{889F8319-19EE-4D1F-B334-56CB61602A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0" name="Título 2">
            <a:extLst>
              <a:ext uri="{FF2B5EF4-FFF2-40B4-BE49-F238E27FC236}">
                <a16:creationId xmlns:a16="http://schemas.microsoft.com/office/drawing/2014/main" id="{9F887237-013C-4515-BD4D-3306A8719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106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2917657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ção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CC4CF460-A26E-4D0A-88DC-5728C3D5DA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3" name="object 3">
            <a:extLst>
              <a:ext uri="{FF2B5EF4-FFF2-40B4-BE49-F238E27FC236}">
                <a16:creationId xmlns:a16="http://schemas.microsoft.com/office/drawing/2014/main" id="{1A2375F0-D374-4F7F-AAF4-67AFBD1BBA5C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1EE6A4D6-4A92-450F-BEE2-028B9496D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3" name="Espaço Reservado para Texto 10">
            <a:extLst>
              <a:ext uri="{FF2B5EF4-FFF2-40B4-BE49-F238E27FC236}">
                <a16:creationId xmlns:a16="http://schemas.microsoft.com/office/drawing/2014/main" id="{2DF0DB94-75B2-4060-AF97-42938DB7A9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4" name="Título 2">
            <a:extLst>
              <a:ext uri="{FF2B5EF4-FFF2-40B4-BE49-F238E27FC236}">
                <a16:creationId xmlns:a16="http://schemas.microsoft.com/office/drawing/2014/main" id="{A961BCBE-3AD6-4C8D-AC64-6944E771E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280495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ção 1 Sem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CC4CF460-A26E-4D0A-88DC-5728C3D5DA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13" name="Espaço Reservado para Texto 10">
            <a:extLst>
              <a:ext uri="{FF2B5EF4-FFF2-40B4-BE49-F238E27FC236}">
                <a16:creationId xmlns:a16="http://schemas.microsoft.com/office/drawing/2014/main" id="{2DF0DB94-75B2-4060-AF97-42938DB7A9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4" name="Título 2">
            <a:extLst>
              <a:ext uri="{FF2B5EF4-FFF2-40B4-BE49-F238E27FC236}">
                <a16:creationId xmlns:a16="http://schemas.microsoft.com/office/drawing/2014/main" id="{A961BCBE-3AD6-4C8D-AC64-6944E771E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7289273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EDB9265A-052B-4398-9F1B-F0F8DF6A14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7" name="object 3">
            <a:extLst>
              <a:ext uri="{FF2B5EF4-FFF2-40B4-BE49-F238E27FC236}">
                <a16:creationId xmlns:a16="http://schemas.microsoft.com/office/drawing/2014/main" id="{43E4A770-279C-4FF8-AAF6-6BC68AF579A7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71E15E14-25D2-4147-B17B-E83B045846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C51FEB5A-735D-4F48-8836-9980D550FA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5DA0E63C-83B8-4B8A-B88D-48B43294C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5912845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2 Sem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EDB9265A-052B-4398-9F1B-F0F8DF6A14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C51FEB5A-735D-4F48-8836-9980D550FA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5DA0E63C-83B8-4B8A-B88D-48B43294C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066693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2C122274-7D09-4E1B-905F-D532877F72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7" name="object 3">
            <a:extLst>
              <a:ext uri="{FF2B5EF4-FFF2-40B4-BE49-F238E27FC236}">
                <a16:creationId xmlns:a16="http://schemas.microsoft.com/office/drawing/2014/main" id="{E3A9982C-D26E-43D8-B4CB-223B2E5FDFC6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11F8CD2-65D4-45FC-9DE3-36D290AA18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E160B763-6499-4DD0-BDCD-21B483D0A7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3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3" name="Título 2">
            <a:extLst>
              <a:ext uri="{FF2B5EF4-FFF2-40B4-BE49-F238E27FC236}">
                <a16:creationId xmlns:a16="http://schemas.microsoft.com/office/drawing/2014/main" id="{F0158AAA-8AF6-4995-B0C4-CDA2F49FF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017368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2 Sem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EDB9265A-052B-4398-9F1B-F0F8DF6A14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C51FEB5A-735D-4F48-8836-9980D550FA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2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5DA0E63C-83B8-4B8A-B88D-48B43294C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152126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3 Sem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2C122274-7D09-4E1B-905F-D532877F72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E160B763-6499-4DD0-BDCD-21B483D0A7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130155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3" name="Título 2">
            <a:extLst>
              <a:ext uri="{FF2B5EF4-FFF2-40B4-BE49-F238E27FC236}">
                <a16:creationId xmlns:a16="http://schemas.microsoft.com/office/drawing/2014/main" id="{F0158AAA-8AF6-4995-B0C4-CDA2F49FF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130154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45640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611946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697625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685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3764825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ópico + Conteúd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Espaço Reservado para Texto 41">
            <a:extLst>
              <a:ext uri="{FF2B5EF4-FFF2-40B4-BE49-F238E27FC236}">
                <a16:creationId xmlns:a16="http://schemas.microsoft.com/office/drawing/2014/main" id="{5C2C53BA-F336-43B0-8296-A1C1CBBCA4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237078" y="4322262"/>
            <a:ext cx="5260975" cy="453969"/>
          </a:xfrm>
          <a:prstGeom prst="rect">
            <a:avLst/>
          </a:prstGeom>
        </p:spPr>
        <p:txBody>
          <a:bodyPr/>
          <a:lstStyle>
            <a:lvl1pPr marL="20942" algn="l" defTabSz="911486" rtl="0" eaLnBrk="1" latinLnBrk="0" hangingPunct="1">
              <a:lnSpc>
                <a:spcPct val="100000"/>
              </a:lnSpc>
              <a:spcBef>
                <a:spcPts val="3397"/>
              </a:spcBef>
              <a:defRPr lang="pt-BR" sz="2940" b="1" kern="1200" spc="-49" dirty="0" smtClean="0">
                <a:solidFill>
                  <a:srgbClr val="005570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ct val="100000"/>
              </a:lnSpc>
              <a:spcBef>
                <a:spcPts val="2060"/>
              </a:spcBef>
            </a:pPr>
            <a:endParaRPr lang="da-DK" sz="2940" dirty="0">
              <a:latin typeface="Calibri"/>
              <a:cs typeface="Calibri"/>
            </a:endParaRPr>
          </a:p>
        </p:txBody>
      </p:sp>
      <p:sp>
        <p:nvSpPr>
          <p:cNvPr id="61" name="Espaço Reservado para Texto 43">
            <a:extLst>
              <a:ext uri="{FF2B5EF4-FFF2-40B4-BE49-F238E27FC236}">
                <a16:creationId xmlns:a16="http://schemas.microsoft.com/office/drawing/2014/main" id="{763B0B3A-C9B1-4290-AA77-409877195E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252811" y="5006454"/>
            <a:ext cx="5260974" cy="4458221"/>
          </a:xfrm>
          <a:prstGeom prst="rect">
            <a:avLst/>
          </a:prstGeom>
        </p:spPr>
        <p:txBody>
          <a:bodyPr/>
          <a:lstStyle>
            <a:lvl1pPr marL="20942" marR="24082">
              <a:lnSpc>
                <a:spcPct val="101000"/>
              </a:lnSpc>
              <a:spcBef>
                <a:spcPts val="2671"/>
              </a:spcBef>
              <a:defRPr lang="pt-BR" sz="2442" b="0" kern="1200" dirty="0" smtClean="0">
                <a:solidFill>
                  <a:srgbClr val="6F777C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14604">
              <a:lnSpc>
                <a:spcPct val="101000"/>
              </a:lnSpc>
              <a:spcBef>
                <a:spcPts val="1620"/>
              </a:spcBef>
            </a:pPr>
            <a:endParaRPr lang="pt-BR" sz="2442" dirty="0">
              <a:latin typeface="Calibri"/>
              <a:cs typeface="Calibri"/>
            </a:endParaRPr>
          </a:p>
        </p:txBody>
      </p:sp>
      <p:sp>
        <p:nvSpPr>
          <p:cNvPr id="9" name="Espaço Reservado para Conteúdo 2">
            <a:extLst>
              <a:ext uri="{FF2B5EF4-FFF2-40B4-BE49-F238E27FC236}">
                <a16:creationId xmlns:a16="http://schemas.microsoft.com/office/drawing/2014/main" id="{1337AE2D-5C24-4F45-94EF-1A086119E64F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1289052" y="3076292"/>
            <a:ext cx="9753598" cy="6388383"/>
          </a:xfrm>
          <a:prstGeom prst="rect">
            <a:avLst/>
          </a:prstGeom>
        </p:spPr>
        <p:txBody>
          <a:bodyPr/>
          <a:lstStyle>
            <a:lvl1pPr>
              <a:spcBef>
                <a:spcPts val="998"/>
              </a:spcBef>
              <a:spcAft>
                <a:spcPts val="0"/>
              </a:spcAft>
              <a:defRPr lang="pt-BR" sz="2940" b="0" i="0" dirty="0" smtClean="0">
                <a:solidFill>
                  <a:srgbClr val="3F3F3F"/>
                </a:solidFill>
                <a:latin typeface="Calibri"/>
                <a:ea typeface="+mj-ea"/>
                <a:cs typeface="Calibri"/>
              </a:defRPr>
            </a:lvl1pPr>
            <a:lvl2pPr>
              <a:defRPr sz="2790">
                <a:solidFill>
                  <a:schemeClr val="tx1"/>
                </a:solidFill>
              </a:defRPr>
            </a:lvl2pPr>
            <a:lvl3pPr>
              <a:defRPr sz="2790">
                <a:solidFill>
                  <a:schemeClr val="tx1"/>
                </a:solidFill>
              </a:defRPr>
            </a:lvl3pPr>
            <a:lvl4pPr>
              <a:defRPr sz="2790">
                <a:solidFill>
                  <a:schemeClr val="tx1"/>
                </a:solidFill>
              </a:defRPr>
            </a:lvl4pPr>
            <a:lvl5pPr>
              <a:defRPr sz="2790">
                <a:solidFill>
                  <a:schemeClr val="tx1"/>
                </a:solidFill>
              </a:defRPr>
            </a:lvl5pPr>
          </a:lstStyle>
          <a:p>
            <a:pPr lvl="0"/>
            <a:r>
              <a:rPr lang="pt-BR" dirty="0"/>
              <a:t>Clique no ícone para adicionar um conteúdo qualquer</a:t>
            </a:r>
          </a:p>
        </p:txBody>
      </p:sp>
      <p:sp>
        <p:nvSpPr>
          <p:cNvPr id="8" name="Título 13">
            <a:extLst>
              <a:ext uri="{FF2B5EF4-FFF2-40B4-BE49-F238E27FC236}">
                <a16:creationId xmlns:a16="http://schemas.microsoft.com/office/drawing/2014/main" id="{99DEE669-BCEC-43A1-BD32-0170DD07A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9052" y="1369335"/>
            <a:ext cx="9753598" cy="1542142"/>
          </a:xfrm>
        </p:spPr>
        <p:txBody>
          <a:bodyPr/>
          <a:lstStyle>
            <a:lvl1pPr>
              <a:defRPr lang="pt-BR" sz="6580" b="1" i="0" u="none" cap="none" spc="-74" baseline="0" dirty="0" smtClean="0">
                <a:solidFill>
                  <a:schemeClr val="accent2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659" marR="2395186" lvl="0">
              <a:lnSpc>
                <a:spcPct val="85000"/>
              </a:lnSpc>
              <a:spcBef>
                <a:spcPts val="2231"/>
              </a:spcBef>
            </a:pPr>
            <a:r>
              <a:rPr lang="pt-BR" dirty="0"/>
              <a:t>Clique para editar o título Mestre</a:t>
            </a:r>
          </a:p>
        </p:txBody>
      </p:sp>
      <p:sp>
        <p:nvSpPr>
          <p:cNvPr id="2" name="Espaço Reservado para Rodapé 1">
            <a:extLst>
              <a:ext uri="{FF2B5EF4-FFF2-40B4-BE49-F238E27FC236}">
                <a16:creationId xmlns:a16="http://schemas.microsoft.com/office/drawing/2014/main" id="{34F6181C-4DD3-447E-BF97-A76B76E4477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77450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o Ape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Texto 13">
            <a:extLst>
              <a:ext uri="{FF2B5EF4-FFF2-40B4-BE49-F238E27FC236}">
                <a16:creationId xmlns:a16="http://schemas.microsoft.com/office/drawing/2014/main" id="{73E03B2C-CE4D-4C00-8C47-408BD49D4F9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289050" y="2765534"/>
            <a:ext cx="12573001" cy="662294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399"/>
              </a:spcBef>
              <a:defRPr lang="pt-BR" sz="2800" b="0" i="0" dirty="0" smtClean="0">
                <a:solidFill>
                  <a:srgbClr val="3F3F3F"/>
                </a:solidFill>
                <a:latin typeface="Calibri"/>
                <a:ea typeface="+mj-ea"/>
                <a:cs typeface="Calibri"/>
              </a:defRPr>
            </a:lvl1pPr>
          </a:lstStyle>
          <a:p>
            <a:pPr lvl="0"/>
            <a:endParaRPr lang="pt-BR" dirty="0"/>
          </a:p>
        </p:txBody>
      </p:sp>
      <p:sp>
        <p:nvSpPr>
          <p:cNvPr id="15" name="Título 13">
            <a:extLst>
              <a:ext uri="{FF2B5EF4-FFF2-40B4-BE49-F238E27FC236}">
                <a16:creationId xmlns:a16="http://schemas.microsoft.com/office/drawing/2014/main" id="{13338A2B-24E7-408C-B999-8873E4203D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9051" y="1369335"/>
            <a:ext cx="12595576" cy="1542142"/>
          </a:xfrm>
        </p:spPr>
        <p:txBody>
          <a:bodyPr/>
          <a:lstStyle>
            <a:lvl1pPr>
              <a:defRPr lang="pt-BR" sz="6599" b="1" i="0" u="none" cap="none" spc="-74" baseline="0" dirty="0" smtClean="0">
                <a:solidFill>
                  <a:schemeClr val="accent2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699" marR="2402616" lvl="0">
              <a:lnSpc>
                <a:spcPct val="85000"/>
              </a:lnSpc>
              <a:spcBef>
                <a:spcPts val="2239"/>
              </a:spcBef>
            </a:pPr>
            <a:r>
              <a:rPr lang="pt-BR" dirty="0"/>
              <a:t>Clique para editar o título Mestre</a:t>
            </a:r>
          </a:p>
        </p:txBody>
      </p:sp>
      <p:sp>
        <p:nvSpPr>
          <p:cNvPr id="2" name="Espaço Reservado para Rodapé 1">
            <a:extLst>
              <a:ext uri="{FF2B5EF4-FFF2-40B4-BE49-F238E27FC236}">
                <a16:creationId xmlns:a16="http://schemas.microsoft.com/office/drawing/2014/main" id="{8A9260AE-39BE-4BFF-ADC7-98B37869F2E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8713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847460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ertur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água, navio, céu, ao ar livre&#10;&#10;Descrição gerada automaticamente">
            <a:extLst>
              <a:ext uri="{FF2B5EF4-FFF2-40B4-BE49-F238E27FC236}">
                <a16:creationId xmlns:a16="http://schemas.microsoft.com/office/drawing/2014/main" id="{775E8919-C5B0-43F3-8101-8BA50DCBC5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8"/>
            <a:ext cx="20104100" cy="11308557"/>
          </a:xfrm>
          <a:prstGeom prst="rect">
            <a:avLst/>
          </a:prstGeom>
        </p:spPr>
      </p:pic>
      <p:sp>
        <p:nvSpPr>
          <p:cNvPr id="5" name="object 4">
            <a:extLst>
              <a:ext uri="{FF2B5EF4-FFF2-40B4-BE49-F238E27FC236}">
                <a16:creationId xmlns:a16="http://schemas.microsoft.com/office/drawing/2014/main" id="{2451A4D8-F287-4093-9F05-30E661B6698C}"/>
              </a:ext>
            </a:extLst>
          </p:cNvPr>
          <p:cNvSpPr/>
          <p:nvPr userDrawn="1"/>
        </p:nvSpPr>
        <p:spPr>
          <a:xfrm>
            <a:off x="1" y="4505341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1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F25FA034-F50A-4D2E-9CD0-4305F77094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1" y="7407275"/>
            <a:ext cx="3803651" cy="3901678"/>
          </a:xfrm>
          <a:prstGeom prst="rect">
            <a:avLst/>
          </a:prstGeom>
        </p:spPr>
      </p:pic>
      <p:sp>
        <p:nvSpPr>
          <p:cNvPr id="10" name="Título 2">
            <a:extLst>
              <a:ext uri="{FF2B5EF4-FFF2-40B4-BE49-F238E27FC236}">
                <a16:creationId xmlns:a16="http://schemas.microsoft.com/office/drawing/2014/main" id="{5B249C66-D68B-41B5-8757-5C4D47B64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9"/>
            <a:ext cx="10612742" cy="2185986"/>
          </a:xfrm>
        </p:spPr>
        <p:txBody>
          <a:bodyPr/>
          <a:lstStyle>
            <a:lvl1pPr>
              <a:lnSpc>
                <a:spcPct val="77000"/>
              </a:lnSpc>
              <a:defRPr sz="106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  <p:sp>
        <p:nvSpPr>
          <p:cNvPr id="17" name="Espaço Reservado para Texto 10">
            <a:extLst>
              <a:ext uri="{FF2B5EF4-FFF2-40B4-BE49-F238E27FC236}">
                <a16:creationId xmlns:a16="http://schemas.microsoft.com/office/drawing/2014/main" id="{C8DFEAF4-01C8-466D-A6D8-4D543A9329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3"/>
            <a:ext cx="10612742" cy="1502976"/>
          </a:xfrm>
          <a:prstGeom prst="rect">
            <a:avLst/>
          </a:prstGeom>
        </p:spPr>
        <p:txBody>
          <a:bodyPr>
            <a:spAutoFit/>
          </a:bodyPr>
          <a:lstStyle>
            <a:lvl1pPr marL="20942" marR="0" indent="0" algn="l" defTabSz="914357" rtl="0" eaLnBrk="1" fontAlgn="auto" latinLnBrk="0" hangingPunct="1">
              <a:lnSpc>
                <a:spcPts val="9111"/>
              </a:lnSpc>
              <a:spcBef>
                <a:spcPts val="157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</p:spTree>
    <p:extLst>
      <p:ext uri="{BB962C8B-B14F-4D97-AF65-F5344CB8AC3E}">
        <p14:creationId xmlns:p14="http://schemas.microsoft.com/office/powerpoint/2010/main" val="26332198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ertur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ntendo ao ar livre, navio, água, céu&#10;&#10;Descrição gerada automaticamente">
            <a:extLst>
              <a:ext uri="{FF2B5EF4-FFF2-40B4-BE49-F238E27FC236}">
                <a16:creationId xmlns:a16="http://schemas.microsoft.com/office/drawing/2014/main" id="{D91D8CBD-8A90-4241-BE36-2829A9B35D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8"/>
            <a:ext cx="20104100" cy="11308557"/>
          </a:xfrm>
          <a:prstGeom prst="rect">
            <a:avLst/>
          </a:prstGeom>
        </p:spPr>
      </p:pic>
      <p:sp>
        <p:nvSpPr>
          <p:cNvPr id="5" name="object 4">
            <a:extLst>
              <a:ext uri="{FF2B5EF4-FFF2-40B4-BE49-F238E27FC236}">
                <a16:creationId xmlns:a16="http://schemas.microsoft.com/office/drawing/2014/main" id="{DBEAD5EF-68D5-4347-AEA6-30BBD1742CC9}"/>
              </a:ext>
            </a:extLst>
          </p:cNvPr>
          <p:cNvSpPr/>
          <p:nvPr userDrawn="1"/>
        </p:nvSpPr>
        <p:spPr>
          <a:xfrm>
            <a:off x="1" y="4505341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1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305F8B04-89B9-4634-8BCA-0065466DAD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1" y="7407275"/>
            <a:ext cx="3803651" cy="3901678"/>
          </a:xfrm>
          <a:prstGeom prst="rect">
            <a:avLst/>
          </a:prstGeom>
        </p:spPr>
      </p:pic>
      <p:sp>
        <p:nvSpPr>
          <p:cNvPr id="7" name="Espaço Reservado para Texto 10">
            <a:extLst>
              <a:ext uri="{FF2B5EF4-FFF2-40B4-BE49-F238E27FC236}">
                <a16:creationId xmlns:a16="http://schemas.microsoft.com/office/drawing/2014/main" id="{889F8319-19EE-4D1F-B334-56CB61602A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2"/>
            <a:ext cx="10612742" cy="705321"/>
          </a:xfrm>
          <a:prstGeom prst="rect">
            <a:avLst/>
          </a:prstGeom>
        </p:spPr>
        <p:txBody>
          <a:bodyPr/>
          <a:lstStyle>
            <a:lvl1pPr marL="20942" marR="0" indent="0" algn="l" defTabSz="914357" rtl="0" eaLnBrk="1" fontAlgn="auto" latinLnBrk="0" hangingPunct="1">
              <a:lnSpc>
                <a:spcPts val="9111"/>
              </a:lnSpc>
              <a:spcBef>
                <a:spcPts val="157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0" name="Título 2">
            <a:extLst>
              <a:ext uri="{FF2B5EF4-FFF2-40B4-BE49-F238E27FC236}">
                <a16:creationId xmlns:a16="http://schemas.microsoft.com/office/drawing/2014/main" id="{9F887237-013C-4515-BD4D-3306A8719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9"/>
            <a:ext cx="10612742" cy="2185986"/>
          </a:xfrm>
        </p:spPr>
        <p:txBody>
          <a:bodyPr/>
          <a:lstStyle>
            <a:lvl1pPr>
              <a:lnSpc>
                <a:spcPct val="77000"/>
              </a:lnSpc>
              <a:defRPr sz="106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955922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ção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CC4CF460-A26E-4D0A-88DC-5728C3D5DA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8"/>
            <a:ext cx="20104100" cy="11308557"/>
          </a:xfrm>
          <a:prstGeom prst="rect">
            <a:avLst/>
          </a:prstGeom>
        </p:spPr>
      </p:pic>
      <p:sp>
        <p:nvSpPr>
          <p:cNvPr id="3" name="object 3">
            <a:extLst>
              <a:ext uri="{FF2B5EF4-FFF2-40B4-BE49-F238E27FC236}">
                <a16:creationId xmlns:a16="http://schemas.microsoft.com/office/drawing/2014/main" id="{1A2375F0-D374-4F7F-AAF4-67AFBD1BBA5C}"/>
              </a:ext>
            </a:extLst>
          </p:cNvPr>
          <p:cNvSpPr/>
          <p:nvPr userDrawn="1"/>
        </p:nvSpPr>
        <p:spPr>
          <a:xfrm>
            <a:off x="1" y="4505341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1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1EE6A4D6-4A92-450F-BEE2-028B9496D2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1" y="7407275"/>
            <a:ext cx="3803651" cy="3901678"/>
          </a:xfrm>
          <a:prstGeom prst="rect">
            <a:avLst/>
          </a:prstGeom>
        </p:spPr>
      </p:pic>
      <p:sp>
        <p:nvSpPr>
          <p:cNvPr id="13" name="Espaço Reservado para Texto 10">
            <a:extLst>
              <a:ext uri="{FF2B5EF4-FFF2-40B4-BE49-F238E27FC236}">
                <a16:creationId xmlns:a16="http://schemas.microsoft.com/office/drawing/2014/main" id="{2DF0DB94-75B2-4060-AF97-42938DB7A9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2"/>
            <a:ext cx="10612742" cy="705321"/>
          </a:xfrm>
          <a:prstGeom prst="rect">
            <a:avLst/>
          </a:prstGeom>
        </p:spPr>
        <p:txBody>
          <a:bodyPr/>
          <a:lstStyle>
            <a:lvl1pPr marL="20942" marR="0" indent="0" algn="l" defTabSz="914357" rtl="0" eaLnBrk="1" fontAlgn="auto" latinLnBrk="0" hangingPunct="1">
              <a:lnSpc>
                <a:spcPts val="9111"/>
              </a:lnSpc>
              <a:spcBef>
                <a:spcPts val="157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4" name="Título 2">
            <a:extLst>
              <a:ext uri="{FF2B5EF4-FFF2-40B4-BE49-F238E27FC236}">
                <a16:creationId xmlns:a16="http://schemas.microsoft.com/office/drawing/2014/main" id="{A961BCBE-3AD6-4C8D-AC64-6944E771E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9"/>
            <a:ext cx="10612742" cy="2185986"/>
          </a:xfrm>
        </p:spPr>
        <p:txBody>
          <a:bodyPr/>
          <a:lstStyle>
            <a:lvl1pPr>
              <a:lnSpc>
                <a:spcPct val="77000"/>
              </a:lnSpc>
              <a:defRPr sz="8799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702466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2C122274-7D09-4E1B-905F-D532877F72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7" name="object 3">
            <a:extLst>
              <a:ext uri="{FF2B5EF4-FFF2-40B4-BE49-F238E27FC236}">
                <a16:creationId xmlns:a16="http://schemas.microsoft.com/office/drawing/2014/main" id="{E3A9982C-D26E-43D8-B4CB-223B2E5FDFC6}"/>
              </a:ext>
            </a:extLst>
          </p:cNvPr>
          <p:cNvSpPr/>
          <p:nvPr userDrawn="1"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11F8CD2-65D4-45FC-9DE3-36D290AA18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E160B763-6499-4DD0-BDCD-21B483D0A7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612743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3" name="Título 2">
            <a:extLst>
              <a:ext uri="{FF2B5EF4-FFF2-40B4-BE49-F238E27FC236}">
                <a16:creationId xmlns:a16="http://schemas.microsoft.com/office/drawing/2014/main" id="{F0158AAA-8AF6-4995-B0C4-CDA2F49FF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612742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6585892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ção 1 Sem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CC4CF460-A26E-4D0A-88DC-5728C3D5DA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8"/>
            <a:ext cx="20104100" cy="11308557"/>
          </a:xfrm>
          <a:prstGeom prst="rect">
            <a:avLst/>
          </a:prstGeom>
        </p:spPr>
      </p:pic>
      <p:sp>
        <p:nvSpPr>
          <p:cNvPr id="13" name="Espaço Reservado para Texto 10">
            <a:extLst>
              <a:ext uri="{FF2B5EF4-FFF2-40B4-BE49-F238E27FC236}">
                <a16:creationId xmlns:a16="http://schemas.microsoft.com/office/drawing/2014/main" id="{2DF0DB94-75B2-4060-AF97-42938DB7A9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2"/>
            <a:ext cx="10612742" cy="705321"/>
          </a:xfrm>
          <a:prstGeom prst="rect">
            <a:avLst/>
          </a:prstGeom>
        </p:spPr>
        <p:txBody>
          <a:bodyPr/>
          <a:lstStyle>
            <a:lvl1pPr marL="20942" marR="0" indent="0" algn="l" defTabSz="914357" rtl="0" eaLnBrk="1" fontAlgn="auto" latinLnBrk="0" hangingPunct="1">
              <a:lnSpc>
                <a:spcPts val="9111"/>
              </a:lnSpc>
              <a:spcBef>
                <a:spcPts val="157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4" name="Título 2">
            <a:extLst>
              <a:ext uri="{FF2B5EF4-FFF2-40B4-BE49-F238E27FC236}">
                <a16:creationId xmlns:a16="http://schemas.microsoft.com/office/drawing/2014/main" id="{A961BCBE-3AD6-4C8D-AC64-6944E771E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9"/>
            <a:ext cx="10612742" cy="2185986"/>
          </a:xfrm>
        </p:spPr>
        <p:txBody>
          <a:bodyPr/>
          <a:lstStyle>
            <a:lvl1pPr>
              <a:lnSpc>
                <a:spcPct val="77000"/>
              </a:lnSpc>
              <a:defRPr sz="8799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9056089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EDB9265A-052B-4398-9F1B-F0F8DF6A14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8"/>
            <a:ext cx="20104100" cy="11308557"/>
          </a:xfrm>
          <a:prstGeom prst="rect">
            <a:avLst/>
          </a:prstGeom>
        </p:spPr>
      </p:pic>
      <p:sp>
        <p:nvSpPr>
          <p:cNvPr id="7" name="object 3">
            <a:extLst>
              <a:ext uri="{FF2B5EF4-FFF2-40B4-BE49-F238E27FC236}">
                <a16:creationId xmlns:a16="http://schemas.microsoft.com/office/drawing/2014/main" id="{43E4A770-279C-4FF8-AAF6-6BC68AF579A7}"/>
              </a:ext>
            </a:extLst>
          </p:cNvPr>
          <p:cNvSpPr/>
          <p:nvPr userDrawn="1"/>
        </p:nvSpPr>
        <p:spPr>
          <a:xfrm>
            <a:off x="1" y="4505341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1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71E15E14-25D2-4147-B17B-E83B045846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1" y="7407275"/>
            <a:ext cx="3803651" cy="3901678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C51FEB5A-735D-4F48-8836-9980D550FA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2"/>
            <a:ext cx="10612742" cy="705321"/>
          </a:xfrm>
          <a:prstGeom prst="rect">
            <a:avLst/>
          </a:prstGeom>
        </p:spPr>
        <p:txBody>
          <a:bodyPr/>
          <a:lstStyle>
            <a:lvl1pPr marL="20942" marR="0" indent="0" algn="l" defTabSz="914357" rtl="0" eaLnBrk="1" fontAlgn="auto" latinLnBrk="0" hangingPunct="1">
              <a:lnSpc>
                <a:spcPts val="9111"/>
              </a:lnSpc>
              <a:spcBef>
                <a:spcPts val="157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5DA0E63C-83B8-4B8A-B88D-48B43294C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9"/>
            <a:ext cx="10612742" cy="2185986"/>
          </a:xfrm>
        </p:spPr>
        <p:txBody>
          <a:bodyPr/>
          <a:lstStyle>
            <a:lvl1pPr>
              <a:lnSpc>
                <a:spcPct val="77000"/>
              </a:lnSpc>
              <a:defRPr sz="8799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6525814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2 Sem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EDB9265A-052B-4398-9F1B-F0F8DF6A14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8"/>
            <a:ext cx="20104100" cy="11308557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C51FEB5A-735D-4F48-8836-9980D550FA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2"/>
            <a:ext cx="10612742" cy="705321"/>
          </a:xfrm>
          <a:prstGeom prst="rect">
            <a:avLst/>
          </a:prstGeom>
        </p:spPr>
        <p:txBody>
          <a:bodyPr/>
          <a:lstStyle>
            <a:lvl1pPr marL="20942" marR="0" indent="0" algn="l" defTabSz="914357" rtl="0" eaLnBrk="1" fontAlgn="auto" latinLnBrk="0" hangingPunct="1">
              <a:lnSpc>
                <a:spcPts val="9111"/>
              </a:lnSpc>
              <a:spcBef>
                <a:spcPts val="157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8" name="Título 2">
            <a:extLst>
              <a:ext uri="{FF2B5EF4-FFF2-40B4-BE49-F238E27FC236}">
                <a16:creationId xmlns:a16="http://schemas.microsoft.com/office/drawing/2014/main" id="{5DA0E63C-83B8-4B8A-B88D-48B43294C0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9"/>
            <a:ext cx="10612742" cy="2185986"/>
          </a:xfrm>
        </p:spPr>
        <p:txBody>
          <a:bodyPr/>
          <a:lstStyle>
            <a:lvl1pPr>
              <a:lnSpc>
                <a:spcPct val="77000"/>
              </a:lnSpc>
              <a:defRPr sz="8799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099525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2C122274-7D09-4E1B-905F-D532877F72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8"/>
            <a:ext cx="20104100" cy="11308557"/>
          </a:xfrm>
          <a:prstGeom prst="rect">
            <a:avLst/>
          </a:prstGeom>
        </p:spPr>
      </p:pic>
      <p:sp>
        <p:nvSpPr>
          <p:cNvPr id="7" name="object 3">
            <a:extLst>
              <a:ext uri="{FF2B5EF4-FFF2-40B4-BE49-F238E27FC236}">
                <a16:creationId xmlns:a16="http://schemas.microsoft.com/office/drawing/2014/main" id="{E3A9982C-D26E-43D8-B4CB-223B2E5FDFC6}"/>
              </a:ext>
            </a:extLst>
          </p:cNvPr>
          <p:cNvSpPr/>
          <p:nvPr userDrawn="1"/>
        </p:nvSpPr>
        <p:spPr>
          <a:xfrm>
            <a:off x="1" y="4505341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1"/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11F8CD2-65D4-45FC-9DE3-36D290AA18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1" y="7407275"/>
            <a:ext cx="3803651" cy="3901678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E160B763-6499-4DD0-BDCD-21B483D0A7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9" y="6347852"/>
            <a:ext cx="10612744" cy="705321"/>
          </a:xfrm>
          <a:prstGeom prst="rect">
            <a:avLst/>
          </a:prstGeom>
        </p:spPr>
        <p:txBody>
          <a:bodyPr/>
          <a:lstStyle>
            <a:lvl1pPr marL="20942" marR="0" indent="0" algn="l" defTabSz="914357" rtl="0" eaLnBrk="1" fontAlgn="auto" latinLnBrk="0" hangingPunct="1">
              <a:lnSpc>
                <a:spcPts val="9111"/>
              </a:lnSpc>
              <a:spcBef>
                <a:spcPts val="157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3" name="Título 2">
            <a:extLst>
              <a:ext uri="{FF2B5EF4-FFF2-40B4-BE49-F238E27FC236}">
                <a16:creationId xmlns:a16="http://schemas.microsoft.com/office/drawing/2014/main" id="{F0158AAA-8AF6-4995-B0C4-CDA2F49FF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9"/>
            <a:ext cx="10612742" cy="2185986"/>
          </a:xfrm>
        </p:spPr>
        <p:txBody>
          <a:bodyPr/>
          <a:lstStyle>
            <a:lvl1pPr>
              <a:lnSpc>
                <a:spcPct val="77000"/>
              </a:lnSpc>
              <a:defRPr sz="8799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5028809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3 Sem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2C122274-7D09-4E1B-905F-D532877F72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8"/>
            <a:ext cx="20104100" cy="11308557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E160B763-6499-4DD0-BDCD-21B483D0A7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2"/>
            <a:ext cx="10130155" cy="705321"/>
          </a:xfrm>
          <a:prstGeom prst="rect">
            <a:avLst/>
          </a:prstGeom>
        </p:spPr>
        <p:txBody>
          <a:bodyPr/>
          <a:lstStyle>
            <a:lvl1pPr marL="20942" marR="0" indent="0" algn="l" defTabSz="914357" rtl="0" eaLnBrk="1" fontAlgn="auto" latinLnBrk="0" hangingPunct="1">
              <a:lnSpc>
                <a:spcPts val="9111"/>
              </a:lnSpc>
              <a:spcBef>
                <a:spcPts val="157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3" name="Título 2">
            <a:extLst>
              <a:ext uri="{FF2B5EF4-FFF2-40B4-BE49-F238E27FC236}">
                <a16:creationId xmlns:a16="http://schemas.microsoft.com/office/drawing/2014/main" id="{F0158AAA-8AF6-4995-B0C4-CDA2F49FF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9"/>
            <a:ext cx="10130155" cy="2185986"/>
          </a:xfrm>
        </p:spPr>
        <p:txBody>
          <a:bodyPr/>
          <a:lstStyle>
            <a:lvl1pPr>
              <a:lnSpc>
                <a:spcPct val="77000"/>
              </a:lnSpc>
              <a:defRPr sz="8799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0887253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685018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CEC4F5-3A6C-4E25-B4BB-AFAE387BEF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55B560C-9635-4A7E-A56E-5704E248DC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F5F251D-E0D0-4D2F-83B1-33770791EC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8D559E-1CA7-40E5-B50A-EEB22924883C}" type="datetime1">
              <a:rPr lang="pt-BR" smtClean="0"/>
              <a:t>21/03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84AC78D-3757-4635-9C55-291C8BCA05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DE2F012-5DAF-4739-A98B-37594C9FD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7550DE-F5B3-466C-B9F4-C2625062F96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6765637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01998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ção 3 Sem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2C122274-7D09-4E1B-905F-D532877F72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6"/>
            <a:ext cx="20104100" cy="11308557"/>
          </a:xfrm>
          <a:prstGeom prst="rect">
            <a:avLst/>
          </a:prstGeom>
        </p:spPr>
      </p:pic>
      <p:sp>
        <p:nvSpPr>
          <p:cNvPr id="12" name="Espaço Reservado para Texto 10">
            <a:extLst>
              <a:ext uri="{FF2B5EF4-FFF2-40B4-BE49-F238E27FC236}">
                <a16:creationId xmlns:a16="http://schemas.microsoft.com/office/drawing/2014/main" id="{E160B763-6499-4DD0-BDCD-21B483D0A7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02308" y="6347851"/>
            <a:ext cx="10130155" cy="705321"/>
          </a:xfrm>
          <a:prstGeom prst="rect">
            <a:avLst/>
          </a:prstGeom>
        </p:spPr>
        <p:txBody>
          <a:bodyPr/>
          <a:lstStyle>
            <a:lvl1pPr marL="12700" marR="0" indent="0" algn="l" defTabSz="914400" rtl="0" eaLnBrk="1" fontAlgn="auto" latinLnBrk="0" hangingPunct="1">
              <a:lnSpc>
                <a:spcPct val="9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it-IT" sz="3600" b="0" kern="1200" cap="all" spc="0" baseline="0" dirty="0">
                <a:solidFill>
                  <a:srgbClr val="FFFFFF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>
              <a:lnSpc>
                <a:spcPts val="5525"/>
              </a:lnSpc>
              <a:spcBef>
                <a:spcPts val="95"/>
              </a:spcBef>
            </a:pPr>
            <a:r>
              <a:rPr lang="it-IT" sz="4950" cap="all" baseline="0" dirty="0">
                <a:latin typeface="Calibri"/>
                <a:cs typeface="Calibri"/>
              </a:rPr>
              <a:t>Clique aqui para adicionar um subtítulo</a:t>
            </a:r>
          </a:p>
        </p:txBody>
      </p:sp>
      <p:sp>
        <p:nvSpPr>
          <p:cNvPr id="13" name="Título 2">
            <a:extLst>
              <a:ext uri="{FF2B5EF4-FFF2-40B4-BE49-F238E27FC236}">
                <a16:creationId xmlns:a16="http://schemas.microsoft.com/office/drawing/2014/main" id="{F0158AAA-8AF6-4995-B0C4-CDA2F49FF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02308" y="4053458"/>
            <a:ext cx="10130154" cy="2185987"/>
          </a:xfrm>
        </p:spPr>
        <p:txBody>
          <a:bodyPr/>
          <a:lstStyle>
            <a:lvl1pPr>
              <a:lnSpc>
                <a:spcPct val="77000"/>
              </a:lnSpc>
              <a:defRPr sz="8800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243068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a Especi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ço Reservado para Texto 13">
            <a:extLst>
              <a:ext uri="{FF2B5EF4-FFF2-40B4-BE49-F238E27FC236}">
                <a16:creationId xmlns:a16="http://schemas.microsoft.com/office/drawing/2014/main" id="{7FE51409-1507-4096-AB46-7DE6DA9822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57030" y="3825426"/>
            <a:ext cx="4922837" cy="481094"/>
          </a:xfrm>
          <a:prstGeom prst="rect">
            <a:avLst/>
          </a:prstGeom>
        </p:spPr>
        <p:txBody>
          <a:bodyPr/>
          <a:lstStyle>
            <a:lvl1pPr marL="12700" marR="168910" indent="0" algn="l" defTabSz="914400" rtl="0" eaLnBrk="1" fontAlgn="auto" latinLnBrk="0" hangingPunct="1">
              <a:lnSpc>
                <a:spcPts val="3710"/>
              </a:lnSpc>
              <a:spcBef>
                <a:spcPts val="84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3700" b="1" kern="1200" spc="-65" dirty="0" smtClean="0">
                <a:solidFill>
                  <a:schemeClr val="accent2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168910" lvl="0" indent="0" algn="l" defTabSz="914400" rtl="0" eaLnBrk="1" fontAlgn="auto" latinLnBrk="0" hangingPunct="1">
              <a:lnSpc>
                <a:spcPts val="3710"/>
              </a:lnSpc>
              <a:spcBef>
                <a:spcPts val="8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4000" dirty="0">
                <a:latin typeface="Calibri"/>
                <a:cs typeface="Calibri"/>
              </a:rPr>
              <a:t>Clique para adicionar um título</a:t>
            </a:r>
          </a:p>
        </p:txBody>
      </p:sp>
      <p:sp>
        <p:nvSpPr>
          <p:cNvPr id="18" name="Espaço Reservado para Texto 15">
            <a:extLst>
              <a:ext uri="{FF2B5EF4-FFF2-40B4-BE49-F238E27FC236}">
                <a16:creationId xmlns:a16="http://schemas.microsoft.com/office/drawing/2014/main" id="{444A1737-B1F8-49CB-A39D-E0A22ECEE53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89050" y="4968875"/>
            <a:ext cx="4890816" cy="4495800"/>
          </a:xfrm>
          <a:prstGeom prst="rect">
            <a:avLst/>
          </a:prstGeom>
        </p:spPr>
        <p:txBody>
          <a:bodyPr/>
          <a:lstStyle>
            <a:lvl1pPr marL="12700" marR="243204" algn="l" defTabSz="914400" rtl="0" eaLnBrk="1" latinLnBrk="0" hangingPunct="1">
              <a:lnSpc>
                <a:spcPts val="2970"/>
              </a:lnSpc>
              <a:spcBef>
                <a:spcPts val="105"/>
              </a:spcBef>
              <a:defRPr lang="pt-BR" sz="2450" b="0" kern="1200" dirty="0">
                <a:solidFill>
                  <a:srgbClr val="6F777C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5080">
              <a:lnSpc>
                <a:spcPct val="101000"/>
              </a:lnSpc>
              <a:spcBef>
                <a:spcPts val="1465"/>
              </a:spcBef>
            </a:pPr>
            <a:endParaRPr lang="pt-BR" sz="2450" dirty="0">
              <a:latin typeface="Calibri"/>
              <a:cs typeface="Calibri"/>
            </a:endParaRPr>
          </a:p>
        </p:txBody>
      </p:sp>
      <p:sp>
        <p:nvSpPr>
          <p:cNvPr id="23" name="Espaço Reservado para Texto 13">
            <a:extLst>
              <a:ext uri="{FF2B5EF4-FFF2-40B4-BE49-F238E27FC236}">
                <a16:creationId xmlns:a16="http://schemas.microsoft.com/office/drawing/2014/main" id="{6A5F858A-7F30-47D7-A5D6-262FB2F4F1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59539" y="3825426"/>
            <a:ext cx="4922837" cy="481094"/>
          </a:xfrm>
          <a:prstGeom prst="rect">
            <a:avLst/>
          </a:prstGeom>
        </p:spPr>
        <p:txBody>
          <a:bodyPr/>
          <a:lstStyle>
            <a:lvl1pPr marL="12700" marR="168910" indent="0" algn="l" defTabSz="914400" rtl="0" eaLnBrk="1" fontAlgn="auto" latinLnBrk="0" hangingPunct="1">
              <a:lnSpc>
                <a:spcPts val="3710"/>
              </a:lnSpc>
              <a:spcBef>
                <a:spcPts val="84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3700" b="1" kern="1200" spc="-65" dirty="0" smtClean="0">
                <a:solidFill>
                  <a:schemeClr val="accent2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168910" lvl="0" indent="0" algn="l" defTabSz="914400" rtl="0" eaLnBrk="1" fontAlgn="auto" latinLnBrk="0" hangingPunct="1">
              <a:lnSpc>
                <a:spcPts val="3710"/>
              </a:lnSpc>
              <a:spcBef>
                <a:spcPts val="8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4000" dirty="0">
                <a:latin typeface="Calibri"/>
                <a:cs typeface="Calibri"/>
              </a:rPr>
              <a:t>Clique para adicionar um título</a:t>
            </a:r>
          </a:p>
        </p:txBody>
      </p:sp>
      <p:sp>
        <p:nvSpPr>
          <p:cNvPr id="24" name="Espaço Reservado para Texto 15">
            <a:extLst>
              <a:ext uri="{FF2B5EF4-FFF2-40B4-BE49-F238E27FC236}">
                <a16:creationId xmlns:a16="http://schemas.microsoft.com/office/drawing/2014/main" id="{9B11B354-A85D-4B8E-8F03-8276941613B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59539" y="4968875"/>
            <a:ext cx="4922837" cy="4495800"/>
          </a:xfrm>
          <a:prstGeom prst="rect">
            <a:avLst/>
          </a:prstGeom>
        </p:spPr>
        <p:txBody>
          <a:bodyPr/>
          <a:lstStyle>
            <a:lvl1pPr marL="12700" marR="513715" algn="l" defTabSz="914400" rtl="0" eaLnBrk="1" latinLnBrk="0" hangingPunct="1">
              <a:lnSpc>
                <a:spcPts val="2970"/>
              </a:lnSpc>
              <a:spcBef>
                <a:spcPts val="105"/>
              </a:spcBef>
              <a:defRPr lang="pt-BR" sz="2450" b="0" kern="1200" dirty="0">
                <a:solidFill>
                  <a:srgbClr val="6F777C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5080">
              <a:lnSpc>
                <a:spcPct val="101000"/>
              </a:lnSpc>
              <a:spcBef>
                <a:spcPts val="1465"/>
              </a:spcBef>
            </a:pPr>
            <a:endParaRPr lang="pt-BR" sz="2450" dirty="0">
              <a:latin typeface="Calibri"/>
              <a:cs typeface="Calibri"/>
            </a:endParaRPr>
          </a:p>
        </p:txBody>
      </p:sp>
      <p:sp>
        <p:nvSpPr>
          <p:cNvPr id="28" name="Espaço Reservado para Texto 13">
            <a:extLst>
              <a:ext uri="{FF2B5EF4-FFF2-40B4-BE49-F238E27FC236}">
                <a16:creationId xmlns:a16="http://schemas.microsoft.com/office/drawing/2014/main" id="{27643088-C48B-4C47-971F-E40102E6045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862050" y="3825426"/>
            <a:ext cx="4922837" cy="481094"/>
          </a:xfrm>
          <a:prstGeom prst="rect">
            <a:avLst/>
          </a:prstGeom>
        </p:spPr>
        <p:txBody>
          <a:bodyPr/>
          <a:lstStyle>
            <a:lvl1pPr marL="12700" marR="168910" indent="0" algn="l" defTabSz="914400" rtl="0" eaLnBrk="1" fontAlgn="auto" latinLnBrk="0" hangingPunct="1">
              <a:lnSpc>
                <a:spcPts val="3710"/>
              </a:lnSpc>
              <a:spcBef>
                <a:spcPts val="84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3700" b="1" kern="1200" spc="-65" dirty="0" smtClean="0">
                <a:solidFill>
                  <a:schemeClr val="accent2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168910" lvl="0" indent="0" algn="l" defTabSz="914400" rtl="0" eaLnBrk="1" fontAlgn="auto" latinLnBrk="0" hangingPunct="1">
              <a:lnSpc>
                <a:spcPts val="3710"/>
              </a:lnSpc>
              <a:spcBef>
                <a:spcPts val="8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4000" dirty="0">
                <a:latin typeface="Calibri"/>
                <a:cs typeface="Calibri"/>
              </a:rPr>
              <a:t>Clique para adicionar um título</a:t>
            </a:r>
          </a:p>
        </p:txBody>
      </p:sp>
      <p:sp>
        <p:nvSpPr>
          <p:cNvPr id="29" name="Espaço Reservado para Texto 15">
            <a:extLst>
              <a:ext uri="{FF2B5EF4-FFF2-40B4-BE49-F238E27FC236}">
                <a16:creationId xmlns:a16="http://schemas.microsoft.com/office/drawing/2014/main" id="{C51BB60F-ECF3-4E40-BBD7-A244837E89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892213" y="4968875"/>
            <a:ext cx="4922837" cy="4495800"/>
          </a:xfrm>
          <a:prstGeom prst="rect">
            <a:avLst/>
          </a:prstGeom>
        </p:spPr>
        <p:txBody>
          <a:bodyPr/>
          <a:lstStyle>
            <a:lvl1pPr marL="12700" marR="10795" algn="l" defTabSz="914400" rtl="0" eaLnBrk="1" latinLnBrk="0" hangingPunct="1">
              <a:lnSpc>
                <a:spcPct val="101000"/>
              </a:lnSpc>
              <a:spcBef>
                <a:spcPts val="1465"/>
              </a:spcBef>
              <a:defRPr lang="pt-BR" sz="2450" b="0" kern="1200" dirty="0">
                <a:solidFill>
                  <a:srgbClr val="6F777C"/>
                </a:solidFill>
                <a:latin typeface="Calibri"/>
                <a:ea typeface="+mn-ea"/>
                <a:cs typeface="Calibri"/>
              </a:defRPr>
            </a:lvl1pPr>
          </a:lstStyle>
          <a:p>
            <a:pPr marL="12700" marR="10795">
              <a:lnSpc>
                <a:spcPct val="101000"/>
              </a:lnSpc>
              <a:spcBef>
                <a:spcPts val="1465"/>
              </a:spcBef>
            </a:pPr>
            <a:endParaRPr lang="pt-BR" sz="2450" dirty="0">
              <a:latin typeface="Calibri"/>
              <a:cs typeface="Calibri"/>
            </a:endParaRPr>
          </a:p>
        </p:txBody>
      </p:sp>
      <p:sp>
        <p:nvSpPr>
          <p:cNvPr id="9" name="Título 13">
            <a:extLst>
              <a:ext uri="{FF2B5EF4-FFF2-40B4-BE49-F238E27FC236}">
                <a16:creationId xmlns:a16="http://schemas.microsoft.com/office/drawing/2014/main" id="{4EEFA6E8-8CBC-4188-BC29-63C12B0734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9050" y="1369334"/>
            <a:ext cx="12573000" cy="1542141"/>
          </a:xfrm>
        </p:spPr>
        <p:txBody>
          <a:bodyPr/>
          <a:lstStyle>
            <a:lvl1pPr>
              <a:defRPr lang="pt-BR" sz="6600" b="1" i="0" u="none" cap="none" spc="-75" baseline="0" dirty="0" smtClean="0">
                <a:solidFill>
                  <a:schemeClr val="accent2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700" marR="2402840" lvl="0">
              <a:lnSpc>
                <a:spcPct val="85000"/>
              </a:lnSpc>
              <a:spcBef>
                <a:spcPts val="2240"/>
              </a:spcBef>
            </a:pPr>
            <a:r>
              <a:rPr lang="pt-BR" dirty="0"/>
              <a:t>Clique para editar o título Mestre</a:t>
            </a:r>
          </a:p>
        </p:txBody>
      </p:sp>
      <p:sp>
        <p:nvSpPr>
          <p:cNvPr id="2" name="Espaço Reservado para Rodapé 1">
            <a:extLst>
              <a:ext uri="{FF2B5EF4-FFF2-40B4-BE49-F238E27FC236}">
                <a16:creationId xmlns:a16="http://schemas.microsoft.com/office/drawing/2014/main" id="{A1015AE4-E157-44D0-A97E-6BB787C4C71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603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4.png"/><Relationship Id="rId18" Type="http://schemas.openxmlformats.org/officeDocument/2006/relationships/image" Target="../media/image9.sv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2.png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.svg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7.svg"/><Relationship Id="rId20" Type="http://schemas.openxmlformats.org/officeDocument/2006/relationships/image" Target="../media/image11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6.png"/><Relationship Id="rId10" Type="http://schemas.openxmlformats.org/officeDocument/2006/relationships/image" Target="../media/image1.png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5.svg"/><Relationship Id="rId22" Type="http://schemas.openxmlformats.org/officeDocument/2006/relationships/image" Target="../media/image13.sv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image" Target="../media/image3.svg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46.xml"/><Relationship Id="rId21" Type="http://schemas.openxmlformats.org/officeDocument/2006/relationships/image" Target="../media/image11.svg"/><Relationship Id="rId7" Type="http://schemas.openxmlformats.org/officeDocument/2006/relationships/slideLayout" Target="../slideLayouts/slideLayout50.xml"/><Relationship Id="rId12" Type="http://schemas.openxmlformats.org/officeDocument/2006/relationships/image" Target="../media/image2.png"/><Relationship Id="rId17" Type="http://schemas.openxmlformats.org/officeDocument/2006/relationships/image" Target="../media/image7.svg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6.png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image" Target="../media/image24.png"/><Relationship Id="rId5" Type="http://schemas.openxmlformats.org/officeDocument/2006/relationships/slideLayout" Target="../slideLayouts/slideLayout48.xml"/><Relationship Id="rId15" Type="http://schemas.openxmlformats.org/officeDocument/2006/relationships/image" Target="../media/image5.svg"/><Relationship Id="rId23" Type="http://schemas.openxmlformats.org/officeDocument/2006/relationships/image" Target="../media/image13.svg"/><Relationship Id="rId10" Type="http://schemas.openxmlformats.org/officeDocument/2006/relationships/theme" Target="../theme/theme10.xml"/><Relationship Id="rId19" Type="http://schemas.openxmlformats.org/officeDocument/2006/relationships/image" Target="../media/image9.svg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image" Target="../media/image4.png"/><Relationship Id="rId22" Type="http://schemas.openxmlformats.org/officeDocument/2006/relationships/image" Target="../media/image12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image" Target="../media/image3.svg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55.xml"/><Relationship Id="rId21" Type="http://schemas.openxmlformats.org/officeDocument/2006/relationships/image" Target="../media/image11.svg"/><Relationship Id="rId7" Type="http://schemas.openxmlformats.org/officeDocument/2006/relationships/slideLayout" Target="../slideLayouts/slideLayout59.xml"/><Relationship Id="rId12" Type="http://schemas.openxmlformats.org/officeDocument/2006/relationships/image" Target="../media/image2.png"/><Relationship Id="rId17" Type="http://schemas.openxmlformats.org/officeDocument/2006/relationships/image" Target="../media/image7.svg"/><Relationship Id="rId2" Type="http://schemas.openxmlformats.org/officeDocument/2006/relationships/slideLayout" Target="../slideLayouts/slideLayout54.xml"/><Relationship Id="rId16" Type="http://schemas.openxmlformats.org/officeDocument/2006/relationships/image" Target="../media/image6.png"/><Relationship Id="rId20" Type="http://schemas.openxmlformats.org/officeDocument/2006/relationships/image" Target="../media/image10.png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7.xml"/><Relationship Id="rId15" Type="http://schemas.openxmlformats.org/officeDocument/2006/relationships/image" Target="../media/image5.svg"/><Relationship Id="rId23" Type="http://schemas.openxmlformats.org/officeDocument/2006/relationships/image" Target="../media/image13.svg"/><Relationship Id="rId10" Type="http://schemas.openxmlformats.org/officeDocument/2006/relationships/theme" Target="../theme/theme11.xml"/><Relationship Id="rId19" Type="http://schemas.openxmlformats.org/officeDocument/2006/relationships/image" Target="../media/image9.svg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image" Target="../media/image4.png"/><Relationship Id="rId22" Type="http://schemas.openxmlformats.org/officeDocument/2006/relationships/image" Target="../media/image1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image" Target="../media/image2.png"/><Relationship Id="rId18" Type="http://schemas.openxmlformats.org/officeDocument/2006/relationships/image" Target="../media/image7.svg"/><Relationship Id="rId3" Type="http://schemas.openxmlformats.org/officeDocument/2006/relationships/slideLayout" Target="../slideLayouts/slideLayout69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73.xml"/><Relationship Id="rId12" Type="http://schemas.openxmlformats.org/officeDocument/2006/relationships/image" Target="../media/image1.png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68.xml"/><Relationship Id="rId16" Type="http://schemas.openxmlformats.org/officeDocument/2006/relationships/image" Target="../media/image5.svg"/><Relationship Id="rId20" Type="http://schemas.openxmlformats.org/officeDocument/2006/relationships/image" Target="../media/image9.svg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theme" Target="../theme/theme13.xml"/><Relationship Id="rId24" Type="http://schemas.openxmlformats.org/officeDocument/2006/relationships/image" Target="../media/image13.svg"/><Relationship Id="rId5" Type="http://schemas.openxmlformats.org/officeDocument/2006/relationships/slideLayout" Target="../slideLayouts/slideLayout71.xml"/><Relationship Id="rId15" Type="http://schemas.openxmlformats.org/officeDocument/2006/relationships/image" Target="../media/image4.png"/><Relationship Id="rId23" Type="http://schemas.openxmlformats.org/officeDocument/2006/relationships/image" Target="../media/image12.png"/><Relationship Id="rId10" Type="http://schemas.openxmlformats.org/officeDocument/2006/relationships/slideLayout" Target="../slideLayouts/slideLayout76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image" Target="../media/image3.svg"/><Relationship Id="rId22" Type="http://schemas.openxmlformats.org/officeDocument/2006/relationships/image" Target="../media/image11.sv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2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13" Type="http://schemas.openxmlformats.org/officeDocument/2006/relationships/image" Target="../media/image8.png"/><Relationship Id="rId18" Type="http://schemas.openxmlformats.org/officeDocument/2006/relationships/image" Target="../media/image13.sv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11.sv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.png"/><Relationship Id="rId11" Type="http://schemas.openxmlformats.org/officeDocument/2006/relationships/image" Target="../media/image6.png"/><Relationship Id="rId5" Type="http://schemas.openxmlformats.org/officeDocument/2006/relationships/theme" Target="../theme/theme2.xml"/><Relationship Id="rId15" Type="http://schemas.openxmlformats.org/officeDocument/2006/relationships/image" Target="../media/image10.png"/><Relationship Id="rId10" Type="http://schemas.openxmlformats.org/officeDocument/2006/relationships/image" Target="../media/image5.sv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.png"/><Relationship Id="rId14" Type="http://schemas.openxmlformats.org/officeDocument/2006/relationships/image" Target="../media/image9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3.sv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.sv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5" Type="http://schemas.openxmlformats.org/officeDocument/2006/relationships/image" Target="../media/image12.png"/><Relationship Id="rId10" Type="http://schemas.openxmlformats.org/officeDocument/2006/relationships/image" Target="../media/image7.svg"/><Relationship Id="rId4" Type="http://schemas.openxmlformats.org/officeDocument/2006/relationships/theme" Target="../theme/theme3.xml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sv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3.svg"/><Relationship Id="rId12" Type="http://schemas.openxmlformats.org/officeDocument/2006/relationships/image" Target="../media/image8.png"/><Relationship Id="rId17" Type="http://schemas.openxmlformats.org/officeDocument/2006/relationships/image" Target="../media/image13.sv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.png"/><Relationship Id="rId11" Type="http://schemas.openxmlformats.org/officeDocument/2006/relationships/image" Target="../media/image7.svg"/><Relationship Id="rId5" Type="http://schemas.openxmlformats.org/officeDocument/2006/relationships/image" Target="../media/image1.png"/><Relationship Id="rId15" Type="http://schemas.openxmlformats.org/officeDocument/2006/relationships/image" Target="../media/image11.svg"/><Relationship Id="rId10" Type="http://schemas.openxmlformats.org/officeDocument/2006/relationships/image" Target="../media/image6.png"/><Relationship Id="rId4" Type="http://schemas.openxmlformats.org/officeDocument/2006/relationships/theme" Target="../theme/theme4.xml"/><Relationship Id="rId9" Type="http://schemas.openxmlformats.org/officeDocument/2006/relationships/image" Target="../media/image5.svg"/><Relationship Id="rId14" Type="http://schemas.openxmlformats.org/officeDocument/2006/relationships/image" Target="../media/image10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1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2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0.png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2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4.png"/><Relationship Id="rId18" Type="http://schemas.openxmlformats.org/officeDocument/2006/relationships/image" Target="../media/image9.svg"/><Relationship Id="rId3" Type="http://schemas.openxmlformats.org/officeDocument/2006/relationships/slideLayout" Target="../slideLayouts/slideLayout27.xml"/><Relationship Id="rId21" Type="http://schemas.openxmlformats.org/officeDocument/2006/relationships/image" Target="../media/image12.png"/><Relationship Id="rId7" Type="http://schemas.openxmlformats.org/officeDocument/2006/relationships/slideLayout" Target="../slideLayouts/slideLayout31.xml"/><Relationship Id="rId12" Type="http://schemas.openxmlformats.org/officeDocument/2006/relationships/image" Target="../media/image3.svg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7.svg"/><Relationship Id="rId20" Type="http://schemas.openxmlformats.org/officeDocument/2006/relationships/image" Target="../media/image11.sv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6.png"/><Relationship Id="rId10" Type="http://schemas.openxmlformats.org/officeDocument/2006/relationships/image" Target="../media/image24.png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8.xml"/><Relationship Id="rId14" Type="http://schemas.openxmlformats.org/officeDocument/2006/relationships/image" Target="../media/image5.svg"/><Relationship Id="rId22" Type="http://schemas.openxmlformats.org/officeDocument/2006/relationships/image" Target="../media/image13.sv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32828C32-D1F2-4A31-980F-62561C4708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068"/>
          <a:stretch/>
        </p:blipFill>
        <p:spPr>
          <a:xfrm>
            <a:off x="0" y="9733059"/>
            <a:ext cx="20104100" cy="1575497"/>
          </a:xfrm>
          <a:prstGeom prst="rect">
            <a:avLst/>
          </a:prstGeom>
        </p:spPr>
      </p:pic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805C3C9-29C5-42B2-B328-10F5F65694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21" y="2987675"/>
            <a:ext cx="13127231" cy="21859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dirty="0"/>
              <a:t>Slides de capa </a:t>
            </a:r>
            <a:br>
              <a:rPr lang="pt-BR" dirty="0"/>
            </a:br>
            <a:r>
              <a:rPr lang="pt-BR" dirty="0"/>
              <a:t>e transição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9F218A14-F91F-4E10-88E5-21E3BDE5FF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05121" y="5655692"/>
            <a:ext cx="13127231" cy="17508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1C612C18-C146-4746-8865-8016F6EC6E2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-1073149" y="601916"/>
            <a:ext cx="720000" cy="687912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7F4E877E-AABB-4849-9718-5B5EF9E3752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-1073149" y="2285976"/>
            <a:ext cx="720000" cy="687912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F4D62D5D-5B13-49C2-9BBF-CAD4E541AFF9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-1073149" y="3128006"/>
            <a:ext cx="720000" cy="687912"/>
          </a:xfrm>
          <a:prstGeom prst="rect">
            <a:avLst/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65ABDF1C-B4BB-4967-9AA2-20F00246189C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-1073149" y="3970036"/>
            <a:ext cx="720000" cy="687912"/>
          </a:xfrm>
          <a:prstGeom prst="rect">
            <a:avLst/>
          </a:prstGeom>
        </p:spPr>
      </p:pic>
      <p:pic>
        <p:nvPicPr>
          <p:cNvPr id="15" name="Gráfico 14">
            <a:extLst>
              <a:ext uri="{FF2B5EF4-FFF2-40B4-BE49-F238E27FC236}">
                <a16:creationId xmlns:a16="http://schemas.microsoft.com/office/drawing/2014/main" id="{8E34F2B1-0AA4-460E-90D3-2A5739BCBFDF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-1073149" y="4812068"/>
            <a:ext cx="720000" cy="687912"/>
          </a:xfrm>
          <a:prstGeom prst="rect">
            <a:avLst/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5BDDCDAD-B122-4CA3-9364-08688C9F3645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-1073149" y="1443946"/>
            <a:ext cx="720000" cy="687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447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96" r:id="rId3"/>
    <p:sldLayoutId id="2147483663" r:id="rId4"/>
    <p:sldLayoutId id="2147483666" r:id="rId5"/>
    <p:sldLayoutId id="2147483697" r:id="rId6"/>
    <p:sldLayoutId id="2147483667" r:id="rId7"/>
    <p:sldLayoutId id="2147483698" r:id="rId8"/>
  </p:sldLayoutIdLst>
  <p:txStyles>
    <p:titleStyle>
      <a:lvl1pPr eaLnBrk="1" hangingPunct="1">
        <a:lnSpc>
          <a:spcPct val="85000"/>
        </a:lnSpc>
        <a:defRPr sz="12350" b="1" i="0" u="none" cap="all" spc="-30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eaLnBrk="1" hangingPunct="1">
        <a:lnSpc>
          <a:spcPct val="100000"/>
        </a:lnSpc>
        <a:spcBef>
          <a:spcPts val="1200"/>
        </a:spcBef>
        <a:defRPr sz="2400" b="1" i="0" u="none">
          <a:latin typeface="+mn-lt"/>
          <a:ea typeface="+mn-ea"/>
          <a:cs typeface="+mn-cs"/>
        </a:defRPr>
      </a:lvl1pPr>
      <a:lvl2pPr marL="457200" eaLnBrk="1" hangingPunct="1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2pPr>
      <a:lvl3pPr marL="914400" eaLnBrk="1" hangingPunct="1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3pPr>
      <a:lvl4pPr marL="1371600" eaLnBrk="1" hangingPunct="1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4pPr>
      <a:lvl5pPr marL="1828800" eaLnBrk="1" hangingPunct="1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12">
          <p15:clr>
            <a:srgbClr val="F26B43"/>
          </p15:clr>
        </p15:guide>
        <p15:guide id="2" pos="11852">
          <p15:clr>
            <a:srgbClr val="F26B43"/>
          </p15:clr>
        </p15:guide>
        <p15:guide id="3" orient="horz" pos="5962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295"/>
          <a:stretch/>
        </p:blipFill>
        <p:spPr>
          <a:xfrm>
            <a:off x="0" y="9759130"/>
            <a:ext cx="20104100" cy="1549821"/>
          </a:xfrm>
          <a:prstGeom prst="rect">
            <a:avLst/>
          </a:prstGeom>
        </p:spPr>
      </p:pic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805C3C9-29C5-42B2-B328-10F5F65694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21" y="2987675"/>
            <a:ext cx="13127231" cy="21859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dirty="0"/>
              <a:t>Slides de capa </a:t>
            </a:r>
            <a:br>
              <a:rPr lang="pt-BR" dirty="0"/>
            </a:br>
            <a:r>
              <a:rPr lang="pt-BR" dirty="0"/>
              <a:t>e transição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9F218A14-F91F-4E10-88E5-21E3BDE5FF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05121" y="5655692"/>
            <a:ext cx="13127231" cy="17508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1C612C18-C146-4746-8865-8016F6EC6E2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1073149" y="601916"/>
            <a:ext cx="720000" cy="687912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7F4E877E-AABB-4849-9718-5B5EF9E3752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-1073149" y="2285976"/>
            <a:ext cx="720000" cy="687912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F4D62D5D-5B13-49C2-9BBF-CAD4E541AFF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-1073149" y="3128006"/>
            <a:ext cx="720000" cy="687912"/>
          </a:xfrm>
          <a:prstGeom prst="rect">
            <a:avLst/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65ABDF1C-B4BB-4967-9AA2-20F00246189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-1073149" y="3970036"/>
            <a:ext cx="720000" cy="687912"/>
          </a:xfrm>
          <a:prstGeom prst="rect">
            <a:avLst/>
          </a:prstGeom>
        </p:spPr>
      </p:pic>
      <p:pic>
        <p:nvPicPr>
          <p:cNvPr id="15" name="Gráfico 14">
            <a:extLst>
              <a:ext uri="{FF2B5EF4-FFF2-40B4-BE49-F238E27FC236}">
                <a16:creationId xmlns:a16="http://schemas.microsoft.com/office/drawing/2014/main" id="{8E34F2B1-0AA4-460E-90D3-2A5739BCBFD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-1073149" y="4812068"/>
            <a:ext cx="720000" cy="687912"/>
          </a:xfrm>
          <a:prstGeom prst="rect">
            <a:avLst/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5BDDCDAD-B122-4CA3-9364-08688C9F364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-1073149" y="1443946"/>
            <a:ext cx="720000" cy="687912"/>
          </a:xfrm>
          <a:prstGeom prst="rect">
            <a:avLst/>
          </a:prstGeom>
        </p:spPr>
      </p:pic>
      <p:sp>
        <p:nvSpPr>
          <p:cNvPr id="17" name="Espaço Reservado para Rodapé 2">
            <a:extLst>
              <a:ext uri="{FF2B5EF4-FFF2-40B4-BE49-F238E27FC236}">
                <a16:creationId xmlns:a16="http://schemas.microsoft.com/office/drawing/2014/main" id="{C8144244-26F6-4A5B-8AA1-1453FB173C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67797" y="10638671"/>
            <a:ext cx="6784975" cy="601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600" b="0" cap="all" spc="-3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943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</p:sldLayoutIdLst>
  <p:txStyles>
    <p:titleStyle>
      <a:lvl1pPr eaLnBrk="1" hangingPunct="1">
        <a:lnSpc>
          <a:spcPct val="85000"/>
        </a:lnSpc>
        <a:defRPr sz="12350" b="1" i="0" u="none" cap="all" spc="-30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eaLnBrk="1" hangingPunct="1">
        <a:lnSpc>
          <a:spcPct val="100000"/>
        </a:lnSpc>
        <a:spcBef>
          <a:spcPts val="1200"/>
        </a:spcBef>
        <a:defRPr sz="2400" b="1" i="0" u="none">
          <a:latin typeface="+mn-lt"/>
          <a:ea typeface="+mn-ea"/>
          <a:cs typeface="+mn-cs"/>
        </a:defRPr>
      </a:lvl1pPr>
      <a:lvl2pPr marL="457200" eaLnBrk="1" hangingPunct="1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2pPr>
      <a:lvl3pPr marL="914400" eaLnBrk="1" hangingPunct="1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3pPr>
      <a:lvl4pPr marL="1371600" eaLnBrk="1" hangingPunct="1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4pPr>
      <a:lvl5pPr marL="1828800" eaLnBrk="1" hangingPunct="1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12">
          <p15:clr>
            <a:srgbClr val="F26B43"/>
          </p15:clr>
        </p15:guide>
        <p15:guide id="2" pos="11852">
          <p15:clr>
            <a:srgbClr val="F26B43"/>
          </p15:clr>
        </p15:guide>
        <p15:guide id="3" orient="horz" pos="5962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32828C32-D1F2-4A31-980F-62561C47082A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068"/>
          <a:stretch/>
        </p:blipFill>
        <p:spPr>
          <a:xfrm>
            <a:off x="0" y="9733059"/>
            <a:ext cx="20104100" cy="1575497"/>
          </a:xfrm>
          <a:prstGeom prst="rect">
            <a:avLst/>
          </a:prstGeom>
        </p:spPr>
      </p:pic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805C3C9-29C5-42B2-B328-10F5F65694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21" y="2987675"/>
            <a:ext cx="13127231" cy="21859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dirty="0"/>
              <a:t>Slides de capa </a:t>
            </a:r>
            <a:br>
              <a:rPr lang="pt-BR" dirty="0"/>
            </a:br>
            <a:r>
              <a:rPr lang="pt-BR" dirty="0"/>
              <a:t>e transição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9F218A14-F91F-4E10-88E5-21E3BDE5FF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05121" y="5655692"/>
            <a:ext cx="13127231" cy="17508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1C612C18-C146-4746-8865-8016F6EC6E2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1073149" y="601916"/>
            <a:ext cx="720000" cy="687912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7F4E877E-AABB-4849-9718-5B5EF9E3752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-1073149" y="2285976"/>
            <a:ext cx="720000" cy="687912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F4D62D5D-5B13-49C2-9BBF-CAD4E541AFF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-1073149" y="3128006"/>
            <a:ext cx="720000" cy="687912"/>
          </a:xfrm>
          <a:prstGeom prst="rect">
            <a:avLst/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65ABDF1C-B4BB-4967-9AA2-20F00246189C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-1073149" y="3970036"/>
            <a:ext cx="720000" cy="687912"/>
          </a:xfrm>
          <a:prstGeom prst="rect">
            <a:avLst/>
          </a:prstGeom>
        </p:spPr>
      </p:pic>
      <p:pic>
        <p:nvPicPr>
          <p:cNvPr id="15" name="Gráfico 14">
            <a:extLst>
              <a:ext uri="{FF2B5EF4-FFF2-40B4-BE49-F238E27FC236}">
                <a16:creationId xmlns:a16="http://schemas.microsoft.com/office/drawing/2014/main" id="{8E34F2B1-0AA4-460E-90D3-2A5739BCBFD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-1073149" y="4812068"/>
            <a:ext cx="720000" cy="687912"/>
          </a:xfrm>
          <a:prstGeom prst="rect">
            <a:avLst/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5BDDCDAD-B122-4CA3-9364-08688C9F3645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-1073149" y="1443946"/>
            <a:ext cx="720000" cy="687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834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</p:sldLayoutIdLst>
  <p:txStyles>
    <p:titleStyle>
      <a:lvl1pPr eaLnBrk="1" hangingPunct="1">
        <a:lnSpc>
          <a:spcPct val="85000"/>
        </a:lnSpc>
        <a:defRPr sz="12350" b="1" i="0" u="none" cap="all" spc="-30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eaLnBrk="1" hangingPunct="1">
        <a:lnSpc>
          <a:spcPct val="100000"/>
        </a:lnSpc>
        <a:spcBef>
          <a:spcPts val="1200"/>
        </a:spcBef>
        <a:defRPr sz="2400" b="1" i="0" u="none">
          <a:latin typeface="+mn-lt"/>
          <a:ea typeface="+mn-ea"/>
          <a:cs typeface="+mn-cs"/>
        </a:defRPr>
      </a:lvl1pPr>
      <a:lvl2pPr marL="457200" eaLnBrk="1" hangingPunct="1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2pPr>
      <a:lvl3pPr marL="914400" eaLnBrk="1" hangingPunct="1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3pPr>
      <a:lvl4pPr marL="1371600" eaLnBrk="1" hangingPunct="1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4pPr>
      <a:lvl5pPr marL="1828800" eaLnBrk="1" hangingPunct="1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12">
          <p15:clr>
            <a:srgbClr val="F26B43"/>
          </p15:clr>
        </p15:guide>
        <p15:guide id="2" pos="11852">
          <p15:clr>
            <a:srgbClr val="F26B43"/>
          </p15:clr>
        </p15:guide>
        <p15:guide id="3" orient="horz" pos="596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 userDrawn="1"/>
        </p:nvSpPr>
        <p:spPr>
          <a:xfrm>
            <a:off x="10494236" y="2071534"/>
            <a:ext cx="8265728" cy="2550418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724205" rtl="0" eaLnBrk="1" latinLnBrk="0" hangingPunct="1">
              <a:spcBef>
                <a:spcPct val="0"/>
              </a:spcBef>
              <a:buNone/>
              <a:defRPr sz="32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958" dirty="0"/>
              <a:t>CLICK PARA ADICIONAR O TÍTULO</a:t>
            </a:r>
          </a:p>
        </p:txBody>
      </p:sp>
      <p:sp>
        <p:nvSpPr>
          <p:cNvPr id="11" name="Subtitle 2"/>
          <p:cNvSpPr txBox="1">
            <a:spLocks/>
          </p:cNvSpPr>
          <p:nvPr userDrawn="1"/>
        </p:nvSpPr>
        <p:spPr>
          <a:xfrm>
            <a:off x="10494236" y="4999073"/>
            <a:ext cx="8265728" cy="192668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724205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4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448410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172614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896819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621024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4345229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5069434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5793638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3587"/>
              <a:t>CLIQUE PARA ADICIONAR </a:t>
            </a:r>
            <a:br>
              <a:rPr lang="pt-BR" sz="3587"/>
            </a:br>
            <a:r>
              <a:rPr lang="pt-BR" sz="3587"/>
              <a:t>O AUTOR / LOCAL E DATA</a:t>
            </a:r>
            <a:endParaRPr lang="pt-BR" sz="3587" dirty="0"/>
          </a:p>
        </p:txBody>
      </p:sp>
      <p:pic>
        <p:nvPicPr>
          <p:cNvPr id="12" name="Picture 11" descr="151218guia_de_marca_03-01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53038" y="2"/>
            <a:ext cx="2986473" cy="1669948"/>
          </a:xfrm>
          <a:prstGeom prst="rect">
            <a:avLst/>
          </a:prstGeom>
        </p:spPr>
      </p:pic>
      <p:pic>
        <p:nvPicPr>
          <p:cNvPr id="13" name="Picture 6" descr="Pre_Sal_Horiz_rgb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593" y="9666748"/>
            <a:ext cx="2642670" cy="1856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524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7" r:id="rId4"/>
    <p:sldLayoutId id="2147483883" r:id="rId5"/>
  </p:sldLayoutIdLst>
  <p:txStyles>
    <p:titleStyle>
      <a:lvl1pPr algn="ctr" defTabSz="895656" rtl="0" eaLnBrk="1" latinLnBrk="0" hangingPunct="1">
        <a:spcBef>
          <a:spcPct val="0"/>
        </a:spcBef>
        <a:buNone/>
        <a:defRPr sz="865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71742" indent="-671742" algn="l" defTabSz="895656" rtl="0" eaLnBrk="1" latinLnBrk="0" hangingPunct="1">
        <a:spcBef>
          <a:spcPct val="20000"/>
        </a:spcBef>
        <a:buFont typeface="Arial"/>
        <a:buChar char="•"/>
        <a:defRPr sz="6307" kern="1200">
          <a:solidFill>
            <a:schemeClr val="tx1"/>
          </a:solidFill>
          <a:latin typeface="+mn-lt"/>
          <a:ea typeface="+mn-ea"/>
          <a:cs typeface="+mn-cs"/>
        </a:defRPr>
      </a:lvl1pPr>
      <a:lvl2pPr marL="1455439" indent="-559784" algn="l" defTabSz="895656" rtl="0" eaLnBrk="1" latinLnBrk="0" hangingPunct="1">
        <a:spcBef>
          <a:spcPct val="20000"/>
        </a:spcBef>
        <a:buFont typeface="Arial"/>
        <a:buChar char="–"/>
        <a:defRPr sz="5442" kern="1200">
          <a:solidFill>
            <a:schemeClr val="tx1"/>
          </a:solidFill>
          <a:latin typeface="+mn-lt"/>
          <a:ea typeface="+mn-ea"/>
          <a:cs typeface="+mn-cs"/>
        </a:defRPr>
      </a:lvl2pPr>
      <a:lvl3pPr marL="2239138" indent="-447827" algn="l" defTabSz="895656" rtl="0" eaLnBrk="1" latinLnBrk="0" hangingPunct="1">
        <a:spcBef>
          <a:spcPct val="20000"/>
        </a:spcBef>
        <a:buFont typeface="Arial"/>
        <a:buChar char="•"/>
        <a:defRPr sz="4700" kern="1200">
          <a:solidFill>
            <a:schemeClr val="tx1"/>
          </a:solidFill>
          <a:latin typeface="+mn-lt"/>
          <a:ea typeface="+mn-ea"/>
          <a:cs typeface="+mn-cs"/>
        </a:defRPr>
      </a:lvl3pPr>
      <a:lvl4pPr marL="3134792" indent="-447827" algn="l" defTabSz="895656" rtl="0" eaLnBrk="1" latinLnBrk="0" hangingPunct="1">
        <a:spcBef>
          <a:spcPct val="20000"/>
        </a:spcBef>
        <a:buFont typeface="Arial"/>
        <a:buChar char="–"/>
        <a:defRPr sz="3958" kern="1200">
          <a:solidFill>
            <a:schemeClr val="tx1"/>
          </a:solidFill>
          <a:latin typeface="+mn-lt"/>
          <a:ea typeface="+mn-ea"/>
          <a:cs typeface="+mn-cs"/>
        </a:defRPr>
      </a:lvl4pPr>
      <a:lvl5pPr marL="4030448" indent="-447827" algn="l" defTabSz="895656" rtl="0" eaLnBrk="1" latinLnBrk="0" hangingPunct="1">
        <a:spcBef>
          <a:spcPct val="20000"/>
        </a:spcBef>
        <a:buFont typeface="Arial"/>
        <a:buChar char="»"/>
        <a:defRPr sz="3958" kern="1200">
          <a:solidFill>
            <a:schemeClr val="tx1"/>
          </a:solidFill>
          <a:latin typeface="+mn-lt"/>
          <a:ea typeface="+mn-ea"/>
          <a:cs typeface="+mn-cs"/>
        </a:defRPr>
      </a:lvl5pPr>
      <a:lvl6pPr marL="4926102" indent="-447827" algn="l" defTabSz="895656" rtl="0" eaLnBrk="1" latinLnBrk="0" hangingPunct="1">
        <a:spcBef>
          <a:spcPct val="20000"/>
        </a:spcBef>
        <a:buFont typeface="Arial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6pPr>
      <a:lvl7pPr marL="5821757" indent="-447827" algn="l" defTabSz="895656" rtl="0" eaLnBrk="1" latinLnBrk="0" hangingPunct="1">
        <a:spcBef>
          <a:spcPct val="20000"/>
        </a:spcBef>
        <a:buFont typeface="Arial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7pPr>
      <a:lvl8pPr marL="6717413" indent="-447827" algn="l" defTabSz="895656" rtl="0" eaLnBrk="1" latinLnBrk="0" hangingPunct="1">
        <a:spcBef>
          <a:spcPct val="20000"/>
        </a:spcBef>
        <a:buFont typeface="Arial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8pPr>
      <a:lvl9pPr marL="7613067" indent="-447827" algn="l" defTabSz="895656" rtl="0" eaLnBrk="1" latinLnBrk="0" hangingPunct="1">
        <a:spcBef>
          <a:spcPct val="20000"/>
        </a:spcBef>
        <a:buFont typeface="Arial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1pPr>
      <a:lvl2pPr marL="895656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2pPr>
      <a:lvl3pPr marL="1791310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3pPr>
      <a:lvl4pPr marL="2686965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4pPr>
      <a:lvl5pPr marL="3582619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5pPr>
      <a:lvl6pPr marL="4478273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6pPr>
      <a:lvl7pPr marL="5373929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7pPr>
      <a:lvl8pPr marL="6269585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8pPr>
      <a:lvl9pPr marL="7165238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32828C32-D1F2-4A31-980F-62561C47082A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068"/>
          <a:stretch/>
        </p:blipFill>
        <p:spPr>
          <a:xfrm>
            <a:off x="0" y="9733060"/>
            <a:ext cx="20104100" cy="1575497"/>
          </a:xfrm>
          <a:prstGeom prst="rect">
            <a:avLst/>
          </a:prstGeom>
        </p:spPr>
      </p:pic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805C3C9-29C5-42B2-B328-10F5F65694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22" y="2987675"/>
            <a:ext cx="13127230" cy="218598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dirty="0"/>
              <a:t>Slides de capa </a:t>
            </a:r>
            <a:br>
              <a:rPr lang="pt-BR" dirty="0"/>
            </a:br>
            <a:r>
              <a:rPr lang="pt-BR" dirty="0"/>
              <a:t>e transição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9F218A14-F91F-4E10-88E5-21E3BDE5FF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05122" y="5655693"/>
            <a:ext cx="13127230" cy="17508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1C612C18-C146-4746-8865-8016F6EC6E2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-1073148" y="601917"/>
            <a:ext cx="720000" cy="687911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7F4E877E-AABB-4849-9718-5B5EF9E3752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-1073148" y="2285976"/>
            <a:ext cx="720000" cy="687911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F4D62D5D-5B13-49C2-9BBF-CAD4E541AFF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-1073148" y="3128007"/>
            <a:ext cx="720000" cy="687911"/>
          </a:xfrm>
          <a:prstGeom prst="rect">
            <a:avLst/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65ABDF1C-B4BB-4967-9AA2-20F00246189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-1073148" y="3970037"/>
            <a:ext cx="720000" cy="687911"/>
          </a:xfrm>
          <a:prstGeom prst="rect">
            <a:avLst/>
          </a:prstGeom>
        </p:spPr>
      </p:pic>
      <p:pic>
        <p:nvPicPr>
          <p:cNvPr id="15" name="Gráfico 14">
            <a:extLst>
              <a:ext uri="{FF2B5EF4-FFF2-40B4-BE49-F238E27FC236}">
                <a16:creationId xmlns:a16="http://schemas.microsoft.com/office/drawing/2014/main" id="{8E34F2B1-0AA4-460E-90D3-2A5739BCBFDF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-1073148" y="4812069"/>
            <a:ext cx="720000" cy="687911"/>
          </a:xfrm>
          <a:prstGeom prst="rect">
            <a:avLst/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5BDDCDAD-B122-4CA3-9364-08688C9F3645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-1073148" y="1443946"/>
            <a:ext cx="720000" cy="687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843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</p:sldLayoutIdLst>
  <p:hf hdr="0" ftr="0" dt="0"/>
  <p:txStyles>
    <p:titleStyle>
      <a:lvl1pPr eaLnBrk="1" hangingPunct="1">
        <a:lnSpc>
          <a:spcPct val="85000"/>
        </a:lnSpc>
        <a:defRPr sz="12349" b="1" i="0" u="none" cap="all" spc="-30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eaLnBrk="1" hangingPunct="1">
        <a:lnSpc>
          <a:spcPct val="100000"/>
        </a:lnSpc>
        <a:spcBef>
          <a:spcPts val="1200"/>
        </a:spcBef>
        <a:defRPr sz="2399" b="1" i="0" u="none">
          <a:latin typeface="+mn-lt"/>
          <a:ea typeface="+mn-ea"/>
          <a:cs typeface="+mn-cs"/>
        </a:defRPr>
      </a:lvl1pPr>
      <a:lvl2pPr marL="457179" eaLnBrk="1" hangingPunct="1">
        <a:lnSpc>
          <a:spcPct val="100000"/>
        </a:lnSpc>
        <a:spcBef>
          <a:spcPts val="1200"/>
        </a:spcBef>
        <a:defRPr sz="2399">
          <a:latin typeface="+mn-lt"/>
          <a:ea typeface="+mn-ea"/>
          <a:cs typeface="+mn-cs"/>
        </a:defRPr>
      </a:lvl2pPr>
      <a:lvl3pPr marL="914357" eaLnBrk="1" hangingPunct="1">
        <a:lnSpc>
          <a:spcPct val="100000"/>
        </a:lnSpc>
        <a:spcBef>
          <a:spcPts val="1200"/>
        </a:spcBef>
        <a:defRPr sz="2399">
          <a:latin typeface="+mn-lt"/>
          <a:ea typeface="+mn-ea"/>
          <a:cs typeface="+mn-cs"/>
        </a:defRPr>
      </a:lvl3pPr>
      <a:lvl4pPr marL="1371536" eaLnBrk="1" hangingPunct="1">
        <a:lnSpc>
          <a:spcPct val="100000"/>
        </a:lnSpc>
        <a:spcBef>
          <a:spcPts val="1200"/>
        </a:spcBef>
        <a:defRPr sz="2399">
          <a:latin typeface="+mn-lt"/>
          <a:ea typeface="+mn-ea"/>
          <a:cs typeface="+mn-cs"/>
        </a:defRPr>
      </a:lvl4pPr>
      <a:lvl5pPr marL="1828715" eaLnBrk="1" hangingPunct="1">
        <a:lnSpc>
          <a:spcPct val="100000"/>
        </a:lnSpc>
        <a:spcBef>
          <a:spcPts val="1200"/>
        </a:spcBef>
        <a:defRPr sz="2399">
          <a:latin typeface="+mn-lt"/>
          <a:ea typeface="+mn-ea"/>
          <a:cs typeface="+mn-cs"/>
        </a:defRPr>
      </a:lvl5pPr>
      <a:lvl6pPr marL="2285893" eaLnBrk="1" hangingPunct="1">
        <a:defRPr>
          <a:latin typeface="+mn-lt"/>
          <a:ea typeface="+mn-ea"/>
          <a:cs typeface="+mn-cs"/>
        </a:defRPr>
      </a:lvl6pPr>
      <a:lvl7pPr marL="2743072" eaLnBrk="1" hangingPunct="1">
        <a:defRPr>
          <a:latin typeface="+mn-lt"/>
          <a:ea typeface="+mn-ea"/>
          <a:cs typeface="+mn-cs"/>
        </a:defRPr>
      </a:lvl7pPr>
      <a:lvl8pPr marL="3200252" eaLnBrk="1" hangingPunct="1">
        <a:defRPr>
          <a:latin typeface="+mn-lt"/>
          <a:ea typeface="+mn-ea"/>
          <a:cs typeface="+mn-cs"/>
        </a:defRPr>
      </a:lvl8pPr>
      <a:lvl9pPr marL="3657431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179" eaLnBrk="1" hangingPunct="1">
        <a:defRPr>
          <a:latin typeface="+mn-lt"/>
          <a:ea typeface="+mn-ea"/>
          <a:cs typeface="+mn-cs"/>
        </a:defRPr>
      </a:lvl2pPr>
      <a:lvl3pPr marL="914357" eaLnBrk="1" hangingPunct="1">
        <a:defRPr>
          <a:latin typeface="+mn-lt"/>
          <a:ea typeface="+mn-ea"/>
          <a:cs typeface="+mn-cs"/>
        </a:defRPr>
      </a:lvl3pPr>
      <a:lvl4pPr marL="1371536" eaLnBrk="1" hangingPunct="1">
        <a:defRPr>
          <a:latin typeface="+mn-lt"/>
          <a:ea typeface="+mn-ea"/>
          <a:cs typeface="+mn-cs"/>
        </a:defRPr>
      </a:lvl4pPr>
      <a:lvl5pPr marL="1828715" eaLnBrk="1" hangingPunct="1">
        <a:defRPr>
          <a:latin typeface="+mn-lt"/>
          <a:ea typeface="+mn-ea"/>
          <a:cs typeface="+mn-cs"/>
        </a:defRPr>
      </a:lvl5pPr>
      <a:lvl6pPr marL="2285893" eaLnBrk="1" hangingPunct="1">
        <a:defRPr>
          <a:latin typeface="+mn-lt"/>
          <a:ea typeface="+mn-ea"/>
          <a:cs typeface="+mn-cs"/>
        </a:defRPr>
      </a:lvl6pPr>
      <a:lvl7pPr marL="2743072" eaLnBrk="1" hangingPunct="1">
        <a:defRPr>
          <a:latin typeface="+mn-lt"/>
          <a:ea typeface="+mn-ea"/>
          <a:cs typeface="+mn-cs"/>
        </a:defRPr>
      </a:lvl7pPr>
      <a:lvl8pPr marL="3200252" eaLnBrk="1" hangingPunct="1">
        <a:defRPr>
          <a:latin typeface="+mn-lt"/>
          <a:ea typeface="+mn-ea"/>
          <a:cs typeface="+mn-cs"/>
        </a:defRPr>
      </a:lvl8pPr>
      <a:lvl9pPr marL="3657431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12">
          <p15:clr>
            <a:srgbClr val="F26B43"/>
          </p15:clr>
        </p15:guide>
        <p15:guide id="2" pos="11852">
          <p15:clr>
            <a:srgbClr val="F26B43"/>
          </p15:clr>
        </p15:guide>
        <p15:guide id="3" orient="horz" pos="596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>
          <a:xfrm>
            <a:off x="10494236" y="2071534"/>
            <a:ext cx="8265728" cy="2550418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724205" rtl="0" eaLnBrk="1" latinLnBrk="0" hangingPunct="1">
              <a:spcBef>
                <a:spcPct val="0"/>
              </a:spcBef>
              <a:buNone/>
              <a:defRPr sz="32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958" dirty="0"/>
              <a:t>CLICK PARA ADICIONAR O TÍTULO</a:t>
            </a: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10494236" y="4999073"/>
            <a:ext cx="8265728" cy="192668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724205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4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448410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172614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896819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621024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4345229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5069434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5793638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3587"/>
              <a:t>CLIQUE PARA ADICIONAR </a:t>
            </a:r>
            <a:br>
              <a:rPr lang="pt-BR" sz="3587"/>
            </a:br>
            <a:r>
              <a:rPr lang="pt-BR" sz="3587"/>
              <a:t>O AUTOR / LOCAL E DATA</a:t>
            </a:r>
            <a:endParaRPr lang="pt-BR" sz="3587" dirty="0"/>
          </a:p>
        </p:txBody>
      </p:sp>
      <p:pic>
        <p:nvPicPr>
          <p:cNvPr id="12" name="Picture 11" descr="151218guia_de_marca_03-0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53038" y="2"/>
            <a:ext cx="2986473" cy="1669948"/>
          </a:xfrm>
          <a:prstGeom prst="rect">
            <a:avLst/>
          </a:prstGeom>
        </p:spPr>
      </p:pic>
      <p:pic>
        <p:nvPicPr>
          <p:cNvPr id="13" name="Picture 6" descr="Pre_Sal_Horiz_rgb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593" y="9666748"/>
            <a:ext cx="2642670" cy="1856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750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</p:sldLayoutIdLst>
  <p:hf hdr="0" ftr="0" dt="0"/>
  <p:txStyles>
    <p:titleStyle>
      <a:lvl1pPr algn="ctr" defTabSz="895656" rtl="0" eaLnBrk="1" latinLnBrk="0" hangingPunct="1">
        <a:spcBef>
          <a:spcPct val="0"/>
        </a:spcBef>
        <a:buNone/>
        <a:defRPr sz="865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71742" indent="-671742" algn="l" defTabSz="895656" rtl="0" eaLnBrk="1" latinLnBrk="0" hangingPunct="1">
        <a:spcBef>
          <a:spcPct val="20000"/>
        </a:spcBef>
        <a:buFont typeface="Arial"/>
        <a:buChar char="•"/>
        <a:defRPr sz="6307" kern="1200">
          <a:solidFill>
            <a:schemeClr val="tx1"/>
          </a:solidFill>
          <a:latin typeface="+mn-lt"/>
          <a:ea typeface="+mn-ea"/>
          <a:cs typeface="+mn-cs"/>
        </a:defRPr>
      </a:lvl1pPr>
      <a:lvl2pPr marL="1455439" indent="-559784" algn="l" defTabSz="895656" rtl="0" eaLnBrk="1" latinLnBrk="0" hangingPunct="1">
        <a:spcBef>
          <a:spcPct val="20000"/>
        </a:spcBef>
        <a:buFont typeface="Arial"/>
        <a:buChar char="–"/>
        <a:defRPr sz="5442" kern="1200">
          <a:solidFill>
            <a:schemeClr val="tx1"/>
          </a:solidFill>
          <a:latin typeface="+mn-lt"/>
          <a:ea typeface="+mn-ea"/>
          <a:cs typeface="+mn-cs"/>
        </a:defRPr>
      </a:lvl2pPr>
      <a:lvl3pPr marL="2239138" indent="-447827" algn="l" defTabSz="895656" rtl="0" eaLnBrk="1" latinLnBrk="0" hangingPunct="1">
        <a:spcBef>
          <a:spcPct val="20000"/>
        </a:spcBef>
        <a:buFont typeface="Arial"/>
        <a:buChar char="•"/>
        <a:defRPr sz="4700" kern="1200">
          <a:solidFill>
            <a:schemeClr val="tx1"/>
          </a:solidFill>
          <a:latin typeface="+mn-lt"/>
          <a:ea typeface="+mn-ea"/>
          <a:cs typeface="+mn-cs"/>
        </a:defRPr>
      </a:lvl3pPr>
      <a:lvl4pPr marL="3134792" indent="-447827" algn="l" defTabSz="895656" rtl="0" eaLnBrk="1" latinLnBrk="0" hangingPunct="1">
        <a:spcBef>
          <a:spcPct val="20000"/>
        </a:spcBef>
        <a:buFont typeface="Arial"/>
        <a:buChar char="–"/>
        <a:defRPr sz="3958" kern="1200">
          <a:solidFill>
            <a:schemeClr val="tx1"/>
          </a:solidFill>
          <a:latin typeface="+mn-lt"/>
          <a:ea typeface="+mn-ea"/>
          <a:cs typeface="+mn-cs"/>
        </a:defRPr>
      </a:lvl4pPr>
      <a:lvl5pPr marL="4030448" indent="-447827" algn="l" defTabSz="895656" rtl="0" eaLnBrk="1" latinLnBrk="0" hangingPunct="1">
        <a:spcBef>
          <a:spcPct val="20000"/>
        </a:spcBef>
        <a:buFont typeface="Arial"/>
        <a:buChar char="»"/>
        <a:defRPr sz="3958" kern="1200">
          <a:solidFill>
            <a:schemeClr val="tx1"/>
          </a:solidFill>
          <a:latin typeface="+mn-lt"/>
          <a:ea typeface="+mn-ea"/>
          <a:cs typeface="+mn-cs"/>
        </a:defRPr>
      </a:lvl5pPr>
      <a:lvl6pPr marL="4926102" indent="-447827" algn="l" defTabSz="895656" rtl="0" eaLnBrk="1" latinLnBrk="0" hangingPunct="1">
        <a:spcBef>
          <a:spcPct val="20000"/>
        </a:spcBef>
        <a:buFont typeface="Arial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6pPr>
      <a:lvl7pPr marL="5821757" indent="-447827" algn="l" defTabSz="895656" rtl="0" eaLnBrk="1" latinLnBrk="0" hangingPunct="1">
        <a:spcBef>
          <a:spcPct val="20000"/>
        </a:spcBef>
        <a:buFont typeface="Arial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7pPr>
      <a:lvl8pPr marL="6717413" indent="-447827" algn="l" defTabSz="895656" rtl="0" eaLnBrk="1" latinLnBrk="0" hangingPunct="1">
        <a:spcBef>
          <a:spcPct val="20000"/>
        </a:spcBef>
        <a:buFont typeface="Arial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8pPr>
      <a:lvl9pPr marL="7613067" indent="-447827" algn="l" defTabSz="895656" rtl="0" eaLnBrk="1" latinLnBrk="0" hangingPunct="1">
        <a:spcBef>
          <a:spcPct val="20000"/>
        </a:spcBef>
        <a:buFont typeface="Arial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1pPr>
      <a:lvl2pPr marL="895656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2pPr>
      <a:lvl3pPr marL="1791310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3pPr>
      <a:lvl4pPr marL="2686965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4pPr>
      <a:lvl5pPr marL="3582619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5pPr>
      <a:lvl6pPr marL="4478273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6pPr>
      <a:lvl7pPr marL="5373929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7pPr>
      <a:lvl8pPr marL="6269585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8pPr>
      <a:lvl9pPr marL="7165238" algn="l" defTabSz="895656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32828C32-D1F2-4A31-980F-62561C4708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068"/>
          <a:stretch/>
        </p:blipFill>
        <p:spPr>
          <a:xfrm>
            <a:off x="0" y="9733059"/>
            <a:ext cx="20104100" cy="15754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7CA42B06-8D55-4239-905A-F7EBB536080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1073149" y="601916"/>
            <a:ext cx="720000" cy="687912"/>
          </a:xfrm>
          <a:prstGeom prst="rect">
            <a:avLst/>
          </a:prstGeom>
        </p:spPr>
      </p:pic>
      <p:pic>
        <p:nvPicPr>
          <p:cNvPr id="19" name="Gráfico 18">
            <a:extLst>
              <a:ext uri="{FF2B5EF4-FFF2-40B4-BE49-F238E27FC236}">
                <a16:creationId xmlns:a16="http://schemas.microsoft.com/office/drawing/2014/main" id="{28D397D3-155E-4C57-92B4-FE9C1E5ED16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1073149" y="2285976"/>
            <a:ext cx="720000" cy="687912"/>
          </a:xfrm>
          <a:prstGeom prst="rect">
            <a:avLst/>
          </a:prstGeom>
        </p:spPr>
      </p:pic>
      <p:pic>
        <p:nvPicPr>
          <p:cNvPr id="20" name="Gráfico 19">
            <a:extLst>
              <a:ext uri="{FF2B5EF4-FFF2-40B4-BE49-F238E27FC236}">
                <a16:creationId xmlns:a16="http://schemas.microsoft.com/office/drawing/2014/main" id="{228B0ADC-25D6-4DBA-88A3-8E8E5057632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-1073149" y="3128006"/>
            <a:ext cx="720000" cy="687912"/>
          </a:xfrm>
          <a:prstGeom prst="rect">
            <a:avLst/>
          </a:prstGeom>
        </p:spPr>
      </p:pic>
      <p:pic>
        <p:nvPicPr>
          <p:cNvPr id="21" name="Gráfico 20">
            <a:extLst>
              <a:ext uri="{FF2B5EF4-FFF2-40B4-BE49-F238E27FC236}">
                <a16:creationId xmlns:a16="http://schemas.microsoft.com/office/drawing/2014/main" id="{8D7CBBDD-0686-44CB-ACEF-323A8CC8535B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-1073149" y="3970036"/>
            <a:ext cx="720000" cy="687912"/>
          </a:xfrm>
          <a:prstGeom prst="rect">
            <a:avLst/>
          </a:prstGeom>
        </p:spPr>
      </p:pic>
      <p:pic>
        <p:nvPicPr>
          <p:cNvPr id="22" name="Gráfico 21">
            <a:extLst>
              <a:ext uri="{FF2B5EF4-FFF2-40B4-BE49-F238E27FC236}">
                <a16:creationId xmlns:a16="http://schemas.microsoft.com/office/drawing/2014/main" id="{877A9F46-CF2B-41FE-A985-8550B473BD61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-1073149" y="4812068"/>
            <a:ext cx="720000" cy="687912"/>
          </a:xfrm>
          <a:prstGeom prst="rect">
            <a:avLst/>
          </a:prstGeom>
        </p:spPr>
      </p:pic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805C3C9-29C5-42B2-B328-10F5F65694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21" y="2987675"/>
            <a:ext cx="13127231" cy="21859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dirty="0"/>
              <a:t>Slides de </a:t>
            </a:r>
            <a:br>
              <a:rPr lang="pt-BR" dirty="0"/>
            </a:br>
            <a:r>
              <a:rPr lang="pt-BR" dirty="0"/>
              <a:t>listas especiais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9F218A14-F91F-4E10-88E5-21E3BDE5FF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05121" y="5655692"/>
            <a:ext cx="13127231" cy="17508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1FCACD14-2D46-4101-AB8F-DE599AAFE0D7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-1073149" y="1443946"/>
            <a:ext cx="720000" cy="687912"/>
          </a:xfrm>
          <a:prstGeom prst="rect">
            <a:avLst/>
          </a:prstGeom>
        </p:spPr>
      </p:pic>
      <p:sp>
        <p:nvSpPr>
          <p:cNvPr id="13" name="Espaço Reservado para Rodapé 2">
            <a:extLst>
              <a:ext uri="{FF2B5EF4-FFF2-40B4-BE49-F238E27FC236}">
                <a16:creationId xmlns:a16="http://schemas.microsoft.com/office/drawing/2014/main" id="{5B5E6BF4-3FA9-4850-8C5D-E3FDDF94D5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67797" y="10638671"/>
            <a:ext cx="6784975" cy="601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600" b="0" cap="all" spc="-3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208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2" r:id="rId2"/>
    <p:sldLayoutId id="2147483684" r:id="rId3"/>
    <p:sldLayoutId id="2147483680" r:id="rId4"/>
  </p:sldLayoutIdLst>
  <p:txStyles>
    <p:titleStyle>
      <a:lvl1pPr>
        <a:lnSpc>
          <a:spcPct val="85000"/>
        </a:lnSpc>
        <a:defRPr sz="12350" b="1" i="0" u="none" cap="all" spc="-30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>
        <a:lnSpc>
          <a:spcPct val="100000"/>
        </a:lnSpc>
        <a:spcBef>
          <a:spcPts val="1200"/>
        </a:spcBef>
        <a:defRPr sz="2400" b="1" i="0" u="none">
          <a:latin typeface="+mn-lt"/>
          <a:ea typeface="+mn-ea"/>
          <a:cs typeface="+mn-cs"/>
        </a:defRPr>
      </a:lvl1pPr>
      <a:lvl2pPr marL="457200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2pPr>
      <a:lvl3pPr marL="914400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3pPr>
      <a:lvl4pPr marL="1371600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4pPr>
      <a:lvl5pPr marL="1828800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12">
          <p15:clr>
            <a:srgbClr val="F26B43"/>
          </p15:clr>
        </p15:guide>
        <p15:guide id="2" pos="11852">
          <p15:clr>
            <a:srgbClr val="F26B43"/>
          </p15:clr>
        </p15:guide>
        <p15:guide id="3" orient="horz" pos="596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áfico 10">
            <a:extLst>
              <a:ext uri="{FF2B5EF4-FFF2-40B4-BE49-F238E27FC236}">
                <a16:creationId xmlns:a16="http://schemas.microsoft.com/office/drawing/2014/main" id="{7CA42B06-8D55-4239-905A-F7EBB536080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1073149" y="601916"/>
            <a:ext cx="720000" cy="687912"/>
          </a:xfrm>
          <a:prstGeom prst="rect">
            <a:avLst/>
          </a:prstGeom>
        </p:spPr>
      </p:pic>
      <p:pic>
        <p:nvPicPr>
          <p:cNvPr id="19" name="Gráfico 18">
            <a:extLst>
              <a:ext uri="{FF2B5EF4-FFF2-40B4-BE49-F238E27FC236}">
                <a16:creationId xmlns:a16="http://schemas.microsoft.com/office/drawing/2014/main" id="{28D397D3-155E-4C57-92B4-FE9C1E5ED16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1073149" y="2285976"/>
            <a:ext cx="720000" cy="687912"/>
          </a:xfrm>
          <a:prstGeom prst="rect">
            <a:avLst/>
          </a:prstGeom>
        </p:spPr>
      </p:pic>
      <p:pic>
        <p:nvPicPr>
          <p:cNvPr id="20" name="Gráfico 19">
            <a:extLst>
              <a:ext uri="{FF2B5EF4-FFF2-40B4-BE49-F238E27FC236}">
                <a16:creationId xmlns:a16="http://schemas.microsoft.com/office/drawing/2014/main" id="{228B0ADC-25D6-4DBA-88A3-8E8E5057632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-1073149" y="3128006"/>
            <a:ext cx="720000" cy="687912"/>
          </a:xfrm>
          <a:prstGeom prst="rect">
            <a:avLst/>
          </a:prstGeom>
        </p:spPr>
      </p:pic>
      <p:pic>
        <p:nvPicPr>
          <p:cNvPr id="21" name="Gráfico 20">
            <a:extLst>
              <a:ext uri="{FF2B5EF4-FFF2-40B4-BE49-F238E27FC236}">
                <a16:creationId xmlns:a16="http://schemas.microsoft.com/office/drawing/2014/main" id="{8D7CBBDD-0686-44CB-ACEF-323A8CC8535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-1073149" y="3970036"/>
            <a:ext cx="720000" cy="687912"/>
          </a:xfrm>
          <a:prstGeom prst="rect">
            <a:avLst/>
          </a:prstGeom>
        </p:spPr>
      </p:pic>
      <p:pic>
        <p:nvPicPr>
          <p:cNvPr id="22" name="Gráfico 21">
            <a:extLst>
              <a:ext uri="{FF2B5EF4-FFF2-40B4-BE49-F238E27FC236}">
                <a16:creationId xmlns:a16="http://schemas.microsoft.com/office/drawing/2014/main" id="{877A9F46-CF2B-41FE-A985-8550B473BD61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-1073149" y="4812068"/>
            <a:ext cx="720000" cy="687912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1FCACD14-2D46-4101-AB8F-DE599AAFE0D7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-1073149" y="1443946"/>
            <a:ext cx="720000" cy="687912"/>
          </a:xfrm>
          <a:prstGeom prst="rect">
            <a:avLst/>
          </a:prstGeom>
        </p:spPr>
      </p:pic>
      <p:sp>
        <p:nvSpPr>
          <p:cNvPr id="13" name="Espaço Reservado para Título 1">
            <a:extLst>
              <a:ext uri="{FF2B5EF4-FFF2-40B4-BE49-F238E27FC236}">
                <a16:creationId xmlns:a16="http://schemas.microsoft.com/office/drawing/2014/main" id="{7BC6231B-C415-4F95-A838-B3F9F2A66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21" y="4063030"/>
            <a:ext cx="13127231" cy="21859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dirty="0"/>
              <a:t>Modelos de galerias</a:t>
            </a:r>
          </a:p>
        </p:txBody>
      </p:sp>
    </p:spTree>
    <p:extLst>
      <p:ext uri="{BB962C8B-B14F-4D97-AF65-F5344CB8AC3E}">
        <p14:creationId xmlns:p14="http://schemas.microsoft.com/office/powerpoint/2010/main" val="3153510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14" r:id="rId2"/>
    <p:sldLayoutId id="2147483708" r:id="rId3"/>
  </p:sldLayoutIdLst>
  <p:txStyles>
    <p:titleStyle>
      <a:lvl1pPr>
        <a:lnSpc>
          <a:spcPct val="85000"/>
        </a:lnSpc>
        <a:defRPr sz="12350" b="1" i="0" u="none" cap="all" spc="-30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>
        <a:lnSpc>
          <a:spcPct val="100000"/>
        </a:lnSpc>
        <a:spcBef>
          <a:spcPts val="1200"/>
        </a:spcBef>
        <a:defRPr sz="2400" b="1" i="0" u="none">
          <a:latin typeface="+mn-lt"/>
          <a:ea typeface="+mn-ea"/>
          <a:cs typeface="+mn-cs"/>
        </a:defRPr>
      </a:lvl1pPr>
      <a:lvl2pPr marL="457200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2pPr>
      <a:lvl3pPr marL="914400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3pPr>
      <a:lvl4pPr marL="1371600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4pPr>
      <a:lvl5pPr marL="1828800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12">
          <p15:clr>
            <a:srgbClr val="F26B43"/>
          </p15:clr>
        </p15:guide>
        <p15:guide id="2" pos="11852">
          <p15:clr>
            <a:srgbClr val="F26B43"/>
          </p15:clr>
        </p15:guide>
        <p15:guide id="3" orient="horz" pos="596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32828C32-D1F2-4A31-980F-62561C4708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068"/>
          <a:stretch/>
        </p:blipFill>
        <p:spPr>
          <a:xfrm>
            <a:off x="0" y="9733059"/>
            <a:ext cx="20104100" cy="1575497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7CA42B06-8D55-4239-905A-F7EBB536080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1073149" y="601916"/>
            <a:ext cx="720000" cy="687912"/>
          </a:xfrm>
          <a:prstGeom prst="rect">
            <a:avLst/>
          </a:prstGeom>
        </p:spPr>
      </p:pic>
      <p:pic>
        <p:nvPicPr>
          <p:cNvPr id="19" name="Gráfico 18">
            <a:extLst>
              <a:ext uri="{FF2B5EF4-FFF2-40B4-BE49-F238E27FC236}">
                <a16:creationId xmlns:a16="http://schemas.microsoft.com/office/drawing/2014/main" id="{28D397D3-155E-4C57-92B4-FE9C1E5ED16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-1073149" y="2285976"/>
            <a:ext cx="720000" cy="687912"/>
          </a:xfrm>
          <a:prstGeom prst="rect">
            <a:avLst/>
          </a:prstGeom>
        </p:spPr>
      </p:pic>
      <p:pic>
        <p:nvPicPr>
          <p:cNvPr id="20" name="Gráfico 19">
            <a:extLst>
              <a:ext uri="{FF2B5EF4-FFF2-40B4-BE49-F238E27FC236}">
                <a16:creationId xmlns:a16="http://schemas.microsoft.com/office/drawing/2014/main" id="{228B0ADC-25D6-4DBA-88A3-8E8E50576320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-1073149" y="3128006"/>
            <a:ext cx="720000" cy="687912"/>
          </a:xfrm>
          <a:prstGeom prst="rect">
            <a:avLst/>
          </a:prstGeom>
        </p:spPr>
      </p:pic>
      <p:pic>
        <p:nvPicPr>
          <p:cNvPr id="21" name="Gráfico 20">
            <a:extLst>
              <a:ext uri="{FF2B5EF4-FFF2-40B4-BE49-F238E27FC236}">
                <a16:creationId xmlns:a16="http://schemas.microsoft.com/office/drawing/2014/main" id="{8D7CBBDD-0686-44CB-ACEF-323A8CC8535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-1073149" y="3970036"/>
            <a:ext cx="720000" cy="687912"/>
          </a:xfrm>
          <a:prstGeom prst="rect">
            <a:avLst/>
          </a:prstGeom>
        </p:spPr>
      </p:pic>
      <p:pic>
        <p:nvPicPr>
          <p:cNvPr id="22" name="Gráfico 21">
            <a:extLst>
              <a:ext uri="{FF2B5EF4-FFF2-40B4-BE49-F238E27FC236}">
                <a16:creationId xmlns:a16="http://schemas.microsoft.com/office/drawing/2014/main" id="{877A9F46-CF2B-41FE-A985-8550B473BD61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-1073149" y="4812068"/>
            <a:ext cx="720000" cy="687912"/>
          </a:xfrm>
          <a:prstGeom prst="rect">
            <a:avLst/>
          </a:prstGeom>
        </p:spPr>
      </p:pic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805C3C9-29C5-42B2-B328-10F5F65694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21" y="2987675"/>
            <a:ext cx="13127231" cy="21859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dirty="0"/>
              <a:t>Outros slides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9F218A14-F91F-4E10-88E5-21E3BDE5FF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05121" y="5655692"/>
            <a:ext cx="13127231" cy="17508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2" name="Gráfico 11">
            <a:extLst>
              <a:ext uri="{FF2B5EF4-FFF2-40B4-BE49-F238E27FC236}">
                <a16:creationId xmlns:a16="http://schemas.microsoft.com/office/drawing/2014/main" id="{1FCACD14-2D46-4101-AB8F-DE599AAFE0D7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-1073149" y="1443946"/>
            <a:ext cx="720000" cy="687912"/>
          </a:xfrm>
          <a:prstGeom prst="rect">
            <a:avLst/>
          </a:prstGeom>
        </p:spPr>
      </p:pic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C8144244-26F6-4A5B-8AA1-1453FB173C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67797" y="10638671"/>
            <a:ext cx="6784975" cy="601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600" b="0" cap="all" spc="-3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056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2" r:id="rId3"/>
  </p:sldLayoutIdLst>
  <p:txStyles>
    <p:titleStyle>
      <a:lvl1pPr>
        <a:lnSpc>
          <a:spcPct val="85000"/>
        </a:lnSpc>
        <a:defRPr sz="12350" b="1" i="0" u="none" cap="all" spc="-30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>
        <a:lnSpc>
          <a:spcPct val="100000"/>
        </a:lnSpc>
        <a:spcBef>
          <a:spcPts val="1200"/>
        </a:spcBef>
        <a:defRPr sz="2400" b="1" i="0" u="none">
          <a:latin typeface="+mn-lt"/>
          <a:ea typeface="+mn-ea"/>
          <a:cs typeface="+mn-cs"/>
        </a:defRPr>
      </a:lvl1pPr>
      <a:lvl2pPr marL="457200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2pPr>
      <a:lvl3pPr marL="914400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3pPr>
      <a:lvl4pPr marL="1371600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4pPr>
      <a:lvl5pPr marL="1828800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12">
          <p15:clr>
            <a:srgbClr val="F26B43"/>
          </p15:clr>
        </p15:guide>
        <p15:guide id="2" pos="11852">
          <p15:clr>
            <a:srgbClr val="F26B43"/>
          </p15:clr>
        </p15:guide>
        <p15:guide id="3" orient="horz" pos="596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 userDrawn="1"/>
        </p:nvSpPr>
        <p:spPr>
          <a:xfrm>
            <a:off x="10494234" y="2071533"/>
            <a:ext cx="8265729" cy="255041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724205" rtl="0" eaLnBrk="1" latinLnBrk="0" hangingPunct="1">
              <a:spcBef>
                <a:spcPct val="0"/>
              </a:spcBef>
              <a:buNone/>
              <a:defRPr sz="32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958" dirty="0"/>
              <a:t>CLICK PARA ADICIONAR O TÍTULO</a:t>
            </a:r>
          </a:p>
        </p:txBody>
      </p:sp>
      <p:sp>
        <p:nvSpPr>
          <p:cNvPr id="11" name="Subtitle 2"/>
          <p:cNvSpPr txBox="1">
            <a:spLocks/>
          </p:cNvSpPr>
          <p:nvPr userDrawn="1"/>
        </p:nvSpPr>
        <p:spPr>
          <a:xfrm>
            <a:off x="10494234" y="4999072"/>
            <a:ext cx="8265729" cy="192668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724205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4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448410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172614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896819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621024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4345229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5069434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5793638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3587"/>
              <a:t>CLIQUE PARA ADICIONAR </a:t>
            </a:r>
            <a:br>
              <a:rPr lang="pt-BR" sz="3587"/>
            </a:br>
            <a:r>
              <a:rPr lang="pt-BR" sz="3587"/>
              <a:t>O AUTOR / LOCAL E DATA</a:t>
            </a:r>
            <a:endParaRPr lang="pt-BR" sz="3587" dirty="0"/>
          </a:p>
        </p:txBody>
      </p:sp>
      <p:pic>
        <p:nvPicPr>
          <p:cNvPr id="12" name="Picture 11" descr="151218guia_de_marca_03-01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53036" y="1"/>
            <a:ext cx="2986473" cy="1669948"/>
          </a:xfrm>
          <a:prstGeom prst="rect">
            <a:avLst/>
          </a:prstGeom>
        </p:spPr>
      </p:pic>
      <p:pic>
        <p:nvPicPr>
          <p:cNvPr id="13" name="Picture 6" descr="Pre_Sal_Horiz_rgb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593" y="9666746"/>
            <a:ext cx="2642670" cy="1856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693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</p:sldLayoutIdLst>
  <p:txStyles>
    <p:titleStyle>
      <a:lvl1pPr algn="ctr" defTabSz="895697" rtl="0" eaLnBrk="1" latinLnBrk="0" hangingPunct="1">
        <a:spcBef>
          <a:spcPct val="0"/>
        </a:spcBef>
        <a:buNone/>
        <a:defRPr sz="86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71773" indent="-671773" algn="l" defTabSz="895697" rtl="0" eaLnBrk="1" latinLnBrk="0" hangingPunct="1">
        <a:spcBef>
          <a:spcPct val="20000"/>
        </a:spcBef>
        <a:buFont typeface="Arial"/>
        <a:buChar char="•"/>
        <a:defRPr sz="6308" kern="1200">
          <a:solidFill>
            <a:schemeClr val="tx1"/>
          </a:solidFill>
          <a:latin typeface="+mn-lt"/>
          <a:ea typeface="+mn-ea"/>
          <a:cs typeface="+mn-cs"/>
        </a:defRPr>
      </a:lvl1pPr>
      <a:lvl2pPr marL="1455507" indent="-559810" algn="l" defTabSz="895697" rtl="0" eaLnBrk="1" latinLnBrk="0" hangingPunct="1">
        <a:spcBef>
          <a:spcPct val="20000"/>
        </a:spcBef>
        <a:buFont typeface="Arial"/>
        <a:buChar char="–"/>
        <a:defRPr sz="5442" kern="1200">
          <a:solidFill>
            <a:schemeClr val="tx1"/>
          </a:solidFill>
          <a:latin typeface="+mn-lt"/>
          <a:ea typeface="+mn-ea"/>
          <a:cs typeface="+mn-cs"/>
        </a:defRPr>
      </a:lvl2pPr>
      <a:lvl3pPr marL="2239241" indent="-447848" algn="l" defTabSz="895697" rtl="0" eaLnBrk="1" latinLnBrk="0" hangingPunct="1">
        <a:spcBef>
          <a:spcPct val="20000"/>
        </a:spcBef>
        <a:buFont typeface="Arial"/>
        <a:buChar char="•"/>
        <a:defRPr sz="4700" kern="1200">
          <a:solidFill>
            <a:schemeClr val="tx1"/>
          </a:solidFill>
          <a:latin typeface="+mn-lt"/>
          <a:ea typeface="+mn-ea"/>
          <a:cs typeface="+mn-cs"/>
        </a:defRPr>
      </a:lvl3pPr>
      <a:lvl4pPr marL="3134938" indent="-447848" algn="l" defTabSz="895697" rtl="0" eaLnBrk="1" latinLnBrk="0" hangingPunct="1">
        <a:spcBef>
          <a:spcPct val="20000"/>
        </a:spcBef>
        <a:buFont typeface="Arial"/>
        <a:buChar char="–"/>
        <a:defRPr sz="3958" kern="1200">
          <a:solidFill>
            <a:schemeClr val="tx1"/>
          </a:solidFill>
          <a:latin typeface="+mn-lt"/>
          <a:ea typeface="+mn-ea"/>
          <a:cs typeface="+mn-cs"/>
        </a:defRPr>
      </a:lvl4pPr>
      <a:lvl5pPr marL="4030635" indent="-447848" algn="l" defTabSz="895697" rtl="0" eaLnBrk="1" latinLnBrk="0" hangingPunct="1">
        <a:spcBef>
          <a:spcPct val="20000"/>
        </a:spcBef>
        <a:buFont typeface="Arial"/>
        <a:buChar char="»"/>
        <a:defRPr sz="3958" kern="1200">
          <a:solidFill>
            <a:schemeClr val="tx1"/>
          </a:solidFill>
          <a:latin typeface="+mn-lt"/>
          <a:ea typeface="+mn-ea"/>
          <a:cs typeface="+mn-cs"/>
        </a:defRPr>
      </a:lvl5pPr>
      <a:lvl6pPr marL="4926330" indent="-447848" algn="l" defTabSz="895697" rtl="0" eaLnBrk="1" latinLnBrk="0" hangingPunct="1">
        <a:spcBef>
          <a:spcPct val="20000"/>
        </a:spcBef>
        <a:buFont typeface="Arial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6pPr>
      <a:lvl7pPr marL="5822027" indent="-447848" algn="l" defTabSz="895697" rtl="0" eaLnBrk="1" latinLnBrk="0" hangingPunct="1">
        <a:spcBef>
          <a:spcPct val="20000"/>
        </a:spcBef>
        <a:buFont typeface="Arial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7pPr>
      <a:lvl8pPr marL="6717724" indent="-447848" algn="l" defTabSz="895697" rtl="0" eaLnBrk="1" latinLnBrk="0" hangingPunct="1">
        <a:spcBef>
          <a:spcPct val="20000"/>
        </a:spcBef>
        <a:buFont typeface="Arial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8pPr>
      <a:lvl9pPr marL="7613420" indent="-447848" algn="l" defTabSz="895697" rtl="0" eaLnBrk="1" latinLnBrk="0" hangingPunct="1">
        <a:spcBef>
          <a:spcPct val="20000"/>
        </a:spcBef>
        <a:buFont typeface="Arial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1pPr>
      <a:lvl2pPr marL="895697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2pPr>
      <a:lvl3pPr marL="1791393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3pPr>
      <a:lvl4pPr marL="2687089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4pPr>
      <a:lvl5pPr marL="3582786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5pPr>
      <a:lvl6pPr marL="4478482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6pPr>
      <a:lvl7pPr marL="5374179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7pPr>
      <a:lvl8pPr marL="6269876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8pPr>
      <a:lvl9pPr marL="7165571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 userDrawn="1"/>
        </p:nvSpPr>
        <p:spPr>
          <a:xfrm>
            <a:off x="10494234" y="2071533"/>
            <a:ext cx="8265729" cy="255041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724205" rtl="0" eaLnBrk="1" latinLnBrk="0" hangingPunct="1">
              <a:spcBef>
                <a:spcPct val="0"/>
              </a:spcBef>
              <a:buNone/>
              <a:defRPr sz="32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958" dirty="0"/>
              <a:t>CLICK PARA ADICIONAR O TÍTULO</a:t>
            </a:r>
          </a:p>
        </p:txBody>
      </p:sp>
      <p:sp>
        <p:nvSpPr>
          <p:cNvPr id="11" name="Subtitle 2"/>
          <p:cNvSpPr txBox="1">
            <a:spLocks/>
          </p:cNvSpPr>
          <p:nvPr userDrawn="1"/>
        </p:nvSpPr>
        <p:spPr>
          <a:xfrm>
            <a:off x="10494234" y="4999072"/>
            <a:ext cx="8265729" cy="192668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724205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4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448410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172614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896819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621024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4345229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5069434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5793638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3587"/>
              <a:t>CLIQUE PARA ADICIONAR </a:t>
            </a:r>
            <a:br>
              <a:rPr lang="pt-BR" sz="3587"/>
            </a:br>
            <a:r>
              <a:rPr lang="pt-BR" sz="3587"/>
              <a:t>O AUTOR / LOCAL E DATA</a:t>
            </a:r>
            <a:endParaRPr lang="pt-BR" sz="3587" dirty="0"/>
          </a:p>
        </p:txBody>
      </p:sp>
      <p:sp>
        <p:nvSpPr>
          <p:cNvPr id="6" name="Rectangle 5"/>
          <p:cNvSpPr/>
          <p:nvPr userDrawn="1"/>
        </p:nvSpPr>
        <p:spPr>
          <a:xfrm>
            <a:off x="1" y="0"/>
            <a:ext cx="20104100" cy="9223730"/>
          </a:xfrm>
          <a:prstGeom prst="rect">
            <a:avLst/>
          </a:prstGeom>
          <a:solidFill>
            <a:srgbClr val="00819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26" dirty="0"/>
          </a:p>
        </p:txBody>
      </p:sp>
      <p:pic>
        <p:nvPicPr>
          <p:cNvPr id="7" name="Picture 6" descr="Pre_Sal_Horiz_rgb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066" y="8721983"/>
            <a:ext cx="4411964" cy="3099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335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</p:sldLayoutIdLst>
  <p:txStyles>
    <p:titleStyle>
      <a:lvl1pPr algn="ctr" defTabSz="895697" rtl="0" eaLnBrk="1" latinLnBrk="0" hangingPunct="1">
        <a:spcBef>
          <a:spcPct val="0"/>
        </a:spcBef>
        <a:buNone/>
        <a:defRPr sz="86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671773" indent="-671773" algn="l" defTabSz="895697" rtl="0" eaLnBrk="1" latinLnBrk="0" hangingPunct="1">
        <a:spcBef>
          <a:spcPct val="20000"/>
        </a:spcBef>
        <a:buFont typeface="Arial"/>
        <a:buChar char="•"/>
        <a:defRPr sz="6308" kern="1200">
          <a:solidFill>
            <a:schemeClr val="tx1"/>
          </a:solidFill>
          <a:latin typeface="+mn-lt"/>
          <a:ea typeface="+mn-ea"/>
          <a:cs typeface="+mn-cs"/>
        </a:defRPr>
      </a:lvl1pPr>
      <a:lvl2pPr marL="1455507" indent="-559810" algn="l" defTabSz="895697" rtl="0" eaLnBrk="1" latinLnBrk="0" hangingPunct="1">
        <a:spcBef>
          <a:spcPct val="20000"/>
        </a:spcBef>
        <a:buFont typeface="Arial"/>
        <a:buChar char="–"/>
        <a:defRPr sz="5442" kern="1200">
          <a:solidFill>
            <a:schemeClr val="tx1"/>
          </a:solidFill>
          <a:latin typeface="+mn-lt"/>
          <a:ea typeface="+mn-ea"/>
          <a:cs typeface="+mn-cs"/>
        </a:defRPr>
      </a:lvl2pPr>
      <a:lvl3pPr marL="2239241" indent="-447848" algn="l" defTabSz="895697" rtl="0" eaLnBrk="1" latinLnBrk="0" hangingPunct="1">
        <a:spcBef>
          <a:spcPct val="20000"/>
        </a:spcBef>
        <a:buFont typeface="Arial"/>
        <a:buChar char="•"/>
        <a:defRPr sz="4700" kern="1200">
          <a:solidFill>
            <a:schemeClr val="tx1"/>
          </a:solidFill>
          <a:latin typeface="+mn-lt"/>
          <a:ea typeface="+mn-ea"/>
          <a:cs typeface="+mn-cs"/>
        </a:defRPr>
      </a:lvl3pPr>
      <a:lvl4pPr marL="3134938" indent="-447848" algn="l" defTabSz="895697" rtl="0" eaLnBrk="1" latinLnBrk="0" hangingPunct="1">
        <a:spcBef>
          <a:spcPct val="20000"/>
        </a:spcBef>
        <a:buFont typeface="Arial"/>
        <a:buChar char="–"/>
        <a:defRPr sz="3958" kern="1200">
          <a:solidFill>
            <a:schemeClr val="tx1"/>
          </a:solidFill>
          <a:latin typeface="+mn-lt"/>
          <a:ea typeface="+mn-ea"/>
          <a:cs typeface="+mn-cs"/>
        </a:defRPr>
      </a:lvl4pPr>
      <a:lvl5pPr marL="4030635" indent="-447848" algn="l" defTabSz="895697" rtl="0" eaLnBrk="1" latinLnBrk="0" hangingPunct="1">
        <a:spcBef>
          <a:spcPct val="20000"/>
        </a:spcBef>
        <a:buFont typeface="Arial"/>
        <a:buChar char="»"/>
        <a:defRPr sz="3958" kern="1200">
          <a:solidFill>
            <a:schemeClr val="tx1"/>
          </a:solidFill>
          <a:latin typeface="+mn-lt"/>
          <a:ea typeface="+mn-ea"/>
          <a:cs typeface="+mn-cs"/>
        </a:defRPr>
      </a:lvl5pPr>
      <a:lvl6pPr marL="4926330" indent="-447848" algn="l" defTabSz="895697" rtl="0" eaLnBrk="1" latinLnBrk="0" hangingPunct="1">
        <a:spcBef>
          <a:spcPct val="20000"/>
        </a:spcBef>
        <a:buFont typeface="Arial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6pPr>
      <a:lvl7pPr marL="5822027" indent="-447848" algn="l" defTabSz="895697" rtl="0" eaLnBrk="1" latinLnBrk="0" hangingPunct="1">
        <a:spcBef>
          <a:spcPct val="20000"/>
        </a:spcBef>
        <a:buFont typeface="Arial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7pPr>
      <a:lvl8pPr marL="6717724" indent="-447848" algn="l" defTabSz="895697" rtl="0" eaLnBrk="1" latinLnBrk="0" hangingPunct="1">
        <a:spcBef>
          <a:spcPct val="20000"/>
        </a:spcBef>
        <a:buFont typeface="Arial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8pPr>
      <a:lvl9pPr marL="7613420" indent="-447848" algn="l" defTabSz="895697" rtl="0" eaLnBrk="1" latinLnBrk="0" hangingPunct="1">
        <a:spcBef>
          <a:spcPct val="20000"/>
        </a:spcBef>
        <a:buFont typeface="Arial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1pPr>
      <a:lvl2pPr marL="895697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2pPr>
      <a:lvl3pPr marL="1791393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3pPr>
      <a:lvl4pPr marL="2687089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4pPr>
      <a:lvl5pPr marL="3582786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5pPr>
      <a:lvl6pPr marL="4478482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6pPr>
      <a:lvl7pPr marL="5374179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7pPr>
      <a:lvl8pPr marL="6269876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8pPr>
      <a:lvl9pPr marL="7165571" algn="l" defTabSz="895697" rtl="0" eaLnBrk="1" latinLnBrk="0" hangingPunct="1">
        <a:defRPr sz="3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 userDrawn="1"/>
        </p:nvSpPr>
        <p:spPr>
          <a:xfrm>
            <a:off x="10495319" y="2070764"/>
            <a:ext cx="8265019" cy="2552457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724205" rtl="0" eaLnBrk="1" latinLnBrk="0" hangingPunct="1">
              <a:spcBef>
                <a:spcPct val="0"/>
              </a:spcBef>
              <a:buNone/>
              <a:defRPr sz="32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sz="2978" b="0" u="none" dirty="0">
                <a:solidFill>
                  <a:srgbClr val="FFFFFF"/>
                </a:solidFill>
              </a:rPr>
              <a:t>CLICK PARA ADICIONAR O TÍTULO</a:t>
            </a:r>
          </a:p>
        </p:txBody>
      </p:sp>
      <p:sp>
        <p:nvSpPr>
          <p:cNvPr id="11" name="Subtitle 2"/>
          <p:cNvSpPr txBox="1">
            <a:spLocks/>
          </p:cNvSpPr>
          <p:nvPr userDrawn="1"/>
        </p:nvSpPr>
        <p:spPr>
          <a:xfrm>
            <a:off x="10495319" y="5000199"/>
            <a:ext cx="8265019" cy="192677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29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724205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4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448410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172614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896819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621024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4345229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5069434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5793638" indent="0" algn="ctr" defTabSz="72420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pt-BR" sz="2698" b="0" u="none"/>
              <a:t>CLIQUE PARA ADICIONAR </a:t>
            </a:r>
            <a:br>
              <a:rPr lang="pt-BR" sz="2698" b="0" u="none"/>
            </a:br>
            <a:r>
              <a:rPr lang="pt-BR" sz="2698" b="0" u="none"/>
              <a:t>O AUTOR / LOCAL E DATA</a:t>
            </a:r>
            <a:endParaRPr lang="pt-BR" sz="2698" b="0" u="none" dirty="0"/>
          </a:p>
        </p:txBody>
      </p:sp>
      <p:pic>
        <p:nvPicPr>
          <p:cNvPr id="2052" name="Picture 11" descr="151218guia_de_marca_03-01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51310" y="1"/>
            <a:ext cx="2987693" cy="16702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6" descr="Pre_Sal_Horiz_rgb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299" y="9667925"/>
            <a:ext cx="2645644" cy="1856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1962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8" r:id="rId2"/>
    <p:sldLayoutId id="2147483749" r:id="rId3"/>
    <p:sldLayoutId id="2147483750" r:id="rId4"/>
  </p:sldLayoutIdLst>
  <p:txStyles>
    <p:titleStyle>
      <a:lvl1pPr algn="ctr" defTabSz="672813" rtl="0" eaLnBrk="0" fontAlgn="base" hangingPunct="0">
        <a:spcBef>
          <a:spcPct val="0"/>
        </a:spcBef>
        <a:spcAft>
          <a:spcPct val="0"/>
        </a:spcAft>
        <a:defRPr sz="643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672813" rtl="0" eaLnBrk="0" fontAlgn="base" hangingPunct="0">
        <a:spcBef>
          <a:spcPct val="0"/>
        </a:spcBef>
        <a:spcAft>
          <a:spcPct val="0"/>
        </a:spcAft>
        <a:defRPr sz="6431">
          <a:solidFill>
            <a:schemeClr val="tx1"/>
          </a:solidFill>
          <a:latin typeface="Calibri" panose="020F0502020204030204" pitchFamily="34" charset="0"/>
        </a:defRPr>
      </a:lvl2pPr>
      <a:lvl3pPr algn="ctr" defTabSz="672813" rtl="0" eaLnBrk="0" fontAlgn="base" hangingPunct="0">
        <a:spcBef>
          <a:spcPct val="0"/>
        </a:spcBef>
        <a:spcAft>
          <a:spcPct val="0"/>
        </a:spcAft>
        <a:defRPr sz="6431">
          <a:solidFill>
            <a:schemeClr val="tx1"/>
          </a:solidFill>
          <a:latin typeface="Calibri" panose="020F0502020204030204" pitchFamily="34" charset="0"/>
        </a:defRPr>
      </a:lvl3pPr>
      <a:lvl4pPr algn="ctr" defTabSz="672813" rtl="0" eaLnBrk="0" fontAlgn="base" hangingPunct="0">
        <a:spcBef>
          <a:spcPct val="0"/>
        </a:spcBef>
        <a:spcAft>
          <a:spcPct val="0"/>
        </a:spcAft>
        <a:defRPr sz="6431">
          <a:solidFill>
            <a:schemeClr val="tx1"/>
          </a:solidFill>
          <a:latin typeface="Calibri" panose="020F0502020204030204" pitchFamily="34" charset="0"/>
        </a:defRPr>
      </a:lvl4pPr>
      <a:lvl5pPr algn="ctr" defTabSz="672813" rtl="0" eaLnBrk="0" fontAlgn="base" hangingPunct="0">
        <a:spcBef>
          <a:spcPct val="0"/>
        </a:spcBef>
        <a:spcAft>
          <a:spcPct val="0"/>
        </a:spcAft>
        <a:defRPr sz="6431">
          <a:solidFill>
            <a:schemeClr val="tx1"/>
          </a:solidFill>
          <a:latin typeface="Calibri" panose="020F0502020204030204" pitchFamily="34" charset="0"/>
        </a:defRPr>
      </a:lvl5pPr>
      <a:lvl6pPr marL="753969" algn="ctr" defTabSz="672813" rtl="0" fontAlgn="base">
        <a:spcBef>
          <a:spcPct val="0"/>
        </a:spcBef>
        <a:spcAft>
          <a:spcPct val="0"/>
        </a:spcAft>
        <a:defRPr sz="6431">
          <a:solidFill>
            <a:schemeClr val="tx1"/>
          </a:solidFill>
          <a:latin typeface="Calibri" panose="020F0502020204030204" pitchFamily="34" charset="0"/>
        </a:defRPr>
      </a:lvl6pPr>
      <a:lvl7pPr marL="1507937" algn="ctr" defTabSz="672813" rtl="0" fontAlgn="base">
        <a:spcBef>
          <a:spcPct val="0"/>
        </a:spcBef>
        <a:spcAft>
          <a:spcPct val="0"/>
        </a:spcAft>
        <a:defRPr sz="6431">
          <a:solidFill>
            <a:schemeClr val="tx1"/>
          </a:solidFill>
          <a:latin typeface="Calibri" panose="020F0502020204030204" pitchFamily="34" charset="0"/>
        </a:defRPr>
      </a:lvl7pPr>
      <a:lvl8pPr marL="2261906" algn="ctr" defTabSz="672813" rtl="0" fontAlgn="base">
        <a:spcBef>
          <a:spcPct val="0"/>
        </a:spcBef>
        <a:spcAft>
          <a:spcPct val="0"/>
        </a:spcAft>
        <a:defRPr sz="6431">
          <a:solidFill>
            <a:schemeClr val="tx1"/>
          </a:solidFill>
          <a:latin typeface="Calibri" panose="020F0502020204030204" pitchFamily="34" charset="0"/>
        </a:defRPr>
      </a:lvl8pPr>
      <a:lvl9pPr marL="3015874" algn="ctr" defTabSz="672813" rtl="0" fontAlgn="base">
        <a:spcBef>
          <a:spcPct val="0"/>
        </a:spcBef>
        <a:spcAft>
          <a:spcPct val="0"/>
        </a:spcAft>
        <a:defRPr sz="6431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505264" indent="-505264" algn="l" defTabSz="6728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617" kern="1200">
          <a:solidFill>
            <a:schemeClr val="tx1"/>
          </a:solidFill>
          <a:latin typeface="+mn-lt"/>
          <a:ea typeface="+mn-ea"/>
          <a:cs typeface="+mn-cs"/>
        </a:defRPr>
      </a:lvl1pPr>
      <a:lvl2pPr marL="1094302" indent="-418871" algn="l" defTabSz="6728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958" kern="1200">
          <a:solidFill>
            <a:schemeClr val="tx1"/>
          </a:solidFill>
          <a:latin typeface="+mn-lt"/>
          <a:ea typeface="+mn-ea"/>
          <a:cs typeface="+mn-cs"/>
        </a:defRPr>
      </a:lvl2pPr>
      <a:lvl3pPr marL="1683340" indent="-335097" algn="l" defTabSz="6728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463" kern="1200">
          <a:solidFill>
            <a:schemeClr val="tx1"/>
          </a:solidFill>
          <a:latin typeface="+mn-lt"/>
          <a:ea typeface="+mn-ea"/>
          <a:cs typeface="+mn-cs"/>
        </a:defRPr>
      </a:lvl3pPr>
      <a:lvl4pPr marL="2358770" indent="-335097" algn="l" defTabSz="6728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3031582" indent="-335097" algn="l" defTabSz="6728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3706646" indent="-336967" algn="l" defTabSz="673936" rtl="0" eaLnBrk="1" latinLnBrk="0" hangingPunct="1">
        <a:spcBef>
          <a:spcPct val="20000"/>
        </a:spcBef>
        <a:buFont typeface="Arial"/>
        <a:buChar char="•"/>
        <a:defRPr sz="2978" kern="1200">
          <a:solidFill>
            <a:schemeClr val="tx1"/>
          </a:solidFill>
          <a:latin typeface="+mn-lt"/>
          <a:ea typeface="+mn-ea"/>
          <a:cs typeface="+mn-cs"/>
        </a:defRPr>
      </a:lvl6pPr>
      <a:lvl7pPr marL="4380582" indent="-336967" algn="l" defTabSz="673936" rtl="0" eaLnBrk="1" latinLnBrk="0" hangingPunct="1">
        <a:spcBef>
          <a:spcPct val="20000"/>
        </a:spcBef>
        <a:buFont typeface="Arial"/>
        <a:buChar char="•"/>
        <a:defRPr sz="2978" kern="1200">
          <a:solidFill>
            <a:schemeClr val="tx1"/>
          </a:solidFill>
          <a:latin typeface="+mn-lt"/>
          <a:ea typeface="+mn-ea"/>
          <a:cs typeface="+mn-cs"/>
        </a:defRPr>
      </a:lvl7pPr>
      <a:lvl8pPr marL="5054518" indent="-336967" algn="l" defTabSz="673936" rtl="0" eaLnBrk="1" latinLnBrk="0" hangingPunct="1">
        <a:spcBef>
          <a:spcPct val="20000"/>
        </a:spcBef>
        <a:buFont typeface="Arial"/>
        <a:buChar char="•"/>
        <a:defRPr sz="2978" kern="1200">
          <a:solidFill>
            <a:schemeClr val="tx1"/>
          </a:solidFill>
          <a:latin typeface="+mn-lt"/>
          <a:ea typeface="+mn-ea"/>
          <a:cs typeface="+mn-cs"/>
        </a:defRPr>
      </a:lvl8pPr>
      <a:lvl9pPr marL="5728454" indent="-336967" algn="l" defTabSz="673936" rtl="0" eaLnBrk="1" latinLnBrk="0" hangingPunct="1">
        <a:spcBef>
          <a:spcPct val="20000"/>
        </a:spcBef>
        <a:buFont typeface="Arial"/>
        <a:buChar char="•"/>
        <a:defRPr sz="297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3936" rtl="0" eaLnBrk="1" latinLnBrk="0" hangingPunct="1">
        <a:defRPr sz="2698" kern="1200">
          <a:solidFill>
            <a:schemeClr val="tx1"/>
          </a:solidFill>
          <a:latin typeface="+mn-lt"/>
          <a:ea typeface="+mn-ea"/>
          <a:cs typeface="+mn-cs"/>
        </a:defRPr>
      </a:lvl1pPr>
      <a:lvl2pPr marL="673936" algn="l" defTabSz="673936" rtl="0" eaLnBrk="1" latinLnBrk="0" hangingPunct="1">
        <a:defRPr sz="2698" kern="1200">
          <a:solidFill>
            <a:schemeClr val="tx1"/>
          </a:solidFill>
          <a:latin typeface="+mn-lt"/>
          <a:ea typeface="+mn-ea"/>
          <a:cs typeface="+mn-cs"/>
        </a:defRPr>
      </a:lvl2pPr>
      <a:lvl3pPr marL="1347872" algn="l" defTabSz="673936" rtl="0" eaLnBrk="1" latinLnBrk="0" hangingPunct="1">
        <a:defRPr sz="2698" kern="1200">
          <a:solidFill>
            <a:schemeClr val="tx1"/>
          </a:solidFill>
          <a:latin typeface="+mn-lt"/>
          <a:ea typeface="+mn-ea"/>
          <a:cs typeface="+mn-cs"/>
        </a:defRPr>
      </a:lvl3pPr>
      <a:lvl4pPr marL="2021806" algn="l" defTabSz="673936" rtl="0" eaLnBrk="1" latinLnBrk="0" hangingPunct="1">
        <a:defRPr sz="2698" kern="1200">
          <a:solidFill>
            <a:schemeClr val="tx1"/>
          </a:solidFill>
          <a:latin typeface="+mn-lt"/>
          <a:ea typeface="+mn-ea"/>
          <a:cs typeface="+mn-cs"/>
        </a:defRPr>
      </a:lvl4pPr>
      <a:lvl5pPr marL="2695743" algn="l" defTabSz="673936" rtl="0" eaLnBrk="1" latinLnBrk="0" hangingPunct="1">
        <a:defRPr sz="2698" kern="1200">
          <a:solidFill>
            <a:schemeClr val="tx1"/>
          </a:solidFill>
          <a:latin typeface="+mn-lt"/>
          <a:ea typeface="+mn-ea"/>
          <a:cs typeface="+mn-cs"/>
        </a:defRPr>
      </a:lvl5pPr>
      <a:lvl6pPr marL="3369679" algn="l" defTabSz="673936" rtl="0" eaLnBrk="1" latinLnBrk="0" hangingPunct="1">
        <a:defRPr sz="2698" kern="1200">
          <a:solidFill>
            <a:schemeClr val="tx1"/>
          </a:solidFill>
          <a:latin typeface="+mn-lt"/>
          <a:ea typeface="+mn-ea"/>
          <a:cs typeface="+mn-cs"/>
        </a:defRPr>
      </a:lvl6pPr>
      <a:lvl7pPr marL="4043615" algn="l" defTabSz="673936" rtl="0" eaLnBrk="1" latinLnBrk="0" hangingPunct="1">
        <a:defRPr sz="2698" kern="1200">
          <a:solidFill>
            <a:schemeClr val="tx1"/>
          </a:solidFill>
          <a:latin typeface="+mn-lt"/>
          <a:ea typeface="+mn-ea"/>
          <a:cs typeface="+mn-cs"/>
        </a:defRPr>
      </a:lvl7pPr>
      <a:lvl8pPr marL="4717551" algn="l" defTabSz="673936" rtl="0" eaLnBrk="1" latinLnBrk="0" hangingPunct="1">
        <a:defRPr sz="2698" kern="1200">
          <a:solidFill>
            <a:schemeClr val="tx1"/>
          </a:solidFill>
          <a:latin typeface="+mn-lt"/>
          <a:ea typeface="+mn-ea"/>
          <a:cs typeface="+mn-cs"/>
        </a:defRPr>
      </a:lvl8pPr>
      <a:lvl9pPr marL="5391485" algn="l" defTabSz="673936" rtl="0" eaLnBrk="1" latinLnBrk="0" hangingPunct="1">
        <a:defRPr sz="26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295"/>
          <a:stretch/>
        </p:blipFill>
        <p:spPr>
          <a:xfrm>
            <a:off x="0" y="9759130"/>
            <a:ext cx="20104100" cy="1549821"/>
          </a:xfrm>
          <a:prstGeom prst="rect">
            <a:avLst/>
          </a:prstGeom>
        </p:spPr>
      </p:pic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4805C3C9-29C5-42B2-B328-10F5F65694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5121" y="2987675"/>
            <a:ext cx="13127231" cy="21859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dirty="0"/>
              <a:t>Slides de capa </a:t>
            </a:r>
            <a:br>
              <a:rPr lang="pt-BR" dirty="0"/>
            </a:br>
            <a:r>
              <a:rPr lang="pt-BR" dirty="0"/>
              <a:t>e transição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9F218A14-F91F-4E10-88E5-21E3BDE5FF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505121" y="5655692"/>
            <a:ext cx="13127231" cy="17508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pt-BR" dirty="0"/>
              <a:t>Editar estilos de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1C612C18-C146-4746-8865-8016F6EC6E2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-1073149" y="601916"/>
            <a:ext cx="720000" cy="687912"/>
          </a:xfrm>
          <a:prstGeom prst="rect">
            <a:avLst/>
          </a:prstGeom>
        </p:spPr>
      </p:pic>
      <p:pic>
        <p:nvPicPr>
          <p:cNvPr id="12" name="Gráfico 11">
            <a:extLst>
              <a:ext uri="{FF2B5EF4-FFF2-40B4-BE49-F238E27FC236}">
                <a16:creationId xmlns:a16="http://schemas.microsoft.com/office/drawing/2014/main" id="{7F4E877E-AABB-4849-9718-5B5EF9E3752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-1073149" y="2285976"/>
            <a:ext cx="720000" cy="687912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F4D62D5D-5B13-49C2-9BBF-CAD4E541AFF9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-1073149" y="3128006"/>
            <a:ext cx="720000" cy="687912"/>
          </a:xfrm>
          <a:prstGeom prst="rect">
            <a:avLst/>
          </a:prstGeom>
        </p:spPr>
      </p:pic>
      <p:pic>
        <p:nvPicPr>
          <p:cNvPr id="14" name="Gráfico 13">
            <a:extLst>
              <a:ext uri="{FF2B5EF4-FFF2-40B4-BE49-F238E27FC236}">
                <a16:creationId xmlns:a16="http://schemas.microsoft.com/office/drawing/2014/main" id="{65ABDF1C-B4BB-4967-9AA2-20F00246189C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-1073149" y="3970036"/>
            <a:ext cx="720000" cy="687912"/>
          </a:xfrm>
          <a:prstGeom prst="rect">
            <a:avLst/>
          </a:prstGeom>
        </p:spPr>
      </p:pic>
      <p:pic>
        <p:nvPicPr>
          <p:cNvPr id="15" name="Gráfico 14">
            <a:extLst>
              <a:ext uri="{FF2B5EF4-FFF2-40B4-BE49-F238E27FC236}">
                <a16:creationId xmlns:a16="http://schemas.microsoft.com/office/drawing/2014/main" id="{8E34F2B1-0AA4-460E-90D3-2A5739BCBFDF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-1073149" y="4812068"/>
            <a:ext cx="720000" cy="687912"/>
          </a:xfrm>
          <a:prstGeom prst="rect">
            <a:avLst/>
          </a:prstGeom>
        </p:spPr>
      </p:pic>
      <p:pic>
        <p:nvPicPr>
          <p:cNvPr id="16" name="Gráfico 15">
            <a:extLst>
              <a:ext uri="{FF2B5EF4-FFF2-40B4-BE49-F238E27FC236}">
                <a16:creationId xmlns:a16="http://schemas.microsoft.com/office/drawing/2014/main" id="{5BDDCDAD-B122-4CA3-9364-08688C9F3645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-1073149" y="1443946"/>
            <a:ext cx="720000" cy="687912"/>
          </a:xfrm>
          <a:prstGeom prst="rect">
            <a:avLst/>
          </a:prstGeom>
        </p:spPr>
      </p:pic>
      <p:sp>
        <p:nvSpPr>
          <p:cNvPr id="17" name="Espaço Reservado para Rodapé 2">
            <a:extLst>
              <a:ext uri="{FF2B5EF4-FFF2-40B4-BE49-F238E27FC236}">
                <a16:creationId xmlns:a16="http://schemas.microsoft.com/office/drawing/2014/main" id="{C8144244-26F6-4A5B-8AA1-1453FB173C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67797" y="10638671"/>
            <a:ext cx="6784975" cy="601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600" b="0" cap="all" spc="-3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465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</p:sldLayoutIdLst>
  <p:txStyles>
    <p:titleStyle>
      <a:lvl1pPr eaLnBrk="1" hangingPunct="1">
        <a:lnSpc>
          <a:spcPct val="85000"/>
        </a:lnSpc>
        <a:defRPr sz="12350" b="1" i="0" u="none" cap="all" spc="-30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eaLnBrk="1" hangingPunct="1">
        <a:lnSpc>
          <a:spcPct val="100000"/>
        </a:lnSpc>
        <a:spcBef>
          <a:spcPts val="1200"/>
        </a:spcBef>
        <a:defRPr sz="2400" b="1" i="0" u="none">
          <a:latin typeface="+mn-lt"/>
          <a:ea typeface="+mn-ea"/>
          <a:cs typeface="+mn-cs"/>
        </a:defRPr>
      </a:lvl1pPr>
      <a:lvl2pPr marL="457200" eaLnBrk="1" hangingPunct="1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2pPr>
      <a:lvl3pPr marL="914400" eaLnBrk="1" hangingPunct="1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3pPr>
      <a:lvl4pPr marL="1371600" eaLnBrk="1" hangingPunct="1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4pPr>
      <a:lvl5pPr marL="1828800" eaLnBrk="1" hangingPunct="1">
        <a:lnSpc>
          <a:spcPct val="100000"/>
        </a:lnSpc>
        <a:spcBef>
          <a:spcPts val="1200"/>
        </a:spcBef>
        <a:defRPr sz="2400"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12">
          <p15:clr>
            <a:srgbClr val="F26B43"/>
          </p15:clr>
        </p15:guide>
        <p15:guide id="2" pos="11852">
          <p15:clr>
            <a:srgbClr val="F26B43"/>
          </p15:clr>
        </p15:guide>
        <p15:guide id="3" orient="horz" pos="5962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382713" y="601663"/>
            <a:ext cx="17338675" cy="21859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382713" y="3009900"/>
            <a:ext cx="17338675" cy="7177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1382713" y="10482263"/>
            <a:ext cx="4522787" cy="601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2FA4E0-F455-48C0-9627-0190E66C93E8}" type="datetimeFigureOut">
              <a:rPr lang="pt-BR" smtClean="0"/>
              <a:t>21/03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6659563" y="10482263"/>
            <a:ext cx="6784975" cy="601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4198600" y="10482263"/>
            <a:ext cx="4522788" cy="601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EAB94E-4847-4BC3-A14B-C424AFE5E129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4396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Imagem 30" descr="Uma imagem contendo água, navio, céu, ao ar livre&#10;&#10;Descrição gerada automaticamente">
            <a:extLst>
              <a:ext uri="{FF2B5EF4-FFF2-40B4-BE49-F238E27FC236}">
                <a16:creationId xmlns:a16="http://schemas.microsoft.com/office/drawing/2014/main" id="{77859EC2-4B09-4DC2-BBE1-7622E9E9D1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875"/>
            <a:ext cx="20104100" cy="11308557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-1" y="4505342"/>
            <a:ext cx="5335905" cy="6803390"/>
          </a:xfrm>
          <a:custGeom>
            <a:avLst/>
            <a:gdLst/>
            <a:ahLst/>
            <a:cxnLst/>
            <a:rect l="l" t="t" r="r" b="b"/>
            <a:pathLst>
              <a:path w="5335905" h="6803390">
                <a:moveTo>
                  <a:pt x="0" y="0"/>
                </a:moveTo>
                <a:lnTo>
                  <a:pt x="0" y="6803216"/>
                </a:lnTo>
                <a:lnTo>
                  <a:pt x="5335837" y="6803216"/>
                </a:lnTo>
                <a:lnTo>
                  <a:pt x="5335837" y="3183934"/>
                </a:lnTo>
                <a:lnTo>
                  <a:pt x="5331269" y="3140538"/>
                </a:lnTo>
                <a:lnTo>
                  <a:pt x="5319643" y="3095786"/>
                </a:lnTo>
                <a:lnTo>
                  <a:pt x="5301626" y="3050726"/>
                </a:lnTo>
                <a:lnTo>
                  <a:pt x="5277884" y="3006404"/>
                </a:lnTo>
                <a:lnTo>
                  <a:pt x="5249086" y="2963867"/>
                </a:lnTo>
                <a:lnTo>
                  <a:pt x="5248573" y="2963867"/>
                </a:lnTo>
                <a:lnTo>
                  <a:pt x="5249044" y="2963773"/>
                </a:lnTo>
                <a:lnTo>
                  <a:pt x="5219199" y="2927760"/>
                </a:lnTo>
                <a:lnTo>
                  <a:pt x="5186352" y="2894879"/>
                </a:lnTo>
                <a:lnTo>
                  <a:pt x="5150957" y="2865985"/>
                </a:lnTo>
                <a:lnTo>
                  <a:pt x="5113467" y="284193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901F7B49-C50C-4751-8CBF-4B93A8FF75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6600" dirty="0">
                <a:solidFill>
                  <a:prstClr val="white"/>
                </a:solidFill>
              </a:rPr>
              <a:t>Relatório dos RESULTADOS do planejamento Estratégico 2022-2026</a:t>
            </a:r>
            <a:br>
              <a:rPr lang="pt-BR" sz="9600" dirty="0">
                <a:solidFill>
                  <a:prstClr val="white"/>
                </a:solidFill>
              </a:rPr>
            </a:br>
            <a:endParaRPr lang="pt-BR" dirty="0"/>
          </a:p>
        </p:txBody>
      </p:sp>
      <p:pic>
        <p:nvPicPr>
          <p:cNvPr id="34" name="Imagem 33">
            <a:extLst>
              <a:ext uri="{FF2B5EF4-FFF2-40B4-BE49-F238E27FC236}">
                <a16:creationId xmlns:a16="http://schemas.microsoft.com/office/drawing/2014/main" id="{3C86A43B-DF0C-4635-B4BF-7EEFAA4059C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498" r="81080"/>
          <a:stretch/>
        </p:blipFill>
        <p:spPr>
          <a:xfrm>
            <a:off x="0" y="7407275"/>
            <a:ext cx="3803650" cy="3901678"/>
          </a:xfrm>
          <a:prstGeom prst="rect">
            <a:avLst/>
          </a:prstGeom>
        </p:spPr>
      </p:pic>
      <p:sp>
        <p:nvSpPr>
          <p:cNvPr id="10" name="object 28">
            <a:extLst>
              <a:ext uri="{FF2B5EF4-FFF2-40B4-BE49-F238E27FC236}">
                <a16:creationId xmlns:a16="http://schemas.microsoft.com/office/drawing/2014/main" id="{E7C25B17-F181-4978-8F5F-212A99E1AE3F}"/>
              </a:ext>
            </a:extLst>
          </p:cNvPr>
          <p:cNvSpPr/>
          <p:nvPr/>
        </p:nvSpPr>
        <p:spPr>
          <a:xfrm>
            <a:off x="7963818" y="2846363"/>
            <a:ext cx="72008" cy="3085476"/>
          </a:xfrm>
          <a:custGeom>
            <a:avLst/>
            <a:gdLst/>
            <a:ahLst/>
            <a:cxnLst/>
            <a:rect l="l" t="t" r="r" b="b"/>
            <a:pathLst>
              <a:path h="2795904">
                <a:moveTo>
                  <a:pt x="0" y="0"/>
                </a:moveTo>
                <a:lnTo>
                  <a:pt x="0" y="2795726"/>
                </a:lnTo>
              </a:path>
            </a:pathLst>
          </a:custGeom>
          <a:ln w="62825">
            <a:solidFill>
              <a:srgbClr val="EBDE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/>
          <p:cNvSpPr txBox="1">
            <a:spLocks/>
          </p:cNvSpPr>
          <p:nvPr/>
        </p:nvSpPr>
        <p:spPr>
          <a:xfrm>
            <a:off x="304800" y="225361"/>
            <a:ext cx="18154733" cy="2058256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600" b="1" i="0" u="none" strike="noStrike" kern="1200" cap="none" spc="-75" normalizeH="0" baseline="0" noProof="0" dirty="0">
                <a:ln>
                  <a:noFill/>
                </a:ln>
                <a:solidFill>
                  <a:srgbClr val="2C4272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Curva da implantação física do PE 22-26</a:t>
            </a: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600" b="1" i="0" u="none" strike="noStrike" kern="1200" cap="none" spc="-75" normalizeH="0" baseline="0" noProof="0" dirty="0">
              <a:ln>
                <a:noFill/>
              </a:ln>
              <a:solidFill>
                <a:srgbClr val="2C4272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</p:txBody>
      </p:sp>
      <p:sp>
        <p:nvSpPr>
          <p:cNvPr id="5" name="AutoShape 1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5/z418Mk19Frl+ypvSkp0WA9WLR0rP01I0sCXpatPQsPXUjS4KeFi09S0/dyJKgp0VLz/r21M8o0MbTT3/6U/nUpz4Vze5Pf/qT3HrrrdG+T5mv1J+3tbXf5cJX9wK+C9fneMt//7qs3X4wmvyZp1XKgq/Wyjl9eha0HHzOz02E4yW7nPSkp0WA9WLR0rP01I0sCXpatPQsPXUjS4KeFi09S0/dyJKgp0VLz9JTN7IkfHtazi1btmTveLJMnI0nXct34foab/v+o7Lo6T1pgFlfGCBX1fXVQWImfM0vdZocL+aCdTqcnvS0CLBeLFp6lp66kSVBT4uWnqWnbmRJ0NOipWfpqRtZEvS0aOlZeupGloRvT8u5BdN4WrVqlezduxea+6BBg2TKlClQ1ndo9uzZ0tjYGA07dOhQaWpqSp+Cm+PUqVPT/7xz506pra0V9w1+Luteixcv7vBNfnV1dfLoo4+mv+3PMh/fhetjvPc+PC5zf9EsB4+2RhSjhpwlt18z0MKSdxaZ38Hvfcb0+dU/+F/d5pHxTIMpYY6XpCbvWEtWk570tAnw55nNS0vTUxOyvU9Pm5eWpqcmZHufnjYvLU1PTcj2Pj1tXoVOl+QdT4VG8fH5bkN0tznz0qVLo+EmTpwYNZbcP6c2S081m5YsWSLLli2LGlOuWTV27NiomeY2WU/dzeX+fPDgwR0aUZZ5hHhhPvjbffLCrnfaGY4dkWX/18joUTsfL8STjSd8JRBP/NP0JMfTjSwJelq09Cw9dSNLgp4WLT1LT93IkqCnRUvP0lM3siToadHSs/TUjSwJelq0Cp9l46nwxtAIrrm0YcMGWbt2rbj/vXv37nRTyn1A6pv87r33Xpk3b150V5O7w8k1o9zdUe5OJ3dsvq/QLsznmg5L47P70xwn/vBzWfGTBfnymI9DPNl4wlkRT/zT9CTH040sCXpatPQsPXUjS4KeFi09S0/dyJKgp0VLz9JTN7Ik6GnR0rP01I0sCXpatAqfZeOp8MbQCO6OJfdydzy5u5/GjRvX5TE613TatGlTlzueMu98ggbLEgrpwnzrSKs0PNEs7lE795o4vFrWPPid6A4zXy/Ek40nfDUQT/zT9CTH040sCXpatPQsPXUjS4KeFi09S0/dyJKgp0VLz9JTN7Ik6GnR0rP01I0sCXpatAqfZeOp8MbqCKl9m1KP1uVqPI0aNSq9x9PKlSujO53cHVDTp08Xd/ysWbM63CmlDv7fgVAuzOMn2mTR03tlx9+ORjMbWHW6zL+hVr71zZvYeEKLAciFUi/dTZXzA4rAEKGnAQuI0hNAMkToacACovQEkAwRehqwgCg9ASRDhJ4GLCBKTwDJEKGnActDlI0nD8jaEO6ROXc3U2oT9FyNp8yN0t0jeZmv+vr66PG79evXR/tFWV7uwgzhVXHR56Vi6DXtU2k7ISe2PiLy7htFObV/rfuz6bz+uenvTHmGKUABClCAAhSgAAUoQAEKUCBMAZ9P9MQVZOMprmDM412jaMaMGR0eq8t87C718e5xutQdUe7P3Abkrlnl9nXK3HDcNa1Se0BZTi2EjvCelg/ke7/cJe6uJ/eaevl5MunSmuh/F+P8+KgdXqHFuH742etJzk83siToadHSs/TUjSwJelq09Cw9dSNLgp4WLT1LT93IkqCnRUvP0lM3siRC97RYZMuy8RRXMMbx2ZpOqabSmDFj0o2mzG+1Sw2X2YhK3fkU944nnx3TpC/M1uNtcs+TzbLv0LGIaNgFvWXudYOkskcFG08xarS7Q5NeP+0UOZ4mZHufnjYvLU1PTcj2Pj1tXlqanpqQ7X162ry0ND01Idv79LR5aWl6akK29+lp89LSvj2189HeZ+NJEyrQ++6b6KZOndrl01N3Nblm0pw5c9Lvt7W138XjXu6uJrenU+Zjd64R5V7lusfT8t+/Lmu3H4wMzjytUhZ8tVbO6dMzbeb7wkTG4x1P+MWFeOKfpic5nm5kSdDToqVn6akbWRL0tGjpWXrqRpYEPS1aepaeupElQU+Llp6lp25kSdDTolX4LBtPhTcuiRFK+cLcvv+oLHp6T9p51hcGyFV1fTu4F+P82HjCL41iXD/87PUk56cbWRL0tGjpWXrqRpYEPS1aepaeupElQU+Llp6lp25kSdDToqVn6akbWRKhe1ossmXZeIorGMjxpXqhvPfhcZn7i2Y5eLQ1WolRQ86S268Z2GVVinF+bDzhF08xrh9+9nqS89ONLAl6WrT0LD11I0uCnhYtPUtP3ciSoKdFS8/SUzeyJOhp0dKz9NSNLInQPS0WbDzF1Qr4+FK9UB787T55Ydc70cpU9+4pi75WGz1q1/lVjPNj4wm/oIpx/fCz15Ocn25kSdDToqVn6akbWRL0tGjpWXrqRpYEPS1aepaeupElQU+Llp6lp25kSYTuabFg4ymuVsDHl+KF8lzTYWl8dn96VeZed5EMH9A76yoh8/PdCPI9XpLli3hyPFyAnrgVkqQnooRn6IlbIUl6Ikp4hp64FZKkJ6KEZ+iJWyFJeiJKeIaeuBWSDN0TMciV4aN2cQUDOb7ULpS3jrRKwxPN4h61c6+Jw6tl2hXnd7sayPx8N4J8j5dkqSKeHA8XoCduhSTpiSjhGXriVkiSnogSnqEnboUk6Yko4Rl64lZIkp6IEp6hJ26FJEP3RAzYeIqrVAbHl9KFcvxEmyx6eq/s+NvRaGUGVp0u82+olZ6V7d/sl+2FzM93I8j3eEmWMeLJ8XABeuJWSJKeiBKeoSduhSTpiSjhGXriVkiSnogSnqEnboUk6Yko4Rl64lZIMnRPxCBXhnc8xRUM5PhSulCe+mOLrHz+jUi+skeF/OArQ+Siml45VwKZn+9GkO/xkixVxJPj4QL0xK2QJD0RJTxDT9wKSdITUcIz9MStkCQ9ESU8Q0/cCknSE1HCM/TErZBk6J6IARtPcZXK4PhSuVD2tHwg3/vlLnF3PbnX1MvPk0mX1qgrhMzPdyPI93gqkiGAeBo+To1yPJXIFKCniUsN01MlMgXoaeJSw/RUiUwBepq41DA9VSJTgJ4mLjVMT5XIFKCniUsN+/ZUT0gJ8I6nuIKBHO+7cLONd8eqv8iBd1vzFu338Z7ywJRPZD0emZ/vRpDv8fKGzXIg4snxcAF64lZIkp6IEp6hJ26FJOmJKOEZeuJWSJKeiBKeoSduhSTpiSjhGXriVkgydE/EIFeGjae4goEcXwwXyrSHX4mtufyWS9h4iq2of0Ax1It+lvknOL/87bIdSU96WgRYLxYtPUtP3ciSoKdFS8/SUzeyJOhp0dKz9NSNLAl6WrT0rG9P/YxyJ9h4iisYyPG+CzfbeDN/9qocPdb+LXX5vHqfXikPffPirIci8/N9B5Lv8fIx7e4YxJPj4QL0xK2QJD0RJTxDT9wKSdITUcIz9MStkCQ9ESU8Q0/cCknSE1HCM/TErZBk6J6IQa4MG09xBQM5vpgvlDfe+VAanmiWD1pPRNpjP3m2zBjb3ySPzM93I8j3eCYwJYx4cjxcgJ64FZKkJ6KEZ+iJWyFJeiJKeIaeuBWSpCeihGfoiVshSXoiSniGnrgVkgzdEzFg4ymuUhkcX6wXims2ff9Xu2TfoWPRKrhvr7vnS4OlV88eplVB5ue7EeR7PBMYG0+yYsWKJMlyfhZSn0meDMdLUlOEnvS0CLBeLFp6lp66kSVBT4uWnqWnbmRJ0NOipWfpqRtZEqF7WiyyZXnHU1zBQI4v1gul8dn98lzT4Uj5zNMqZf4NQ+S8s04zqyPz890I8j2eGS3HAYgnx8MF6IlbIUl6Ikp4hp64FZKkJ6KEZ+iJWyFJeiJKeIaeuBWSpCeihGfoiVshydA9EYNcGTae4goGcnwxXijPvHJQ/v13r6eF7xx/oVw2qE9e4sj8fDeCfI+XF1w3ByGeHA8XoCduhSTpiSjhGXriVkiSnogSnqEnboUk6Yko4Rl64lZIkp6IEp6hJ26FJEP3RAzYeIqrVAbHF9uF0vTm+zL/N7vl+Im2SP+Gy/rJjZ89N++VQObnuxHke7y88bIciHhyPFyAnrgVkqQnooRn6IlbIUl6Ikp4hp64FZKkJ6KEZ+iJWyFJeiJKeIaeuBWSDN0TMWDjKa5SGRxfTBfK4fc/knue3CUHj7ZG8sMH9JbvThgklT0q8l4JZH6+G0G+x8sbj42nJOmyfhZSn0meBMdLUpN7PCWrSU962gT488zmpaXpqQnZ3qenzUtL01MTsr1PT5uXlg7dU5u/9j4ftdOEyuT9YrlQ3B1OP1q3V7bvPxrJV/fuKQu+Wit9elXGWglkfr4bQb7HiwXY6WDEk+PhAvTErZAkPRElPENP3ApJ0hNRwjP0xK2QJD0RJTxDT9wKSdITUcIz9MStkGTonohBrgwbT3EFAzm+WC6U1VvflF+/fCBSdXc4ff/Lg2VIvzNiKyPz890I8j1ebMSMD0A8OR4uQE/cCknSE1HCM/TErZAkPRElPENP3ApJ0hNRwjP0xK2QJD0RJTxDT9wKSYbuiRiw8RRXqQyOL4YL5cU9R+T+Z/6a1v72VRfINcOqEtFH5ue7EeR7vEQg//tDEE+OhwvQE7dCkvRElPAMPXErJElPRAnP0BO3QpL0RJTwDD1xKyRJT0QJz9ATt0KSoXsiBmw8xVUqg+NP9YXyxjsfSsMTzfJB64lIe+wnz5YZY/snJo/Mz3cjyPd4iWEK92BJ0tJ9FlKfSY7J8ZLU5Polq0lPetoE+PPM5qWl6akJ2d6np81LS9NTE7K9T0+bl5YO3VObv/Y+H7XThMrk/VN5obhm0/d/tUv2HToWaV9U00vu+dJg6dWzR2L6yPx8N4J8j5cYJhslSVJGn4XUZ5KDcrwkNbl+yWrSk542Af48s3lpaXpqQrb36Wnz0tL01IRs79PT5qWlQ/fU5q+9z8aTJlQm75/KC6Xx2f3yXNPhSPrM0ypl/g1D5LyzTktUHpmf70aQ7/GSBEU8OR4uQE/cCknSE1HCM/TErZAkPRElPENP3ApJ0hNRwjP0xK2QJD0RJTxDT9wKSYbuiRjkyrDxFFcwkONP1YXyzCsH5d9/93pa8c7xF8plg/okrorMz3cjyPd4SaIinhwPF6AnboUk6Yko4Rl64lZIkp6IEp6hJ26FJOmJKOEZeuJWSJKeiBKeoSduhSRD90QM2HiKq1QGx5+KC+UHDzwi83+zW46faIuEb7isn9z42XMLoo3Mz3cjyPd4ScIinhwPF6AnboUk6Yko4Rl64lZIkp6IEp6hJ26FJOmJKOEZeuJWSJKeiBKeoSduhSRD90QM2HiKq1QGx/u+UG769gypGf9dOXi0NdIdPqC3fHfCIKnsUVEQbWR+vhtBvsdLEhbx5Hi4AD1xKyRJT0QJz9ATt0KS9ESU8Aw9cSskSU9ECc/QE7dCkvRElPAMPXErJBm6J2LAxlNcpTI43ueF4u5w+taP14hUDYlkq3v3lAVfrZU+vSoLJo3Mz3cjyPd4SeIinhwPF6AnboUk6Yko4Rl64lZIkp6IEp6hJ26FJOmJKOEZeuJWSJKeiBKeoSduhSRD90QM2HiKq1QGx/u8UFZvfVN+/fKBSNXd4fT9Lw+WIf3OKKgyMj/fjSDf4yUJjHhyPFyAnrgVkqQnooRn6IlbIUl6Ikp4hp64FZKkJ6KEZ+iJWyFJeiJKeIaeuBWSDN0TMWDjKa5SGRzv60J5cc8Ruf+Zv6ZFv33VBXLNsKqCCyPz890I8j1eksiIJ8fDBeiJWyFJeiJKeIaeuBWSpCeihGfoiVshSXoiSniGnrgVkqQnooRn6IlbIcnQPREDNp7iKpXB8T4ulDfe+VAanmiWD1pPRKJjP3m2zBjbv1td342Z0MdLsox91Evm+XK8JFdPhJ70tAiwXixaepaeupElQU+Llp6lp25kSdDToqVn6akbWRL0tGjp2dA9dYHciQr3amtra/9aMb7KVqDQF4prNn3/V7tk36Fj7cbvviEP3/b30qtnDzaewKqr/sH/6jZZ6PXrPDDHAxcNjNEThAJj9AShwBg9QSgwRk8QCozRE4QCY/QEocAYPUEoMEZPEAqM0ROEAmOhe4IM3cbYeIorGMjxhb5QGp/dL881HY60zjytUt79nw/Kikd+klMv9DuQfM8vyVItdL2w0ZXkanX9LK5fsr70pKdFgPVi0dKz9NSNLAl6WrT0LD11I0uCnhYtPUtP3ciSCN3TYpEty8ZTXMFAji/khfLMKwfl33/3elrqzvEXyo/mzpQVK1aw8WSoH97xlLteDJRqtJDXQ7bBOZ66JKYAPU1capieKpEpQE8Tlxqmp0pkCtDTxKWG6akSmQL0NHGpYXqqRKZA6J4mjCxhNp7iCgZyfKEulKY335f5v9ktx0+0P815w2X95MbPngvtMeP7jqDQx0uyVAtVL92dI8dLcvW4x1OymvSkp02AP89sXlqanpqQ7X162ry0ND01Idv79LR5aWl6akK290P3tGl0TbPxFFcwkOMLcaEcfv8juefJXXLwaGukNHxAb/nuhEFS2aOCjScR8d3oSrJUC1Evuc6P4yW5emyUJKtJT3raBPjzzOalpempCdnep6fNS0vTUxOyvU9Pm5eWpqcmZHs/dE+bBhtPcb0SP3727NnS2NgomzdvltGjR6c/f9WqVTJ16tT0P+/cuVNqa2ulublZhg4dGv354sWLpb6+Pp2pq6uTRx99tMPnoCec9IXi7nD60bq9sn3/0egUqnv3lAVfrZU+vSqjf0bG892YCX08tBaQHLJ+yOegGY6HSmE5emJOaIqeqBSWoyfmhKboiUphOXpiTmiKnqgUlqMn5oSm6IlKYTl6Yk5oyrcnel7d5XjHU1zBGMdXVFTIypUrowZTZuNpy5YtMmbMGEk1m5YsWSLLli2TpqYmcY2qsWPHypQpU8Qdn/pCQvfngwcP7tCIspxa0oW7euub8uuXD0Sn4O5w+v6XB8uQfmekTwkZL/RGkO/5WepByyLrp32G5X2OZ9HSs/TUjSwJelq09Cw9dSNLgp4WLT1LT93IkqCnRUvP0lM3siToadHSs/TUjSwJ356Wc8uWZeMprmACx7sGUmbjyTWadu/eLUuXLk1/eipz7733yrx586K7mtwdTq4Z5e6Ocnc6rV27Nu+zSbJwX9xzRO5/5q/pc/n2VRfINcOqOpwbMp7vxkzo4+VdHFkORNaP4+EC9MStkCQ9ESU8Q0/cCknSE1HCM/TErZAkPRElPENP3ApJ0hNRwjP0xK2QZOieiEGuDBtPcQUTOL5z42nixIkybty4Lo/RuabTpk2butzxlHnnU76nk9SF8sY7H0rDE83yQeuJ6FTGfvJsmTG2f5fTQsYLvRHke3751ka245D143i4AD1xKyRJT0QJz9ATt0KS9ESU8Aw9cSskSU9ECc/QE7dCkvRElPAMPXErJBm6J2LAxlNcpQIfb2k8jRo1Kr3Hk3tMz93p5O6Amj59evRo3qxZszrcKYWeehIXims2ff9Xu2TfoWPRsBfV9JJ7vjRYevXswcZTloVg4wmtTmxPMPzT9GQS14M+yskEx7No6Vl66kaWBD0tWnqWnrqRJUFPi5aepaduZEnQ06KlZ+mpG1kS9LRo6dnQPXWB3Ane8RRXMIHjLY0nt7dT6uUeyct8uY3G3eN369evjzYit7zchRL3VXHJV6Ti/EvbP+ajY3Ji68Mi7x/K+2P/te7PpmP/uenvTPnO4dDHi4XDgylAAQpQgAIUoAAFKEABClCgaARWrFhRNOeinQgbT5qQh/c7N57cRuHu1XmPp9Rm4+49twG5e/TO7euUueG4e0wvtQeU5dTjdmifeeWg/PvvXk8Peef4C+WyQX26PQVkPN93BIU+nqUetCyyftpnWN7neBYtPUtP3ciSoKdFS8/SUzeyJOhp0dKz9NSNLAl6WrT0LD11I0uCnhYtPUtP3ciS8O1pObdsWTae4gomcHznxlOub7VLDeeOyfzWO/fnce94yrdj2vTm+zL/N7vl+Im26PRuuKyf3PjZc3PKIBdK6I0g3/NLoFTTH4GsH8fDBeiJWyFJeiJKeIaeuBWSpCeihGfoiVshSXoiSniGnrgVkqQnooRn6IlbIcnQPRGDXBk2nuIK5nl8c3Nzeq+mzI/IbCbNmTMn/VZbW3tTx73cXU1uT6fMx+5cI8q9fO/xdPj9j+SeJ3fJwaOt0fjDB/SW704YJJU92s+nuxdyYfpuzIQ+Xp6lmvUwZP04Hi5AT9wKSdITUcIz9MStkCQ9ESU8Q0/cCknSE1HCM/TErZAkPRElPENP3ApJhu6JGOTKsPEUVzCQ47NdKHes+osceLe9oZTPq9/He8oDUz6Rd+Mi9EaQ7/nls4bdHRP6D1bOL8lq4ebwyWrSk542Af48s3lpaXpqQrb36Wnz0tL01IRs79PT5qWl6akJ2d737Wk7u65pNp7iCgZyfLbCnfbwK7Fnt/yWS9h46kaRjSe8vHz/YOV4+NogSXoiSniGnrgVkqQnooRn6IlbIUl6Ikp4hp64FZKkJ6KEZ+iJWyFJeiJK/jJsPPmzLuqRsl2YM3/2qhw9djzv8+59eqU89M2L2Xhi4ynvGkodyH9xxCbs8AH0pKdFgPVi0dKz9NSNLAl6WrT0LD11I0uCnhYtPUtP3ciSoKdFS8+G7qkL5E6w8RRXMJDj87lQ3DfZPbbtLRn/qSp1M/HOTMh4vu8ICn28JEsVWT+OhwvQE7dCkvRElPAMPXErJElPRAnP0BO3QpL0RJTwDD1xKyRJT0QJz9ATt0KSoXsiBrkybDzFFQzk+GK8UEJvBPmeX5KlWoz1wvnhAlw/3ApJ0hNRwjP0xK2QJD0RJTyhrr9XAAAgAElEQVR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L8YLJfRGkO/5JVnGxVgvnB8uwPXDrZAkPRElPENP3ApJ0hNRwjP0xK2QJD0RJTxDT9wKSdITUcIz9MStkKRvT+Sc2HiKq1QGx/suXGQ8342Z0MdLsoyR9eN4uAA9cSskSU9ECc/QE7dCkvRElPAMPXErJElPRAnP0BO3QpL0RJTwDD1xKyQZuidiwMZTXKUyOL4YL5TQG0G+55dkGRdjvXB+uADXD7dCkvRElPAMPXErJElPRAnP0BO3QpL0RJTwDD1xKyRJT0QJz9ATt0KSvj2Rc2LjKa5SGRzvu3CR8Xw3ZkIfL8kyRtaP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+kUHL9lyxYZM2ZMeuTNmzfL6NGjo3+uqKiI/v+sWbNk6dKl6czEiRNl+vTpMmXKFPMZIxdK6I2Z0OdnLoocByD1wvFwAXriVkiSnogSnqEnboUk6Yko4Rl64lZIkp6IEp6hJ26FJOmJKOEZeuJWSDJ0T8QgV6bCvdra2trifhCPT06gublZhg4dKqlm06pVq2Tq1KnilmnJkiXRQPX19VJXVyfr16+X2tra6M93797doRFlOSPkQgm9MRP6/Cz1oGWRetE+w/I+x7No6Vl66kaWBD0tWnqWnrqRJUFPi5aepaduZEnQ06KlZ+mpG1kS9LRo6Vl66kaWhG9Py7lly7LxFFewAMe7RtOjjz4qa9euTX+6azLde++9smnTJhk7dmx0V5O7w8nd8fTaa69Fdzo1NTXlfTZI4YbemAl9fnkXR5YDkXrheLgAPXErJElPRAnP0BO3QpL0RJTwDD1xKyRJT0QJz9ATt0KS9ESU8Aw9cSskGbonYpArw8ZTXMECHD979uzoUzs/Rjdu3Lj0aJl3PI0fPz5951O+p4NcKKE3ZkKfX761ke04pF44Hi5AT9wKSdITUcIz9MStkCQ9ESU8Q0/cCknSE1HCM/TErZAkPRElPENP3ApJhu6JGLDxFFfJ8/G5Gk+u4ZTa42nx4sXR43XuDih3h9S6detkwoQJHe6UQk8duVBCb8yEPj+0FpAcUi/I56AZjodKYTl6Yk5oip6oFJajJ+aEpuiJSmE5emJOaIqeqBSWoyfmhKboiUphOXpiTmjKtyd6Xt3leMdTXMECHK81nlJDukfyUo/euf/v7pByj9/NmzcvvRE5enpuM/Nzzz0XjTNHAQpQgAIUoAAFKEABClCAAhSgwCkQePPNN81/5z8Fp5keko2nU6nfzdhuo/ANGzZ02ePJ3dWU+mY7twG5e8TO7euUueG4a1ql9oAqwqnxlChAAQpQgAIUoAAFKEABClCAAhQoIwE2nopwsXN9q13qdN1m46lGVOrOpzh3PBUhA0+JAhSgAAUoQAEKUIACFKAABShAgRIXYOOpSBfQNZOmTp2aPrudO3dKbW1t9M/urqbBgweL2+8psxHlMvnu8VSkDDwtClCAAhSgAAUoQAEKUIACFKAABUpYgI2nEl48njoFKEABClCAAhSgAAUoQAEKUIACFChmATaeinl1eG4UoA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WK9NxWrVolTz75pOzcuVO2bduWPsuRI0fK5z73OfnGN74ho0ePTuzsOR49LcXEemG9FHO9IOfmanjgwIGJ/hzNNS7HQ1YFz9ATt0KS9ESU8Aw9cSskuWTJErnxxhultrYWicfOcLzYhB0+gJ70tAiEXi8Wi3yybDzlo1bGx8yePVsaGxsjgQkTJnSRWLduXfRnK1eulClTpsSW4nj0tBQR64X1Usz1gp7bxIkTZdy4cVJfX48eEivH8WLxdTmYnvS0CLBeMK0tW7bI9OnTo//o6V6TJ0+Wu+66S0aMGNHhA5LyfOihh6LPP3TokFRVVUW/086fP19qamo6jFdRUSGbN2+O/R8KOF47Kz2x64H1wnrBKqW4Umw8Fdd6FPXZvPzyy/LpT39aFi9e3O1fiFpaWuSee+6JmlPul4M4/wWI44nQE78kWC+sF7xaRHzXi+XckvqLEzomx0OlsBw9MSc0RU9UCsuVomdzc7O4u+pdE8j9R0/3u1HqjvvO/6EzifmtWbNGJk2aFDWcRo0aJU1NTdHvtO6fN27c2KHZlUSjhOOdbB7SU7+OWS+sF71KijPBxlNxrktRnpW7vfCxxx6TrVu3qudXV1cn3/3ud2XmzJlqtrsAxzspQ0+9jFgvrBe9Sk4mTkW9zJkzBz7FXA1+5EPc/DjeSSl65q4a1ktHH9ZLcdWLu7vj1ltvlZdeeind9HHNKHeXs7vTftasWbJ06dLopJNoPLm7m1xj6/nnn0/f4ZR5x1VmsyuJRgnHO/mUBD31f8OzXlgvepUUZ4KNp+Jcl6I8K/eL6YYNG2Tt2rXq+SXxL36Od5KZnmrJCeuF9aJXScfGk8+fZ6n/QukeD/nMZz6T81SXLVsmM2bMiPWoHcc7SUxP/cpgvbBe9Co5mfBdL7n+/Z5qmqaaT0n8vtTdZ7g7rW677TZZvXp1ekuJJBolHI+eluuP9cJ6sdRLMWXZeCqm1Sjyc0n9opH5X5yynXLqEZa4+zxxvHZdemIXBuuF9YJVSnvKd724Md0vi2effba4zX1zvZL4ixPHS7YRS096Wn6+sF6SrRd3x9PDDz/c7R337mfq1KlTozuf3J1QcffIc3eUDB06VBYsWJB12VP7Sbrfc924cfd44njt+8fSE/spw3phvWCVUnwpNp6Kb02K+ozct9a524/dv9zdho6f+tSn0uf7pz/9KWqSuF8AqqurO9yinO+kOB49LbXDemG9FHO9pJrI2v53STWeOF57NdATuypYL6wXrFI6/kcOHz/PXDPJNYJyjZVqPrmzi/uopPusefPmRXs7dffK/DKTuI0njifRY5OpLy+iZ+4rkfXCerH8rC6mLBtPxbQaJXAu7jbj++67L/qXg9vkMdvLPUqycOHCWBuLpz6X47V/cws9sYuD9cJ6wSqlPeW7XtyY7k6ryy+/vMs3I2Wet2sA9OnTJ5GfoRyv/a5RemJXBuuF9YJVSnvKZ700NDTIpZdemvMbk921fvXVV8sPf/jDWHuMph6py/ateZk+qWaX9iSAZsrx2oXoqVXKyd9d3COfrM/2Ox15/WF1UwwpNp6KYRVK9Bzcv+CPHDnS4exHjx5dsNlwvGRp6UlPiwDrxaLFLAUoQAEKUIACFKAABSiQEmDjibUQhID7ryQDBw6UQja+Ov9XLp/jBbFIRTQJ1ksRLUYJnIrvevFN4nt+vsfz7Rn6eL7Xz/d4oa+f7/mFvn5uc/Mbb7wxkTtUkbXxPR5yTszgAr7Xz/d4uASTiEBo68fGE7LqzJgFkvpFI/Pra91JuMfOst1amtQeHr7HQ2GT8gx9PN/r53u80NfP9/xCXz/f8/M9nu96CX083+vne7zQ18/3/EJfP7ehuft9020rUVVVFT3iN3/+/C6PSSfxrXZu7XyPh9aL77/4lup4vtfP93isl3aBpOqzWNcPXed8c2w85StXpsf5/EXDbSY5cuTI6F/6EyZMiPZjcRubu1fnb8xLovHkezw3D5+eoY/ne/18jxf6+vmeX+jr53t+vsfzXS+hj+d7/XyPF/r6+Z5f6OuX+tZT13AaNWpUtMm429jc/fPGjRujL9dJvZJoPPke71Q0unz/RdvneL7Xz/d4rJeTf+kv1eu9WNoWbDwVy0qUwHn4/kXD/Uvj1ltv7bBpnDsH980X69ati75Zb+nSpZFcEo0n3+P59gx9PN/r53u80NfP9/xCXz/f8/M9nu96CX083+vne7zQ18/3/EJfP3d3k/sPnc8//3z6DqfM/1CY+R8/k/iLqO/xfDcuQh/P9/r5Hi/09fM9P9/rV0wtBjaeimk1ivxcfP+i4W5n3LBhg6xdu7aLjHtvzpw56eZTEo0n3+P59gx9PN/r53u80NfP9/xCXz/f8/M9nu96CX083+vne7zQ18/3/EJfv+5+p0x9+9zq1avTd94n0XjyPZ7vv/iGPp7v9fM9Xujr53t+vtevmNoLbDwV02oU+bmcil80Hn74Ydm6dWtWmdTXrro7n9x/7Rs3bpzU19fnreh+cfM5nm/P0MfzvX6+xwt9/XzPL/T18z0/3+P5rpfQx/O9fr7HC339fM8v9PVzfxEdOnSoLFiwIOvvlO7O+8bGxqj55L7OffPmzbG+3Mb3eL7/4hv6eL7Xz/d4oa+f7/n5Xr+8/2JcgAPZeCoAaqgf6fsXDddMcv/id8/V19bW5mw+uTcXL14cq/HkezzfnqGP53v9fI8X+vr5nl/o6+d7fr7H810voY/ne/18jxf6+vmeX+jr5/7D5rx586K9nbp7pZpP7v24jSff4/n+i2/o4/leP9/jhb5+vufne/2KqS/BxlMxrUaRn4vvXzQcR0NDg1x66aXRt4l093r55Zfl6quvlh/+8Icyc+bMWIo+x/PtGfp4rBeR1F2ApdiI9V2fvusl9PmF7ul7/XyP53v9fI/n2zP08UJfv9Qjddm+RTnzl8zUv3NfeumlDhuOW38R9T2e77/4hj6e7/XzPV7o6+d7fr7Xz/rzqJB5Np4KqRvgZ/tszATI12VKvj1DHM/9AHevmpoaLyXje7zMSYW4fqdyfl4KJmMQ3+vne36+x/PtGeJ4vn+e+R7vVP58CbFefF/jp3L9TuVcCz2277/4hjqeazB390RGIdbQ93ipOYS6fqdqfoWojVL5TDaeSmWlTuF5+v5FkeMlu9ihe7q9LRYtWhTdFfelL31Jrr/++mQBO32a7/FCXz/OL9lypSc9LQK+f575Ho/Xg6Ua9Gzonr7/Ys/x9JqzJHx7ur2B3OOYkydPln/8x3+MddcbMk/f4/n25HhIFZR2ho2n0l4/L2fv+xdFjpfssobu6f5F9cgjj4j7lhm3H1hVVVVBm1C+xwt9/Tg/Xu8WAdaLRUvP+v555ns81oteA5ZE6J6+/2LP8SzVp2d9e27ZskVWrFgRbXNw6NChaF/aQjahfI/n25Pj6TVe6gk2nkp9BT2cv+9fFDlesosaumemltvvy22y6uuXAB/jhb5+nB+vd4sA68WiZcv6+Hnm++c168VWA1o6dE/ff7HneFrF2d737Zl5dmvWrJH/+I//iP4jqHuNHDlSbrnlFrn22msL8jiej/F8e3I8W72XYpqNp1JctVN4ziH+Yur7F2GO5+eWZPcv5d/85jddmlA333xzwX4JKPR4vP6S/eFHT3paBEKvl85/iSr0zzPf44W+fpyf5WrWsz7+Yh9646Kc5peaq3sc9ZlnnpEnn3yySxPqxhtvTHw/Ul/j8XrQf2ZYEr49LedWyCwbT4XUDfyzQ/yLve9fhDneZClUIyj0X3h4/SX7A5ae9LQIhF4v/PlpqQY9G3q9hDw/X3+xD71xUS7zy/xpkKqdH//4x7Jt27boLfco3g033BDdCZX0l+L4GI/XQ7JfZOTbU/+3VWETbDwV1rdsPt1355bjJVtaoXtqv/Dcf//9Mnr06GRRRaS7f6EkPV7o68f5JVua9KRnPgK+fp75/nnN6yGfauj+mJA9ffzFPvTGRTnNL3Ou7jFVdyfUww8/3KEJtXDhwoLche9jPF4PhWlC+WpUJvuTH/s0Np4wJ6ZAgVB/MfX9izDHK0wjqLtfeNxz+DNnzgSrPL9Y5r+gCzUer7/81qa7o+hJT4tA6PXCn5+WatCzoddL6PPz8Rf70BsX5TS/znN9/PHHZdmyZfKLX/zi/2/vbF6uqr44fvoDJBNHJSG9DAIj0XJgNUiofmhIg4w0CaHozQg0tKwcWVmIBYFlUiCRBr1MRKkc6CAQKoqgwkEGotFIyugP6Mf3yHo6nufc83LP2uve+9zPmWTPPWevvT977XX2WXvttZOfhiddTS2P8dBs87vcEc2zS9363IvjqQ89nq0l4PmhrQF45ZVX1oalespTWadPn66NgplkeW1U17N94yivTZ2GvUcJEufNm5d8MlFXv0nuv+jx3qaf4dmG0qV7sJ//RTtq5TKVo3mUjqD22tD9Tuxnv4UQ7Kfv+FPurFtuuaVWkT0/7FXWP//8UytzkuW1sQie7RtHeW3qNMw99u69+uqrk0RRta3TJPdf9HhvwzSaZ5s6DXsPjqdhyfFcKAEd4fv8888n3RtdbJDkffrpp9l3330X0s5oeSGNmjIheuFv3rx5Jpmkmn/VVVdlTz31VLZ161bXvfw6te+nn37KXn311UrKDz30UPbMM8+4bR+Mlhc93jXR+Oqrr/J8Y1U5F1566aXs5ptvzsR1Eq9ontH2LFreJOrAuNcZ++lnr6PH+1y3nzri/dtvv83t/3333ZetXr066XCSvOXLlw98v3sLj5bnXX/KyzKNQS1wWB4pMbn++uuzbdu2uUfz182H5CB5+umns0OHDrnNeaPlRY93bU0+f/78wH5Sfd54441G5/ekjAMcT5PSU2NYT00UFbr5999/V9Zu5cqVbh++5u2VM0iGVR/0KScB7733XrZnz57szJkzIeRTy9NLaenSpdn+/ftz42YT07rGydBt377drf0p9aVNe8oN8W7fbbfdluumHE2LFy/OxZ09ezZ79913s3vvvTf78ssv3ViqvSdOnBhYpl5Uq1atcuu/aHnR4930R3Zl9+7dsyYA3jylCCnHQ1nRonmmtmfl9qWWh/2cbbqwn+3NOfbT930UbT8VgffFF1/ki0q//fZb/kGvBNEPPvhgko9BzW0XLFiQvfPOO+2VrMedqeXJPj/55JPZjz/+mPPS+1QLPXXX119/7fb9IDn2DhwkU6fNXXfddUNRbNOecsGe7VPbbr311lyE5p/aHaJLc0Rx9rbVTfOhK664IvNsX7S86PFu+iO7cvDgwVl6781zKCV3fAjHkyPMaSpKH00aLEXvern95uTw5mL7Xk+ePJlPBCyqxPt0NDkSFP2gl/+wL6QubU8pz1Yhnn322Xy1Tob11KlTtdXzdBym1pc27Sk31rN9WrFYs2bNzMSqKMs+Wm3S1UUnqhwIf/zxR3b48OE8Gk9JysvXL7/8kk/yPMaf9CZSXhWbiPFuETMag+YoLK4wNU18uvZp6vFQV58InpKf0p5VtS+lPOznbOLYz+ZRj/28tD1tLtlPi+6yRVCLKpHjwuuEMnMkpIiWHvSOleMilTzNj95+++2ZubQiqM+dO1c7gPo4gsoFq8/uuuuu7K+//hoos8/8rE17yoI926eIIH0LffPNN7N0UE6/HTt2ZH/++WezwWq4Qxy1BXTLli35+33Dhg2zntDcVHOoPjyt0Gh5Vc2PGO+yj/Pnz88uXryYOwo1Dnft2jXTlzieeqsuBcwFAjK069evz44dO5Y87LiOlz7gZGzlUHn88cfdIjzUPnme61ZlPFcRouVF6+C46EuqdjetaOslvW7dut762TayS5NIRVj1nQhHy2vqn1Tjvdh/cmJqYiWn+osvvphvk3z44YddI8jGZTyk4hltz6LlNemp9+/joi/e7bLysJ8+9rqpf1KN92m1n+bE14f9kSNH3CJ05Eg4fvx47cKuZ0RJtLwmPfX+XVu/xDMiibd33duUV+fY1ZhfuHChSwRS28guOU48ovWi5TWxTjXei/2nd730VZdF3+N4auoZfp8KAk0TxdQQyqelKOrpo48+cnOCtYmg8VzxjZaXun/K5Y9aX1K3tynHjNeKb5sVdM+k5tHyBvVT6vFepZ/62+uvv55XSdsePB3box4PqXlG27NoeantCfbzcgLYz34al3q8T5v9LJ82pagnOTa8IuPbRNB4RsxEy+unzd2f9rIf3SXHPNGUo8vLcdEmAskzqXm0vEG9lXq8l/VT9nrnzp155JgWkbUI6ulojtHKwVLYajfqHphQ+Qqd3bhxY/brr7/2jqpoi2DQ0ZL333//xCb9bdv2FPfJqH/yySfZ999/X1n8pk2b3LhG60v0h2jddjr7zTM6UDx//vnn3hFUbfUqWp7qFTneBzmCVAdFPSmM3TPCMXo8RPNsq1eTfB/20y+HI/bTfyRgP32Z2ni3PE+WZ1Tbje644w5fYVNQmt6BR48ezd/zVZdnMmVFdGme65lns66Loh15luNw0FY7pV64cOGC27ea5ktLlixxW+hvUvdoebnbwKcAABX8SURBVKpP5Hgf5BgtRt/jeGrSEn6fCgIaLFrhKe5FTdVwS06o8uUBfu6557K7777bzZCmqve4liuP+o033pjveVfia53YoqiOG264If+3VvCUP8hzQhWpL01bxEyHPE8ps7DgquTikhd1QuK46lyXeo3beNckZNGiRa72JnI8jBvPLrowjvdiPy+9g7Gf46idWTZu433S7af0XA4nXUoq/sgjj4R9dI+nhvWrlT6o77zzzjw/64oVK/KUFpojKTWA/i3Gr732mlsEmdnrqoND+rWk+ummLWKac3s61qx9qk1VcnEtng06ATlF+ye9zHEb7xovnt9io+4fIp5G3QMTKl8e/b1799buQfeMEJA8nZ4nZ5NXOHMT+sgVbdWlGF1hdbNVNW/nniUctIi1osfdojEU3unFOlpfBvWtHdmt31Unz0tlv/nmm3l4bDGJpSZR+/btc3VaWL2LJ7VoMqMTY1JM8qMjyEYx3m0M6qROXSl5Ro+HUfDEfmI/u9hX7KdfBNkoxvtctp9ayLr22mtDFzsjI4LUd8XoChu3WoD03GJu5erDXomULQKpuBXM8k15LtRZ8m2dSDjoiogo0XztnnvuybZt2zbr5NwutrLq3kHfD3JEpXI6FeeFOtxJjsMUTpLoCLJRjHcbg3boU0qefXWt7/M4nvoSnNLnoz9Eoz+0o1e0i/LkqFi2bFne5B9++CFfafNKFm0cy1uLyqGeSob92GOPub0cR6UvVcPTWHsmAy3Lsb3pKVcpylFd5uhtyjc1jMkaRQRZsZ7SH8/cVVUMInmOajxEOSqxn9jPYeyMPYP97ENv9rPYTx+eUR/a0RFBRXlyCi1evDgHZif3eSWLtl4ozzeLjidLhu1xKprJi3Zc1GmbWK9duzZpmpKI8V6O6jLHXVO+qWFGYnQEWbGO0sfTp09nnrmrqhhE8hymDzyfwfHkSZOykhKI/DCMjggyeSdPnsyjVoqX5b/4+OOP3bY2SN77778/s/1LpyjouFWLAvI6hS2pQvQo3DvZpCXhrnM0eU4GTCfkbNLKSPHUtQjHmqFPHUG2efPmmS0OkqkIwBRHPo8Lzx4q3fgo9hP72agkLW/AfrYE1XAb9tOHY0QpkR+G0RFBkqdooKqTcG3bpn73ioCXPEVTWSSOUjxYFJDnKWwRejGMDK9k3yZbc8s6x4i388S+V3Rynfqy2B5zYv7777/DoOn0TMoIMs0JtfiunR92SWdTRKuNC89O8HvcjOOpBzwejSMQ/WEYHRHUdMpViom+jKhNJuy4bu0F16X99Z7JsOM0pVmSvRj379/vFtFl/ffss8/mSb/LiRflyLMXmMd++3JUU1k/vPWljmoqR5cxq8qZpW1wnolCx4lnswZ3vwP7+b9s1apVbsn4NeHFfmI/u4/E2U9gPz0opi0j+sMwOiKoab7g7SjRfPPll1/Ozpw5k3ecFj71txdeeGEmyt8zGXZa7ehWui0AeUZ0WZTRzTffnJ07d24mTYBqpneVdkxY+gePeX05qqmsH976Ukc4RQSZMZPcqpxZnmlkJGOceHbT5uHuxvE0HDeeKmT9jzgVLfrDMDoiqM542sTUVhe8lE/73vWisgSxevkrP5EZW8nzuqK3FhWTq1a1IcXWxeeff/4yUeYcMUeXXvjnz5/PdMJI39XDNo7RdevWuX1oN+lB08S16fny78pvsWbNmqxqclZ3AlZXOXb/KHhG5kDCft6YYT/bjw7s520Z9rO9vsx1+xn9YRgdEVS38Gnzl75zlqI2WaTfjh078gh//b8Y2+KcZ3S/5EZvtSsmp64aRSm2Liope/Eqpl44cOBAdvDgwezw4cPZ8ePHZxx+7Uf45Xe2cYxG5MyyWnk7uiwn2KBTAqW32iHidY0bT692DSoHx1NqwnO0/OgcHtETm1GsaMvxI7mHDh2aSUQtzjt37sz/7hnhMUgtJU+XkgR6XtE5guS4ePvtty9rwvz58/PcWVdeeWX2wAMPuLbR2mcv26KzSRFQypVgyTKLYeXDMi47ZoovLnPMeKxstalfygiyQTrvvRU0mif20z+iEvvpd8oc9nNpWMQv9rPNW+bye6LtZ/SHYXREkDl+lPi6mIha807lHI1ywkqe13a+osZE5wiy75ViHdQu5c5SknrP00AlQ+1T9JicSpJj81FFjSkNw/Lly/N+te+avtFWZcdM0fFjixZREWupIsgGRUin2Ao6Tjy7W+PuT+B46s6MJ7JLx/XK6xt1Klr0h6E6OWVEUJMjpqxkitDxPr56HBQ5ZY6LyPZVrRjaZFX1OHHixIzj0Cs6SM4XrUJqEqMJhxxammAoak3bgDxPhRlFBETRWVfuSy+GxXKjeWI/h4+oxH5e0lzs5/BWPnq8K9J10JUiAhf76XeqZPSHYeqIoCZHTFlPFb2tCJpy/tHhR994PJkyR1BkC6vmQ+YMeuWVVy7bZu4RHWRb0RYsWJA7JpWaQ1FcujT/9EgnUeQ3iggyc9ZV9aMHw2K50TwjdXMAvyuu+DciC9ioW4p8VwJtIpA8T0VT5SMnioNgeUUEtdl6Vq7DypV+xy2rbEXGyKEgo1d1bdq0yX1lpkqOV44LMb3pppvySCZLplin9J6npInjnj17Lgthtsimv//+O4njadDx45oA7Nq1yzWiKzoCom47XaqIrkie2M9+EZXYz/8sG/ZzuKlN5HjHfvq+j6Lt57h8GHpFBLXZelYeVYoS94xG0pj48MMPs4sXL1YO4ChHl0eOIJtv2uEydthMnWXyPCVNjhk5gSw9RjGySSkgitE7Xk4TyZCDSadu26XDX5Sna/v27cMZ5QFPRUeQ2Xx+0FY7LSJ4R3RF8nTtnCEKI+JpCGg8ciniKfpUtMiJ4lzv42LCQa1mjdLxJNl9I1hsu0JxX3s559KgPlX7i9sbh+l747lixYr8Jf/DDz/kL2TlKtDe+m+//TbTiYW6li7138ZhzkPPieEwHDyfsVXZquTiihDwjOgq1zs1T+ynp6bEl4X9/I859jNe/9pIxH765jicpg/DNvrV5x7bwSBHheZMVVeU40my+zpjyqkWukSUeUQHGU+bKynaUdHwR44cydauXZtHwCttwWeffZbnGPV2mmgxcNGiRa6LnX30q++ztpijcqqSi3v0WV0d5xrPcltxPPXV0Cl9fhQ5kIqoU38YSta4RASlUDG9KF9//fU8meOonRUeOS70ovjggw9mTvNQ35WTLVZxVDSSwoQ9TrjTy1+n2umFrxe98iUo7FiTK/3bVob0/7ZFtU/fqo2K2rL+M31V+Y8++mjSflWfeUaMVXEY5GhWaPe+ffsmepKD/cyyqIjKPmNs0LPYz0tksJ/DaRf2czhu9tSo7WfEh+G4RAT166nqp+WY0dV3wc+jbh45gmy+qXmXIu7Vd8rt2XTZAmXfnEuSY+8knV5ni8maA2uRTpclbvc6Ebi4w0Dlm77edddd7jlUixwtuswzYqyqnwY5muWIKuZBa+pjfp9NAMcTWjE0gZQ5kBQKrGSxdnKAjNzvv/8esvVLQEaxoh19ylUx79DQStDywegcQS2rld/WN9qqTlbRQWrh7R4h6zbxtmTmxeNfrT4ezq3yC3/z5s2zQqv1It66dWtSR5DGxj///JNZKHuX/q26dxy2amE/fbfyYj+/TDoGB4057Gc7a2R5e8pbU7Cf7fiV70ppP23uqXe2Lv1XER1e75+mFo8iIkgyjx49OjD1gmcEUkqbUcU2OkdQU/8Wf+8bbVUnyxykukfRTro8Dtax7zObY5q+asFVC69ezq1i29QWpW8xB5p+k7xt27ZlTzzxRBfkne/1XigYh62unSE4PoDjyREmRV1Kdqqr76lo5T38dce9puAevaIdfUqLOSq0/SsiYWR0josuOqG6XXPNNSEcutSr7l7pZzF5rOmrJgK6brzR//h45VjTS79q61uKiYYXq6pyuianVvsiInSwn8P1OvbT95TOLr2A/WxHC/vp62iuou5lP8uOkWhHSXREkEWd29Y3i5TRPF7/tgTSXtHxFh1elUOn3Wjqdld0jqAutdOirIczqIvMvvdKP4vJt01ftZ3PdEkOKC99KS6sVm19sxQbfdsV9XyXrZg2Jj0dv1HtHCQHx9Ooe2CC5Ecmb5ZHeP369Xnyuttvvz1fiVFOl7feemsgMc/Qy2hHV/QpgYJoqxZKBlh16WM7wik1QUOgtqrRERdFx5MSmWtyaCHA3hPl8qmSRRB1icD79K0+IrRKp+08VZd3sn0xmz9//mXb+OyYaX00WuLOYduE/RyWXPNz2M9mRuN+B/bzR9f3LfZz3tA8FfGk+ZHmRnrPbNmyJT/cZsOGDQOHkR1s4jHOvN/fTXVSRJCSfMtxoKsYhaPIMp2a651TUYxV5rp16yqrZ9vWmurO75cIREesmePJou+PHTuWrV69epb+ePRP+VTJYpn27rfdMR7yVIbaZVFiVWV67Fywcm3hrJyYXe9EbV3U3FNjdK5cOJ7mSk8mbscokjd38Qqr+Z5e7+iIoOhTWsSriW9fnpEf2onVv7H46IgLc/bIMauVJW3fKK4w2Yl6XiHITY5YTco1gfQ6zcQcPsWw6nIneOTlsjI1adu4cWNl7i2PU8Own41DqNcN2M8sec61Xh3U8DD2E/tZpyLR9lPzP+Vl1Du17WXb3tveX3dfdERQ2dFVdDxpbC5cuDDzyENkbW7Dtw/PUZ8y56EDXcqIjlgzZ48cJVoAVV6pM2fO5FUunqjntXBd54g1/eyjL2XW5vBRuwZdnuNBjrXvv/9+xvFblOlx6mIXXYq4F8dTBOU5IGNUyZvtBXL48OHGiCfPFSd1WWREUPQpVxZRJueSVvSqrj48oyeKox5io4i40MtKidEViltcEUkR6lze2lfm7b1Ca/pZXEVL2cdNjrW+7cN+zu49z4hK7Od/fD1OmUs51qrKxn7+77Ijz/vyx35eItg3+b0+ov/4449WEU/e+Z8iI4IUTaF8ORYxXVy4SvFhbxFlmrcod1bV1YfnqE+Z6zt+uz4fHbEmnXj44YfzbZjSm88//3wmulDsDxw4MOOI6tqWqvvLW/vK93jnyZJ+Ksqv2C6Pdgwqo2l+6d2+lG1pUzaOpzaUuKcXgaZB1aZwOyXCK6KijczUEUHFOkSf0tLkSGjDp+6eUX1o9633sM+PIuJiUF2lS0rE7bXaJDl12+nsN08nUZMjaNh+GvScfahVrWLZ6tfu3buTJ7EcNOlatWpVr2gy7Odrmbd+Fre6eusj9vNyR4wiKpVY1iuCs66/sJ/dtXmu20+9j5YsWTKzlag7oW5PpI4IKtdG/ffyyy/POAuKWw3t5LULFy70zt1qcpscCd1ozb57HE6Z69uGLs9HR6zV1a182nKXdgy6VwsTe/bsyapygtnBRd762XfO1aXd5uiqal+dbe0iY5zuxfE0Tr0xR+syiclHU0cEVXV1ylNayvKiQ7m7qLaHo7KLPI97oyMuPOrctQxzxFYlF9eRvZ45IOq2vnWtd5v7i1v7lCtr2bJl+WNnz57NIx91eZ8S2KZeugf72Y4U9vMSJ+xnO32Jvgv7+aub46JL302i/UwdEVTmZycu7tixI1+wKm91//jjj11zzMhWaxujvVu79GfqeycxuiQ6Yi11H1Tppw7M0VWVXFwpJyxaz6NudVvfPMovl2GLm/q7+nLx4sX5Leb0nbTDe5oY4XhqIsTvU0kgdURQW6hep7RUydNEWKdO7Nq1ayQTwkEMJnGiGB2x1lZ/PO+TLr755pvZu+++m+/pt0uOmn379rnrULR+qn07d+7MJ8Pl9tmE3JPnXC4L+zm63sV+jo59nWTs5y3j2TFjWKvUEUFtm6x5jdfJZEWZltNtVFHEde2fxFPmoiPW2uqP533SRTmYlM/ULqWZkCPK0+mkskehn3I+aTyU2ydH1Lh9o/XtVxxPfQny/JwkMM4RQR7A9aLau3dvVpe8uW9ycY96TlIZkREXo+ail6S28/XJw1DXBvRz1D3cTz720/ewi369MRlPYz/9+gn76cdyFCWNc0SQBw87pawuebtnsmiPOo9zGdERa6NmoTym8+YNf2plU/3RzyZC/X7H8dSPH0/PYQLREReRKGW4T506VSvS+7j6yPaNi6yUEWvj0sYU9UA/U1CNLRP7uTKZYza2J0cnDfs5HHvs53DcxuWpUURcRLZdjtFz587VivQ8rj6ybeMkK1XE2ji1MUVd0M8UVP8rE8dTWr6UPqEEWDGc0I6j2hCAwMgJYD9H3gVUAAIQmFACRFxMaMdRbQhAoJEAjqdGRNwwjQRYMZzGXqfNEICABwHspwdFyoAABKaRABEX09jrtBkC00EAx9N09DOthAAEIAABCEAAAhCAAAQgAAEIQAAC4QRwPIUjRyAEIAABCEAAAhCAAAQgAAEIQAACEJgOAjiepqOfaSUEIAABCEAAAhCAAAQgAAEIQAACEAgngOMpHDkCIQABCEAAAhCAAAQgAAEIQAACEIDAdBDA8TQd/UwrIQABCEAAAhCAAAQgAAEIQAACEIBAOAEcT+HIEQgBCEAAAhCAAAQgAAEIQAACEIAABKaDAI6n6ehnWgkBCEAAAhCAAAQgAAEIQAACEIAABMIJ4HgKR45ACEAAAhCAAAQgAAEIQAACEIAABCAwHQRwPE1HP9NKCEAAAhCAAAQgAAEIQAACEIAABCAQTgDHUzhyBEIAAhCAAAQgAAEIQAACEIAABCAAgekggONpOvqZVkIAAhCAAAQgAAEIQAACEIAABCAAgXACOJ7CkSMQAhCAAAQgAAEIQAACEIAABCAAAQhMBwEcT9PRz7QSAhCAAAQgAAEIQAACEIAABCAAAQiEE8DxFI4cgRCAAAQgAAEIQAACEIAABCAAAQhAYDoI4Hiajn6mlRCAAAQgAAEIQAACEIAABCAAAQhAIJwAjqdw5AiEAAQgAAEIQAACEIAABCAAAQhAAALTQQDH03T0M62EAAQgAAEIQAACEIAABCAAAQhAAALhBHA8hSNHIAQgAAEIQAACEIAABCAAAQhAAAI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yB1P4VIRCAEIQAACEIAABCAAAQhAAAIQgAAEIDAVBP4PSUvMkZPYWOAAAAAASUVORK5CYII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AutoShape 2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5/z418Mk19Frl+ypvSkp0WA9WLR0rP01I0sCXpatPQsPXUjS4KeFi09S0/dyJKgp0VLz/r21M8o0MbTT3/6U/nUpz4Vze5Pf/qT3HrrrdG+T5mv1J+3tbXf5cJX9wK+C9fneMt//7qs3X4wmvyZp1XKgq/Wyjl9eha0HHzOz02E4yW7nPSkp0WA9WLR0rP01I0sCXpatPQsPXUjS4KeFi09S0/dyJKgp0VLz9JTN7IkfHtazi1btmTveLJMnI0nXct34foab/v+o7Lo6T1pgFlfGCBX1fXVQWImfM0vdZocL+aCdTqcnvS0CLBeLFp6lp66kSVBT4uWnqWnbmRJ0NOipWfpqRtZEvS0aOlZeupGloRvT8u5BdN4WrVqlezduxea+6BBg2TKlClQ1ndo9uzZ0tjYGA07dOhQaWpqSp+Cm+PUqVPT/7xz506pra0V9w1+Luteixcv7vBNfnV1dfLoo4+mv+3PMh/fhetjvPc+PC5zf9EsB4+2RhSjhpwlt18z0MKSdxaZ38Hvfcb0+dU/+F/d5pHxTIMpYY6XpCbvWEtWk570tAnw55nNS0vTUxOyvU9Pm5eWpqcmZHufnjYvLU1PTcj2Pj1tXoVOl+QdT4VG8fH5bkN0tznz0qVLo+EmTpwYNZbcP6c2S081m5YsWSLLli2LGlOuWTV27NiomeY2WU/dzeX+fPDgwR0aUZZ5hHhhPvjbffLCrnfaGY4dkWX/18joUTsfL8STjSd8JRBP/NP0JMfTjSwJelq09Cw9dSNLgp4WLT1LT93IkqCnRUvP0lM3siToadHSs/TUjSwJelq0Cp9l46nwxtAIrrm0YcMGWbt2rbj/vXv37nRTyn1A6pv87r33Xpk3b150V5O7w8k1o9zdUe5OJ3dsvq/QLsznmg5L47P70xwn/vBzWfGTBfnymI9DPNl4wlkRT/zT9CTH040sCXpatPQsPXUjS4KeFi09S0/dyJKgp0VLz9JTN7Ik6GnR0rP01I0sCXpatAqfZeOp8MbQCO6OJfdydzy5u5/GjRvX5TE613TatGlTlzueMu98ggbLEgrpwnzrSKs0PNEs7lE795o4vFrWPPid6A4zXy/Ek40nfDUQT/zT9CTH040sCXpatPQsPXUjS4KeFi09S0/dyJKgp0VLz9JTN7Ik6GnR0rP01I0sCXpatAqfZeOp8MbqCKl9m1KP1uVqPI0aNSq9x9PKlSujO53cHVDTp08Xd/ysWbM63CmlDv7fgVAuzOMn2mTR03tlx9+ORjMbWHW6zL+hVr71zZvYeEKLAciFUi/dTZXzA4rAEKGnAQuI0hNAMkToacACovQEkAwRehqwgCg9ASRDhJ4GLCBKTwDJEKGnActDlI0nD8jaEO6ROXc3U2oT9FyNp8yN0t0jeZmv+vr66PG79evXR/tFWV7uwgzhVXHR56Vi6DXtU2k7ISe2PiLy7htFObV/rfuz6bz+uenvTHmGKUABClCAAhSgAAUoQAEKUCBMAZ9P9MQVZOMprmDM412jaMaMGR0eq8t87C718e5xutQdUe7P3Abkrlnl9nXK3HDcNa1Se0BZTi2EjvCelg/ke7/cJe6uJ/eaevl5MunSmuh/F+P8+KgdXqHFuH742etJzk83siToadHSs/TUjSwJelq09Cw9dSNLgp4WLT1LT93IkqCnRUvP0lM3siRC97RYZMuy8RRXMMbx2ZpOqabSmDFj0o2mzG+1Sw2X2YhK3fkU944nnx3TpC/M1uNtcs+TzbLv0LGIaNgFvWXudYOkskcFG08xarS7Q5NeP+0UOZ4mZHufnjYvLU1PTcj2Pj1tXlqanpqQ7X162ry0ND01Idv79LR5aWl6akK29+lp89LSvj2189HeZ+NJEyrQ++6b6KZOndrl01N3Nblm0pw5c9Lvt7W138XjXu6uJrenU+Zjd64R5V7lusfT8t+/Lmu3H4wMzjytUhZ8tVbO6dMzbeb7wkTG4x1P+MWFeOKfpic5nm5kSdDToqVn6akbWRL0tGjpWXrqRpYEPS1aepaeupElQU+Llp6lp25kSdDTolX4LBtPhTcuiRFK+cLcvv+oLHp6T9p51hcGyFV1fTu4F+P82HjCL41iXD/87PUk56cbWRL0tGjpWXrqRpYEPS1aepaeupElQU+Llp6lp25kSdDToqVn6akbWRKhe1ossmXZeIorGMjxpXqhvPfhcZn7i2Y5eLQ1WolRQ86S268Z2GVVinF+bDzhF08xrh9+9nqS89ONLAl6WrT0LD11I0uCnhYtPUtP3ciSoKdFS8/SUzeyJOhp0dKz9NSNLInQPS0WbDzF1Qr4+FK9UB787T55Ydc70cpU9+4pi75WGz1q1/lVjPNj4wm/oIpx/fCz15Ocn25kSdDToqVn6akbWRL0tGjpWXrqRpYEPS1aepaeupElQU+Llp6lp25kSYTuabFg4ymuVsDHl+KF8lzTYWl8dn96VeZed5EMH9A76yoh8/PdCPI9XpLli3hyPFyAnrgVkqQnooRn6IlbIUl6Ikp4hp64FZKkJ6KEZ+iJWyFJeiJKeIaeuBWSDN0TMciV4aN2cQUDOb7ULpS3jrRKwxPN4h61c6+Jw6tl2hXnd7sayPx8N4J8j5dkqSKeHA8XoCduhSTpiSjhGXriVkiSnogSnqEnboUk6Yko4Rl64lZIkp6IEp6hJ26FJEP3RAzYeIqrVAbHl9KFcvxEmyx6eq/s+NvRaGUGVp0u82+olZ6V7d/sl+2FzM93I8j3eEmWMeLJ8XABeuJWSJKeiBKeoSduhSTpiSjhGXriVkiSnogSnqEnboUk6Yko4Rl64lZIMnRPxCBXhnc8xRUM5PhSulCe+mOLrHz+jUi+skeF/OArQ+Siml45VwKZn+9GkO/xkixVxJPj4QL0xK2QJD0RJTxDT9wKSdITUcIz9MStkCQ9ESU8Q0/cCknSE1HCM/TErZBk6J6IARtPcZXK4PhSuVD2tHwg3/vlLnF3PbnX1MvPk0mX1qgrhMzPdyPI93gqkiGAeBo+To1yPJXIFKCniUsN01MlMgXoaeJSw/RUiUwBepq41DA9VSJTgJ4mLjVMT5XIFKCniUsN+/ZUT0gJ8I6nuIKBHO+7cLONd8eqv8iBd1vzFu338Z7ywJRPZD0emZ/vRpDv8fKGzXIg4snxcAF64lZIkp6IEp6hJ26FJOmJKOEZeuJWSJKeiBKeoSduhSTpiSjhGXriVkgydE/EIFeGjae4goEcXwwXyrSHX4mtufyWS9h4iq2of0Ax1It+lvknOL/87bIdSU96WgRYLxYtPUtP3ciSoKdFS8/SUzeyJOhp0dKz9NSNLAl6WrT0rG9P/YxyJ9h4iisYyPG+CzfbeDN/9qocPdb+LXX5vHqfXikPffPirIci8/N9B5Lv8fIx7e4YxJPj4QL0xK2QJD0RJTxDT9wKSdITUcIz9MStkCQ9ESU8Q0/cCknSE1HCM/TErZBk6J6IQa4MG09xBQM5vpgvlDfe+VAanmiWD1pPRNpjP3m2zBjb3ySPzM93I8j3eCYwJYx4cjxcgJ64FZKkJ6KEZ+iJWyFJeiJKeIaeuBWSpCeihGfoiVshSXoiSniGnrgVkgzdEzFg4ymuUhkcX6wXims2ff9Xu2TfoWPRKrhvr7vnS4OlV88eplVB5ue7EeR7PBMYG0+yYsWKJMlyfhZSn0meDMdLUlOEnvS0CLBeLFp6lp66kSVBT4uWnqWnbmRJ0NOipWfpqRtZEqF7WiyyZXnHU1zBQI4v1gul8dn98lzT4Uj5zNMqZf4NQ+S8s04zqyPz890I8j2eGS3HAYgnx8MF6IlbIUl6Ikp4hp64FZKkJ6KEZ+iJWyFJeiJKeIaeuBWSpCeihGfoiVshydA9EYNcGTae4goGcnwxXijPvHJQ/v13r6eF7xx/oVw2qE9e4sj8fDeCfI+XF1w3ByGeHA8XoCduhSTpiSjhGXriVkiSnogSnqEnboUk6Yko4Rl64lZIkp6IEp6hJ26FJEP3RAzYeIqrVAbHF9uF0vTm+zL/N7vl+Im2SP+Gy/rJjZ89N++VQObnuxHke7y88bIciHhyPFyAnrgVkqQnooRn6IlbIUl6Ikp4hp64FZKkJ6KEZ+iJWyFJeiJKeIaeuBWSDN0TMWDjKa5SGRxfTBfK4fc/knue3CUHj7ZG8sMH9JbvThgklT0q8l4JZH6+G0G+x8sbj42nJOmyfhZSn0meBMdLUpN7PCWrSU962gT488zmpaXpqQnZ3qenzUtL01MTsr1PT5uXlg7dU5u/9j4ftdOEyuT9YrlQ3B1OP1q3V7bvPxrJV/fuKQu+Wit9elXGWglkfr4bQb7HiwXY6WDEk+PhAvTErZAkPRElPENP3ApJ0hNRwjP0xK2QJD0RJTxDT9wKSdITUcIz9MStkGTonohBrgwbT3EFAzm+WC6U1VvflF+/fCBSdXc4ff/Lg2VIvzNiKyPz890I8j1ebMSMD0A8OR4uQE/cCknSE1HCM/TErZAkPRElPENP3ApJ0hNRwjP0xK2QJD0RJTxDT9wKSYbuiRiw8RRXqQyOL4YL5cU9R+T+Z/6a1v72VRfINcOqEtFH5ue7EeR7vEQg//tDEE+OhwvQE7dCkvRElPAMPXErJElPRAnP0BO3QpL0RJTwDD1xKyRJT0QJz9ATt0KSoXsiBmw8xVUqg+NP9YXyxjsfSsMTzfJB64lIe+wnz5YZY/snJo/Mz3cjyPd4iWEK92BJ0tJ9FlKfSY7J8ZLU5Polq0lPetoE+PPM5qWl6akJ2d6np81LS9NTE7K9T0+bl5YO3VObv/Y+H7XThMrk/VN5obhm0/d/tUv2HToWaV9U00vu+dJg6dWzR2L6yPx8N4J8j5cYJhslSVJGn4XUZ5KDcrwkNbl+yWrSk542Af48s3lpaXpqQrb36Wnz0tL01IRs79PT5qWlQ/fU5q+9z8aTJlQm75/KC6Xx2f3yXNPhSPrM0ypl/g1D5LyzTktUHpmf70aQ7/GSBEU8OR4uQE/cCknSE1HCM/TErZAkPRElPENP3ApJ0hNRwjP0xK2QJD0RJTxDT9wKSYbuiRjkyrDxFFcwkONP1YXyzCsH5d9/93pa8c7xF8plg/okrorMz3cjyPd4SaIinhwPF6AnboUk6Yko4Rl64lZIkp6IEp6hJ26FJOmJKOEZeuJWSJKeiBKeoSduhSRD90QM2HiKq1QGx5+KC+UHDzwi83+zW46faIuEb7isn9z42XMLoo3Mz3cjyPd4ScIinhwPF6AnboUk6Yko4Rl64lZIkp6IEp6hJ26FJOmJKOEZeuJWSJKeiBKeoSduhSRD90QM2HiKq1QGx/u+UG769gypGf9dOXi0NdIdPqC3fHfCIKnsUVEQbWR+vhtBvsdLEhbx5Hi4AD1xKyRJT0QJz9ATt0KS9ESU8Aw9cSskSU9ECc/QE7dCkvRElPAMPXErJBm6J2LAxlNcpTI43ueF4u5w+taP14hUDYlkq3v3lAVfrZU+vSoLJo3Mz3cjyPd4SeIinhwPF6AnboUk6Yko4Rl64lZIkp6IEp6hJ26FJOmJKOEZeuJWSJKeiBKeoSduhSRD90QM2HiKq1QGx/u8UFZvfVN+/fKBSNXd4fT9Lw+WIf3OKKgyMj/fjSDf4yUJjHhyPFyAnrgVkqQnooRn6IlbIUl6Ikp4hp64FZKkJ6KEZ+iJWyFJeiJKeIaeuBWSDN0TMWDjKa5SGRzv60J5cc8Ruf+Zv6ZFv33VBXLNsKqCCyPz890I8j1eksiIJ8fDBeiJWyFJeiJKeIaeuBWSpCeihGfoiVshSXoiSniGnrgVkqQnooRn6IlbIcnQPREDNp7iKpXB8T4ulDfe+VAanmiWD1pPRKJjP3m2zBjbv1td342Z0MdLsox91Evm+XK8JFdPhJ70tAiwXixaepaeupElQU+Llp6lp25kSdDToqVn6akbWRL0tGjp2dA9dYHciQr3amtra/9aMb7KVqDQF4prNn3/V7tk36Fj7cbvviEP3/b30qtnDzaewKqr/sH/6jZZ6PXrPDDHAxcNjNEThAJj9AShwBg9QSgwRk8QCozRE4QCY/QEocAYPUEoMEZPEAqM0ROEAmOhe4IM3cbYeIorGMjxhb5QGp/dL881HY60zjytUt79nw/Kikd+klMv9DuQfM8vyVItdL2w0ZXkanX9LK5fsr70pKdFgPVi0dKz9NSNLAl6WrT0LD11I0uCnhYtPUtP3ciSCN3TYpEty8ZTXMFAji/khfLMKwfl33/3elrqzvEXyo/mzpQVK1aw8WSoH97xlLteDJRqtJDXQ7bBOZ66JKYAPU1capieKpEpQE8Tlxqmp0pkCtDTxKWG6akSmQL0NHGpYXqqRKZA6J4mjCxhNp7iCgZyfKEulKY335f5v9ktx0+0P815w2X95MbPngvtMeP7jqDQx0uyVAtVL92dI8dLcvW4x1OymvSkp02AP89sXlqanpqQ7X162ry0ND01Idv79LR5aWl6akK290P3tGl0TbPxFFcwkOMLcaEcfv8juefJXXLwaGukNHxAb/nuhEFS2aOCjScR8d3oSrJUC1Evuc6P4yW5emyUJKtJT3raBPjzzOalpempCdnep6fNS0vTUxOyvU9Pm5eWpqcmZHs/dE+bBhtPcb0SP3727NnS2NgomzdvltGjR6c/f9WqVTJ16tT0P+/cuVNqa2ulublZhg4dGv354sWLpb6+Pp2pq6uTRx99tMPnoCec9IXi7nD60bq9sn3/0egUqnv3lAVfrZU+vSqjf0bG892YCX08tBaQHLJ+yOegGY6HSmE5emJOaIqeqBSWoyfmhKboiUphOXpiTmiKnqgUlqMn5oSm6IlKYTl6Yk5oyrcnel7d5XjHU1zBGMdXVFTIypUrowZTZuNpy5YtMmbMGEk1m5YsWSLLli2TpqYmcY2qsWPHypQpU8Qdn/pCQvfngwcP7tCIspxa0oW7euub8uuXD0Sn4O5w+v6XB8uQfmekTwkZL/RGkO/5WepByyLrp32G5X2OZ9HSs/TUjSwJelq09Cw9dSNLgp4WLT1LT93IkqCnRUvP0lM3siToadHSs/TUjSwJ356Wc8uWZeMprmACx7sGUmbjyTWadu/eLUuXLk1/eipz7733yrx586K7mtwdTq4Z5e6Ocnc6rV27Nu+zSbJwX9xzRO5/5q/pc/n2VRfINcOqOpwbMp7vxkzo4+VdHFkORNaP4+EC9MStkCQ9ESU8Q0/cCknSE1HCM/TErZAkPRElPENP3ApJ0hNRwjP0xK2QZOieiEGuDBtPcQUTOL5z42nixIkybty4Lo/RuabTpk2butzxlHnnU76nk9SF8sY7H0rDE83yQeuJ6FTGfvJsmTG2f5fTQsYLvRHke3751ka245D143i4AD1xKyRJT0QJz9ATt0KS9ESU8Aw9cSskSU9ECc/QE7dCkvRElPAMPXErJBm6J2LAxlNcpQIfb2k8jRo1Kr3Hk3tMz93p5O6Amj59evRo3qxZszrcKYWeehIXims2ff9Xu2TfoWPRsBfV9JJ7vjRYevXswcZTloVg4wmtTmxPMPzT9GQS14M+yskEx7No6Vl66kaWBD0tWnqWnrqRJUFPi5aepaduZEnQ06KlZ+mpG1kS9LRo6dnQPXWB3Ane8RRXMIHjLY0nt7dT6uUeyct8uY3G3eN369evjzYit7zchRL3VXHJV6Ti/EvbP+ajY3Ji68Mi7x/K+2P/te7PpmP/uenvTPnO4dDHi4XDgylAAQpQgAIUoAAFKEABClCgaARWrFhRNOeinQgbT5qQh/c7N57cRuHu1XmPp9Rm4+49twG5e/TO7euUueG4e0wvtQeU5dTjdmifeeWg/PvvXk8Peef4C+WyQX26PQVkPN93BIU+nqUetCyyftpnWN7neBYtPUtP3ciSoKdFS8/SUzeyJOhp0dKz9NSNLAl6WrT0LD11I0uCnhYtPUtP3ciS8O1pObdsWTae4gomcHznxlOub7VLDeeOyfzWO/fnce94yrdj2vTm+zL/N7vl+Im26PRuuKyf3PjZc3PKIBdK6I0g3/NLoFTTH4GsH8fDBeiJWyFJeiJKeIaeuBWSpCeihGfoiVshSXoiSniGnrgVkqQnooRn6IlbIcnQPRGDXBk2nuIK5nl8c3Nzeq+mzI/IbCbNmTMn/VZbW3tTx73cXU1uT6fMx+5cI8q9fO/xdPj9j+SeJ3fJwaOt0fjDB/SW704YJJU92s+nuxdyYfpuzIQ+Xp6lmvUwZP04Hi5AT9wKSdITUcIz9MStkCQ9ESU8Q0/cCknSE1HCM/TErZAkPRElPENP3ApJhu6JGOTKsPEUVzCQ47NdKHes+osceLe9oZTPq9/He8oDUz6Rd+Mi9EaQ7/nls4bdHRP6D1bOL8lq4ebwyWrSk542Af48s3lpaXpqQrb36Wnz0tL01IRs79PT5qWl6akJ2d737Wk7u65pNp7iCgZyfLbCnfbwK7Fnt/yWS9h46kaRjSe8vHz/YOV4+NogSXoiSniGnrgVkqQnooRn6IlbIUl6Ikp4hp64FZKkJ6KEZ+iJWyFJeiJK/jJsPPmzLuqRsl2YM3/2qhw9djzv8+59eqU89M2L2Xhi4ynvGkodyH9xxCbs8AH0pKdFgPVi0dKz9NSNLAl6WrT0LD11I0uCnhYtPUtP3ciSoKdFS8+G7qkL5E6w8RRXMJDj87lQ3DfZPbbtLRn/qSp1M/HOTMh4vu8ICn28JEsVWT+OhwvQE7dCkvRElPAMPXErJElPRAnP0BO3QpL0RJTwDD1xKyRJT0QJz9ATt0KSoXsiBrkybDzFFQzk+GK8UEJvBPmeX5KlWoz1wvnhAlw/3ApJ0hNRwjP0xK2QJD0RJTyhrr9XAAAgAElEQVR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L8YLJfRGkO/5JVnGxVgvnB8uwPXDrZAkPRElPENP3ApJ0hNRwjP0xK2QJD0RJTxDT9wKSdITUcIz9MStkKRvT+Sc2HiKq1QGx/suXGQ8342Z0MdLsoyR9eN4uAA9cSskSU9ECc/QE7dCkvRElPAMPXErJElPRAnP0BO3QpL0RJTwDD1xKyQZuidiwMZTXKUyOL4YL5TQG0G+55dkGRdjvXB+uADXD7dCkvRElPAMPXErJElPRAnP0BO3QpL0RJTwDD1xKyRJT0QJz9ATt0KSvj2Rc2LjKa5SGRzvu3CR8Xw3ZkIfL8kyRtaP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+kUHL9lyxYZM2ZMeuTNmzfL6NGjo3+uqKiI/v+sWbNk6dKl6czEiRNl+vTpMmXKFPMZIxdK6I2Z0OdnLoocByD1wvFwAXriVkiSnogSnqEnboUk6Yko4Rl64lZIkp6IEp6hJ26FJOmJKOEZeuJWSDJ0T8QgV6bCvdra2trifhCPT06gublZhg4dKqlm06pVq2Tq1KnilmnJkiXRQPX19VJXVyfr16+X2tra6M93797doRFlOSPkQgm9MRP6/Cz1oGWRetE+w/I+x7No6Vl66kaWBD0tWnqWnrqRJUFPi5aepaduZEnQ06KlZ+mpG1kS9LRo6Vl66kaWhG9Py7lly7LxFFewAMe7RtOjjz4qa9euTX+6azLde++9smnTJhk7dmx0V5O7w8nd8fTaa69Fdzo1NTXlfTZI4YbemAl9fnkXR5YDkXrheLgAPXErJElPRAnP0BO3QpL0RJTwDD1xKyRJT0QJz9ATt0KS9ESU8Aw9cSskGbonYpArw8ZTXMECHD979uzoUzs/Rjdu3Lj0aJl3PI0fPz5951O+p4NcKKE3ZkKfX761ke04pF44Hi5AT9wKSdITUcIz9MStkCQ9ESU8Q0/cCknSE1HCM/TErZAkPRElPENP3ApJhu6JGLDxFFfJ8/G5Gk+u4ZTa42nx4sXR43XuDih3h9S6detkwoQJHe6UQk8duVBCb8yEPj+0FpAcUi/I56AZjodKYTl6Yk5oip6oFJajJ+aEpuiJSmE5emJOaIqeqBSWoyfmhKboiUphOXpiTmjKtyd6Xt3leMdTXMECHK81nlJDukfyUo/euf/v7pByj9/NmzcvvRE5enpuM/Nzzz0XjTNHAQpQgAIUoAAFKEABClCAAhSgwCkQePPNN81/5z8Fp5keko2nU6nfzdhuo/ANGzZ02ePJ3dWU+mY7twG5e8TO7euUueG4a1ql9oAqwqnxlChAAQpQgAIUoAAFKEABClCAAhQoIwE2nopwsXN9q13qdN1m46lGVOrOpzh3PBUhA0+JAhSgAAUoQAEKUIACFKAABShAgRIXYOOpSBfQNZOmTp2aPrudO3dKbW1t9M/urqbBgweL2+8psxHlMvnu8VSkDDwtClCAAhSgAAUoQAEKUIACFKAABUpYgI2nEl48njoFKEABClCAAhSgAAUoQAEKUIACFChmATaeinl1eG4UoA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WK9NxWrVolTz75pOzcuVO2bduWPsuRI0fK5z73OfnGN74ho0ePTuzsOR49LcXEemG9FHO9IOfmanjgwIGJ/hzNNS7HQ1YFz9ATt0KS9ESU8Aw9cSskuWTJErnxxhultrYWicfOcLzYhB0+gJ70tAiEXi8Wi3yybDzlo1bGx8yePVsaGxsjgQkTJnSRWLduXfRnK1eulClTpsSW4nj0tBQR64X1Usz1gp7bxIkTZdy4cVJfX48eEivH8WLxdTmYnvS0CLBeMK0tW7bI9OnTo//o6V6TJ0+Wu+66S0aMGNHhA5LyfOihh6LPP3TokFRVVUW/086fP19qamo6jFdRUSGbN2+O/R8KOF47Kz2x64H1wnrBKqW4Umw8Fdd6FPXZvPzyy/LpT39aFi9e3O1fiFpaWuSee+6JmlPul4M4/wWI44nQE78kWC+sF7xaRHzXi+XckvqLEzomx0OlsBw9MSc0RU9UCsuVomdzc7O4u+pdE8j9R0/3u1HqjvvO/6EzifmtWbNGJk2aFDWcRo0aJU1NTdHvtO6fN27c2KHZlUSjhOOdbB7SU7+OWS+sF71KijPBxlNxrktRnpW7vfCxxx6TrVu3qudXV1cn3/3ud2XmzJlqtrsAxzspQ0+9jFgvrBe9Sk4mTkW9zJkzBz7FXA1+5EPc/DjeSSl65q4a1ktHH9ZLcdWLu7vj1ltvlZdeeind9HHNKHeXs7vTftasWbJ06dLopJNoPLm7m1xj6/nnn0/f4ZR5x1VmsyuJRgnHO/mUBD31f8OzXlgvepUUZ4KNp+Jcl6I8K/eL6YYNG2Tt2rXq+SXxL36Od5KZnmrJCeuF9aJXScfGk8+fZ6n/QukeD/nMZz6T81SXLVsmM2bMiPWoHcc7SUxP/cpgvbBe9Co5mfBdL7n+/Z5qmqaaT0n8vtTdZ7g7rW677TZZvXp1ekuJJBolHI+eluuP9cJ6sdRLMWXZeCqm1Sjyc0n9opH5X5yynXLqEZa4+zxxvHZdemIXBuuF9YJVSnvKd724Md0vi2effba4zX1zvZL4ixPHS7YRS096Wn6+sF6SrRd3x9PDDz/c7R337mfq1KlTozuf3J1QcffIc3eUDB06VBYsWJB12VP7Sbrfc924cfd44njt+8fSE/spw3phvWCVUnwpNp6Kb02K+ozct9a524/dv9zdho6f+tSn0uf7pz/9KWqSuF8AqqurO9yinO+kOB49LbXDemG9FHO9pJrI2v53STWeOF57NdATuypYL6wXrFI6/kcOHz/PXDPJNYJyjZVqPrmzi/uopPusefPmRXs7dffK/DKTuI0njifRY5OpLy+iZ+4rkfXCerH8rC6mLBtPxbQaJXAu7jbj++67L/qXg9vkMdvLPUqycOHCWBuLpz6X47V/cws9sYuD9cJ6wSqlPeW7XtyY7k6ryy+/vMs3I2Wet2sA9OnTJ5GfoRyv/a5RemJXBuuF9YJVSnvKZ700NDTIpZdemvMbk921fvXVV8sPf/jDWHuMph6py/ateZk+qWaX9iSAZsrx2oXoqVXKyd9d3COfrM/2Ox15/WF1UwwpNp6KYRVK9Bzcv+CPHDnS4exHjx5dsNlwvGRp6UlPiwDrxaLFLAUoQAEKUIACFKAABSiQEmDjibUQhID7ryQDBw6UQja+Ov9XLp/jBbFIRTQJ1ksRLUYJnIrvevFN4nt+vsfz7Rn6eL7Xz/d4oa+f7/mFvn5uc/Mbb7wxkTtUkbXxPR5yTszgAr7Xz/d4uASTiEBo68fGE7LqzJgFkvpFI/Pra91JuMfOst1amtQeHr7HQ2GT8gx9PN/r53u80NfP9/xCXz/f8/M9nu96CX083+vne7zQ18/3/EJfP7ehuft9020rUVVVFT3iN3/+/C6PSSfxrXZu7XyPh9aL77/4lup4vtfP93isl3aBpOqzWNcPXed8c2w85StXpsf5/EXDbSY5cuTI6F/6EyZMiPZjcRubu1fnb8xLovHkezw3D5+eoY/ne/18jxf6+vmeX+jr53t+vsfzXS+hj+d7/XyPF/r6+Z5f6OuX+tZT13AaNWpUtMm429jc/fPGjRujL9dJvZJoPPke71Q0unz/RdvneL7Xz/d4rJeTf+kv1eu9WNoWbDwVy0qUwHn4/kXD/Uvj1ltv7bBpnDsH980X69ati75Zb+nSpZFcEo0n3+P59gx9PN/r53u80NfP9/xCXz/f8/M9nu96CX083+vne7zQ18/3/EJfP3d3k/sPnc8//3z6DqfM/1CY+R8/k/iLqO/xfDcuQh/P9/r5Hi/09fM9P9/rV0wtBjaeimk1ivxcfP+i4W5n3LBhg6xdu7aLjHtvzpw56eZTEo0n3+P59gx9PN/r53u80NfP9/xCXz/f8/M9nu96CX083+vne7zQ18/3/EJfv+5+p0x9+9zq1avTd94n0XjyPZ7vv/iGPp7v9fM9Xujr53t+vtevmNoLbDwV02oU+bmcil80Hn74Ydm6dWtWmdTXrro7n9x/7Rs3bpzU19fnreh+cfM5nm/P0MfzvX6+xwt9/XzPL/T18z0/3+P5rpfQx/O9fr7HC339fM8v9PVzfxEdOnSoLFiwIOvvlO7O+8bGxqj55L7OffPmzbG+3Mb3eL7/4hv6eL7Xz/d4oa+f7/n5Xr+8/2JcgAPZeCoAaqgf6fsXDddMcv/id8/V19bW5mw+uTcXL14cq/HkezzfnqGP53v9fI8X+vr5nl/o6+d7fr7H810voY/ne/18jxf6+vmeX+jr5/7D5rx586K9nbp7pZpP7v24jSff4/n+i2/o4/leP9/jhb5+vufne/2KqS/BxlMxrUaRn4vvXzQcR0NDg1x66aXRt4l093r55Zfl6quvlh/+8Icyc+bMWIo+x/PtGfp4rBeR1F2ApdiI9V2fvusl9PmF7ul7/XyP53v9fI/n2zP08UJfv9Qjddm+RTnzl8zUv3NfeumlDhuOW38R9T2e77/4hj6e7/XzPV7o6+d7fr7Xz/rzqJB5Np4KqRvgZ/tszATI12VKvj1DHM/9AHevmpoaLyXje7zMSYW4fqdyfl4KJmMQ3+vne36+x/PtGeJ4vn+e+R7vVP58CbFefF/jp3L9TuVcCz2277/4hjqeazB390RGIdbQ93ipOYS6fqdqfoWojVL5TDaeSmWlTuF5+v5FkeMlu9ihe7q9LRYtWhTdFfelL31Jrr/++mQBO32a7/FCXz/OL9lypSc9LQK+f575Ho/Xg6Ua9Gzonr7/Ys/x9JqzJHx7ur2B3OOYkydPln/8x3+MddcbMk/f4/n25HhIFZR2ho2n0l4/L2fv+xdFjpfssobu6f5F9cgjj4j7lhm3H1hVVVVBm1C+xwt9/Tg/Xu8WAdaLRUvP+v555ns81oteA5ZE6J6+/2LP8SzVp2d9e27ZskVWrFgRbXNw6NChaF/aQjahfI/n25Pj6TVe6gk2nkp9BT2cv+9fFDlesosaumemltvvy22y6uuXAB/jhb5+nB+vd4sA68WiZcv6+Hnm++c168VWA1o6dE/ff7HneFrF2d737Zl5dmvWrJH/+I//iP4jqHuNHDlSbrnlFrn22msL8jiej/F8e3I8W72XYpqNp1JctVN4ziH+Yur7F2GO5+eWZPcv5d/85jddmlA333xzwX4JKPR4vP6S/eFHT3paBEKvl85/iSr0zzPf44W+fpyf5WrWsz7+Yh9646Kc5peaq3sc9ZlnnpEnn3yySxPqxhtvTHw/Ul/j8XrQf2ZYEr49LedWyCwbT4XUDfyzQ/yLve9fhDneZClUIyj0X3h4/SX7A5ae9LQIhF4v/PlpqQY9G3q9hDw/X3+xD71xUS7zy/xpkKqdH//4x7Jt27boLfco3g033BDdCZX0l+L4GI/XQ7JfZOTbU/+3VWETbDwV1rdsPt1355bjJVtaoXtqv/Dcf//9Mnr06GRRRaS7f6EkPV7o68f5JVua9KRnPgK+fp75/nnN6yGfauj+mJA9ffzFPvTGRTnNL3Ou7jFVdyfUww8/3KEJtXDhwoLche9jPF4PhWlC+WpUJvuTH/s0Np4wJ6ZAgVB/MfX9izDHK0wjqLtfeNxz+DNnzgSrPL9Y5r+gCzUer7/81qa7o+hJT4tA6PXCn5+WatCzoddL6PPz8Rf70BsX5TS/znN9/PHHZdmyZfKLX/zi/2/vbF6uqr44fvoDJBNHJSG9DAIj0XJgNUiofmhIg4w0CaHozQg0tKwcWVmIBYFlUiCRBr1MRKkc6CAQKoqgwkEGotFIyugP6Mf3yHo6nufc83LP2uve+9zPmWTPPWevvT977XX2WXvttZOfhiddTS2P8dBs87vcEc2zS9363IvjqQ89nq0l4PmhrQF45ZVX1oalespTWadPn66NgplkeW1U17N94yivTZ2GvUcJEufNm5d8MlFXv0nuv+jx3qaf4dmG0qV7sJ//RTtq5TKVo3mUjqD22tD9Tuxnv4UQ7Kfv+FPurFtuuaVWkT0/7FXWP//8UytzkuW1sQie7RtHeW3qNMw99u69+uqrk0RRta3TJPdf9HhvwzSaZ5s6DXsPjqdhyfFcKAEd4fv8888n3RtdbJDkffrpp9l3330X0s5oeSGNmjIheuFv3rx5Jpmkmn/VVVdlTz31VLZ161bXvfw6te+nn37KXn311UrKDz30UPbMM8+4bR+Mlhc93jXR+Oqrr/J8Y1U5F1566aXs5ptvzsR1Eq9ontH2LFreJOrAuNcZ++lnr6PH+1y3nzri/dtvv83t/3333ZetXr066XCSvOXLlw98v3sLj5bnXX/KyzKNQS1wWB4pMbn++uuzbdu2uUfz182H5CB5+umns0OHDrnNeaPlRY93bU0+f/78wH5Sfd54441G5/ekjAMcT5PSU2NYT00UFbr5999/V9Zu5cqVbh++5u2VM0iGVR/0KScB7733XrZnz57szJkzIeRTy9NLaenSpdn+/ftz42YT07rGydBt377drf0p9aVNe8oN8W7fbbfdluumHE2LFy/OxZ09ezZ79913s3vvvTf78ssv3ViqvSdOnBhYpl5Uq1atcuu/aHnR4930R3Zl9+7dsyYA3jylCCnHQ1nRonmmtmfl9qWWh/2cbbqwn+3NOfbT930UbT8VgffFF1/ki0q//fZb/kGvBNEPPvhgko9BzW0XLFiQvfPOO+2VrMedqeXJPj/55JPZjz/+mPPS+1QLPXXX119/7fb9IDn2DhwkU6fNXXfddUNRbNOecsGe7VPbbr311lyE5p/aHaJLc0Rx9rbVTfOhK664IvNsX7S86PFu+iO7cvDgwVl6781zKCV3fAjHkyPMaSpKH00aLEXvern95uTw5mL7Xk+ePJlPBCyqxPt0NDkSFP2gl/+wL6QubU8pz1Yhnn322Xy1Tob11KlTtdXzdBym1pc27Sk31rN9WrFYs2bNzMSqKMs+Wm3S1UUnqhwIf/zxR3b48OE8Gk9JysvXL7/8kk/yPMaf9CZSXhWbiPFuETMag+YoLK4wNU18uvZp6vFQV58InpKf0p5VtS+lPOznbOLYz+ZRj/28tD1tLtlPi+6yRVCLKpHjwuuEMnMkpIiWHvSOleMilTzNj95+++2ZubQiqM+dO1c7gPo4gsoFq8/uuuuu7K+//hoos8/8rE17yoI926eIIH0LffPNN7N0UE6/HTt2ZH/++WezwWq4Qxy1BXTLli35+33Dhg2zntDcVHOoPjyt0Gh5Vc2PGO+yj/Pnz88uXryYOwo1Dnft2jXTlzieeqsuBcwFAjK069evz44dO5Y87LiOlz7gZGzlUHn88cfdIjzUPnme61ZlPFcRouVF6+C46EuqdjetaOslvW7dut762TayS5NIRVj1nQhHy2vqn1Tjvdh/cmJqYiWn+osvvphvk3z44YddI8jGZTyk4hltz6LlNemp9+/joi/e7bLysJ8+9rqpf1KN92m1n+bE14f9kSNH3CJ05Eg4fvx47cKuZ0RJtLwmPfX+XVu/xDMiibd33duUV+fY1ZhfuHChSwRS28guOU48ovWi5TWxTjXei/2nd730VZdF3+N4auoZfp8KAk0TxdQQyqelKOrpo48+cnOCtYmg8VzxjZaXun/K5Y9aX1K3tynHjNeKb5sVdM+k5tHyBvVT6vFepZ/62+uvv55XSdsePB3box4PqXlG27NoeantCfbzcgLYz34al3q8T5v9LJ82pagnOTa8IuPbRNB4RsxEy+unzd2f9rIf3SXHPNGUo8vLcdEmAskzqXm0vEG9lXq8l/VT9nrnzp155JgWkbUI6ulojtHKwVLYajfqHphQ+Qqd3bhxY/brr7/2jqpoi2DQ0ZL333//xCb9bdv2FPfJqH/yySfZ999/X1n8pk2b3LhG60v0h2jddjr7zTM6UDx//vnn3hFUbfUqWp7qFTneBzmCVAdFPSmM3TPCMXo8RPNsq1eTfB/20y+HI/bTfyRgP32Z2ni3PE+WZ1Tbje644w5fYVNQmt6BR48ezd/zVZdnMmVFdGme65lns66Loh15luNw0FY7pV64cOGC27ea5ktLlixxW+hvUvdoebnbwKcAABX8SURBVKpP5Hgf5BgtRt/jeGrSEn6fCgIaLFrhKe5FTdVwS06o8uUBfu6557K7777bzZCmqve4liuP+o033pjveVfia53YoqiOG264If+3VvCUP8hzQhWpL01bxEyHPE8ps7DgquTikhd1QuK46lyXeo3beNckZNGiRa72JnI8jBvPLrowjvdiPy+9g7Gf46idWTZu433S7af0XA4nXUoq/sgjj4R9dI+nhvWrlT6o77zzzjw/64oVK/KUFpojKTWA/i3Gr732mlsEmdnrqoND+rWk+ummLWKac3s61qx9qk1VcnEtng06ATlF+ye9zHEb7xovnt9io+4fIp5G3QMTKl8e/b1799buQfeMEJA8nZ4nZ5NXOHMT+sgVbdWlGF1hdbNVNW/nniUctIi1osfdojEU3unFOlpfBvWtHdmt31Unz0tlv/nmm3l4bDGJpSZR+/btc3VaWL2LJ7VoMqMTY1JM8qMjyEYx3m0M6qROXSl5Ro+HUfDEfmI/u9hX7KdfBNkoxvtctp9ayLr22mtDFzsjI4LUd8XoChu3WoD03GJu5erDXomULQKpuBXM8k15LtRZ8m2dSDjoiogo0XztnnvuybZt2zbr5NwutrLq3kHfD3JEpXI6FeeFOtxJjsMUTpLoCLJRjHcbg3boU0qefXWt7/M4nvoSnNLnoz9Eoz+0o1e0i/LkqFi2bFne5B9++CFfafNKFm0cy1uLyqGeSob92GOPub0cR6UvVcPTWHsmAy3Lsb3pKVcpylFd5uhtyjc1jMkaRQRZsZ7SH8/cVVUMInmOajxEOSqxn9jPYeyMPYP97ENv9rPYTx+eUR/a0RFBRXlyCi1evDgHZif3eSWLtl4ozzeLjidLhu1xKprJi3Zc1GmbWK9duzZpmpKI8V6O6jLHXVO+qWFGYnQEWbGO0sfTp09nnrmrqhhE8hymDzyfwfHkSZOykhKI/DCMjggyeSdPnsyjVoqX5b/4+OOP3bY2SN77778/s/1LpyjouFWLAvI6hS2pQvQo3DvZpCXhrnM0eU4GTCfkbNLKSPHUtQjHmqFPHUG2efPmmS0OkqkIwBRHPo8Lzx4q3fgo9hP72agkLW/AfrYE1XAb9tOHY0QpkR+G0RFBkqdooKqTcG3bpn73ioCXPEVTWSSOUjxYFJDnKWwRejGMDK9k3yZbc8s6x4i388S+V3Rynfqy2B5zYv7777/DoOn0TMoIMs0JtfiunR92SWdTRKuNC89O8HvcjOOpBzwejSMQ/WEYHRHUdMpViom+jKhNJuy4bu0F16X99Z7JsOM0pVmSvRj379/vFtFl/ffss8/mSb/LiRflyLMXmMd++3JUU1k/vPWljmoqR5cxq8qZpW1wnolCx4lnswZ3vwP7+b9s1apVbsn4NeHFfmI/u4/E2U9gPz0opi0j+sMwOiKoab7g7SjRfPPll1/Ozpw5k3ecFj71txdeeGEmyt8zGXZa7ehWui0AeUZ0WZTRzTffnJ07d24mTYBqpneVdkxY+gePeX05qqmsH976Ukc4RQSZMZPcqpxZnmlkJGOceHbT5uHuxvE0HDeeKmT9jzgVLfrDMDoiqM542sTUVhe8lE/73vWisgSxevkrP5EZW8nzuqK3FhWTq1a1IcXWxeeff/4yUeYcMUeXXvjnz5/PdMJI39XDNo7RdevWuX1oN+lB08S16fny78pvsWbNmqxqclZ3AlZXOXb/KHhG5kDCft6YYT/bjw7s520Z9rO9vsx1+xn9YRgdEVS38Gnzl75zlqI2WaTfjh078gh//b8Y2+KcZ3S/5EZvtSsmp64aRSm2Liope/Eqpl44cOBAdvDgwezw4cPZ8ePHZxx+7Uf45Xe2cYxG5MyyWnk7uiwn2KBTAqW32iHidY0bT692DSoHx1NqwnO0/OgcHtETm1GsaMvxI7mHDh2aSUQtzjt37sz/7hnhMUgtJU+XkgR6XtE5guS4ePvtty9rwvz58/PcWVdeeWX2wAMPuLbR2mcv26KzSRFQypVgyTKLYeXDMi47ZoovLnPMeKxstalfygiyQTrvvRU0mif20z+iEvvpd8oc9nNpWMQv9rPNW+bye6LtZ/SHYXREkDl+lPi6mIha807lHI1ywkqe13a+osZE5wiy75ViHdQu5c5SknrP00AlQ+1T9JicSpJj81FFjSkNw/Lly/N+te+avtFWZcdM0fFjixZREWupIsgGRUin2Ao6Tjy7W+PuT+B46s6MJ7JLx/XK6xt1Klr0h6E6OWVEUJMjpqxkitDxPr56HBQ5ZY6LyPZVrRjaZFX1OHHixIzj0Cs6SM4XrUJqEqMJhxxammAoak3bgDxPhRlFBETRWVfuSy+GxXKjeWI/h4+oxH5e0lzs5/BWPnq8K9J10JUiAhf76XeqZPSHYeqIoCZHTFlPFb2tCJpy/tHhR994PJkyR1BkC6vmQ+YMeuWVVy7bZu4RHWRb0RYsWJA7JpWaQ1FcujT/9EgnUeQ3iggyc9ZV9aMHw2K50TwjdXMAvyuu+DciC9ioW4p8VwJtIpA8T0VT5SMnioNgeUUEtdl6Vq7DypV+xy2rbEXGyKEgo1d1bdq0yX1lpkqOV44LMb3pppvySCZLplin9J6npInjnj17Lgthtsimv//+O4njadDx45oA7Nq1yzWiKzoCom47XaqIrkie2M9+EZXYz/8sG/ZzuKlN5HjHfvq+j6Lt57h8GHpFBLXZelYeVYoS94xG0pj48MMPs4sXL1YO4ChHl0eOIJtv2uEydthMnWXyPCVNjhk5gSw9RjGySSkgitE7Xk4TyZCDSadu26XDX5Sna/v27cMZ5QFPRUeQ2Xx+0FY7LSJ4R3RF8nTtnCEKI+JpCGg8ciniKfpUtMiJ4lzv42LCQa1mjdLxJNl9I1hsu0JxX3s559KgPlX7i9sbh+l747lixYr8Jf/DDz/kL2TlKtDe+m+//TbTiYW6li7138ZhzkPPieEwHDyfsVXZquTiihDwjOgq1zs1T+ynp6bEl4X9/I859jNe/9pIxH765jicpg/DNvrV5x7bwSBHheZMVVeU40my+zpjyqkWukSUeUQHGU+bKynaUdHwR44cydauXZtHwCttwWeffZbnGPV2mmgxcNGiRa6LnX30q++ztpijcqqSi3v0WV0d5xrPcltxPPXV0Cl9fhQ5kIqoU38YSta4RASlUDG9KF9//fU8meOonRUeOS70ovjggw9mTvNQ35WTLVZxVDSSwoQ9TrjTy1+n2umFrxe98iUo7FiTK/3bVob0/7ZFtU/fqo2K2rL+M31V+Y8++mjSflWfeUaMVXEY5GhWaPe+ffsmepKD/cyyqIjKPmNs0LPYz0tksJ/DaRf2czhu9tSo7WfEh+G4RAT166nqp+WY0dV3wc+jbh45gmy+qXmXIu7Vd8rt2XTZAmXfnEuSY+8knV5ni8maA2uRTpclbvc6Ebi4w0Dlm77edddd7jlUixwtuswzYqyqnwY5muWIKuZBa+pjfp9NAMcTWjE0gZQ5kBQKrGSxdnKAjNzvv/8esvVLQEaxoh19ylUx79DQStDywegcQS2rld/WN9qqTlbRQWrh7R4h6zbxtmTmxeNfrT4ezq3yC3/z5s2zQqv1It66dWtSR5DGxj///JNZKHuX/q26dxy2amE/fbfyYj+/TDoGB4057Gc7a2R5e8pbU7Cf7fiV70ppP23uqXe2Lv1XER1e75+mFo8iIkgyjx49OjD1gmcEUkqbUcU2OkdQU/8Wf+8bbVUnyxykukfRTro8Dtax7zObY5q+asFVC69ezq1i29QWpW8xB5p+k7xt27ZlTzzxRBfkne/1XigYh62unSE4PoDjyREmRV1Kdqqr76lo5T38dce9puAevaIdfUqLOSq0/SsiYWR0josuOqG6XXPNNSEcutSr7l7pZzF5rOmrJgK6brzR//h45VjTS79q61uKiYYXq6pyuianVvsiInSwn8P1OvbT95TOLr2A/WxHC/vp62iuou5lP8uOkWhHSXREkEWd29Y3i5TRPF7/tgTSXtHxFh1elUOn3Wjqdld0jqAutdOirIczqIvMvvdKP4vJt01ftZ3PdEkOKC99KS6sVm19sxQbfdsV9XyXrZg2Jj0dv1HtHCQHx9Ooe2CC5Ecmb5ZHeP369Xnyuttvvz1fiVFOl7feemsgMc/Qy2hHV/QpgYJoqxZKBlh16WM7wik1QUOgtqrRERdFx5MSmWtyaCHA3hPl8qmSRRB1icD79K0+IrRKp+08VZd3sn0xmz9//mXb+OyYaX00WuLOYduE/RyWXPNz2M9mRuN+B/bzR9f3LfZz3tA8FfGk+ZHmRnrPbNmyJT/cZsOGDQOHkR1s4jHOvN/fTXVSRJCSfMtxoKsYhaPIMp2a651TUYxV5rp16yqrZ9vWmurO75cIREesmePJou+PHTuWrV69epb+ePRP+VTJYpn27rfdMR7yVIbaZVFiVWV67Fywcm3hrJyYXe9EbV3U3FNjdK5cOJ7mSk8mbscokjd38Qqr+Z5e7+iIoOhTWsSriW9fnpEf2onVv7H46IgLc/bIMauVJW3fKK4w2Yl6XiHITY5YTco1gfQ6zcQcPsWw6nIneOTlsjI1adu4cWNl7i2PU8Own41DqNcN2M8sec61Xh3U8DD2E/tZpyLR9lPzP+Vl1Du17WXb3tveX3dfdERQ2dFVdDxpbC5cuDDzyENkbW7Dtw/PUZ8y56EDXcqIjlgzZ48cJVoAVV6pM2fO5FUunqjntXBd54g1/eyjL2XW5vBRuwZdnuNBjrXvv/9+xvFblOlx6mIXXYq4F8dTBOU5IGNUyZvtBXL48OHGiCfPFSd1WWREUPQpVxZRJueSVvSqrj48oyeKox5io4i40MtKidEViltcEUkR6lze2lfm7b1Ca/pZXEVL2cdNjrW+7cN+zu49z4hK7Od/fD1OmUs51qrKxn7+77Ijz/vyx35eItg3+b0+ov/4449WEU/e+Z8iI4IUTaF8ORYxXVy4SvFhbxFlmrcod1bV1YfnqE+Z6zt+uz4fHbEmnXj44YfzbZjSm88//3wmulDsDxw4MOOI6tqWqvvLW/vK93jnyZJ+Ksqv2C6Pdgwqo2l+6d2+lG1pUzaOpzaUuKcXgaZB1aZwOyXCK6KijczUEUHFOkSf0tLkSGjDp+6eUX1o9633sM+PIuJiUF2lS0rE7bXaJDl12+nsN08nUZMjaNh+GvScfahVrWLZ6tfu3buTJ7EcNOlatWpVr2gy7Odrmbd+Fre6eusj9vNyR4wiKpVY1iuCs66/sJ/dtXmu20+9j5YsWTKzlag7oW5PpI4IKtdG/ffyyy/POAuKWw3t5LULFy70zt1qcpscCd1ozb57HE6Z69uGLs9HR6zV1a182nKXdgy6VwsTe/bsyapygtnBRd762XfO1aXd5uiqal+dbe0iY5zuxfE0Tr0xR+syiclHU0cEVXV1ylNayvKiQ7m7qLaHo7KLPI97oyMuPOrctQxzxFYlF9eRvZ45IOq2vnWtd5v7i1v7lCtr2bJl+WNnz57NIx91eZ8S2KZeugf72Y4U9vMSJ+xnO32Jvgv7+aub46JL302i/UwdEVTmZycu7tixI1+wKm91//jjj11zzMhWaxujvVu79GfqeycxuiQ6Yi11H1Tppw7M0VWVXFwpJyxaz6NudVvfPMovl2GLm/q7+nLx4sX5Leb0nbTDe5oY4XhqIsTvU0kgdURQW6hep7RUydNEWKdO7Nq1ayQTwkEMJnGiGB2x1lZ/PO+TLr755pvZu+++m+/pt0uOmn379rnrULR+qn07d+7MJ8Pl9tmE3JPnXC4L+zm63sV+jo59nWTs5y3j2TFjWKvUEUFtm6x5jdfJZEWZltNtVFHEde2fxFPmoiPW2uqP533SRTmYlM/ULqWZkCPK0+mkskehn3I+aTyU2ydH1Lh9o/XtVxxPfQny/JwkMM4RQR7A9aLau3dvVpe8uW9ycY96TlIZkREXo+ail6S28/XJw1DXBvRz1D3cTz720/ewi369MRlPYz/9+gn76cdyFCWNc0SQBw87pawuebtnsmiPOo9zGdERa6NmoTym8+YNf2plU/3RzyZC/X7H8dSPH0/PYQLREReRKGW4T506VSvS+7j6yPaNi6yUEWvj0sYU9UA/U1CNLRP7uTKZYza2J0cnDfs5HHvs53DcxuWpUURcRLZdjtFz587VivQ8rj6ybeMkK1XE2ji1MUVd0M8UVP8rE8dTWr6UPqEEWDGc0I6j2hCAwMgJYD9H3gVUAAIQmFACRFxMaMdRbQhAoJEAjqdGRNwwjQRYMZzGXqfNEICABwHspwdFyoAABKaRABEX09jrtBkC00EAx9N09DOthAAEIAABCEAAAhCAAAQgAAEIQAAC4QRwPIUjRyAEIAABCEAAAhCAAAQgAAEIQAACEJgOAjiepqOfaSUEIAABCEAAAhCAAAQgAAEIQAACEAgngOMpHDkCIQABCEAAAhCAAAQgAAEIQAACEIDAdBDA8TQd/UwrIQABCEAAAhCAAAQgAAEIQAACEIBAOAEcT+HIEQgBCEAAAhCAAAQgAAEIQAACEIAABKaDAI6n6ehnWgkBCEAAAhCAAAQgAAEIQAACEIAABMIJ4HgKR45ACEAAAhCAAAQgAAEIQAACEIAABCAwHQRwPE1HP9NKCEAAAhCAAAQgAAEIQAACEIAABCAQTgDHUzhyBEIAAhCAAAQgAAEIQAACEIAABCAAgekggONpOvqZVkIAAhCAAAQgAAEIQAACEIAABCAAgXACOJ7CkSMQAhCAAAQgAAEIQAACEIAABCAAAQhMBwEcT9PRz7QSAhCAAAQgAAEIQAACEIAABCAAAQiEE8DxFI4cgRCAAAQgAAEIQAACEIAABCAAAQhAYDoI4Hiajn6mlRCAAAQgAAEIQAACEIAABCAAAQhAIJwAjqdw5AiEAAQgAAEIQAACEIAABCAAAQhAAALTQQDH03T0M62EAAQgAAEIQAACEIAABCAAAQhAAALhBHA8hSNHIAQgAAEIQAACEIAABCAAAQhAAAI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yB1P4VIRCAEIQAACEIAABCAAAQhAAAIQgAAEIDAVBP4PSUvMkZPYWOAAAAAASUVORK5CYII=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AutoShape 3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5/z418Mk19Frl+ypvSkp0WA9WLR0rP01I0sCXpatPQsPXUjS4KeFi09S0/dyJKgp0VLz/r21M8o0MbTT3/6U/nUpz4Vze5Pf/qT3HrrrdG+T5mv1J+3tbXf5cJX9wK+C9fneMt//7qs3X4wmvyZp1XKgq/Wyjl9eha0HHzOz02E4yW7nPSkp0WA9WLR0rP01I0sCXpatPQsPXUjS4KeFi09S0/dyJKgp0VLz9JTN7IkfHtazi1btmTveLJMnI0nXct34foab/v+o7Lo6T1pgFlfGCBX1fXVQWImfM0vdZocL+aCdTqcnvS0CLBeLFp6lp66kSVBT4uWnqWnbmRJ0NOipWfpqRtZEvS0aOlZeupGloRvT8u5BdN4WrVqlezduxea+6BBg2TKlClQ1ndo9uzZ0tjYGA07dOhQaWpqSp+Cm+PUqVPT/7xz506pra0V9w1+Luteixcv7vBNfnV1dfLoo4+mv+3PMh/fhetjvPc+PC5zf9EsB4+2RhSjhpwlt18z0MKSdxaZ38Hvfcb0+dU/+F/d5pHxTIMpYY6XpCbvWEtWk570tAnw55nNS0vTUxOyvU9Pm5eWpqcmZHufnjYvLU1PTcj2Pj1tXoVOl+QdT4VG8fH5bkN0tznz0qVLo+EmTpwYNZbcP6c2S081m5YsWSLLli2LGlOuWTV27NiomeY2WU/dzeX+fPDgwR0aUZZ5hHhhPvjbffLCrnfaGY4dkWX/18joUTsfL8STjSd8JRBP/NP0JMfTjSwJelq09Cw9dSNLgp4WLT1LT93IkqCnRUvP0lM3siToadHSs/TUjSwJelq0Cp9l46nwxtAIrrm0YcMGWbt2rbj/vXv37nRTyn1A6pv87r33Xpk3b150V5O7w8k1o9zdUe5OJ3dsvq/QLsznmg5L47P70xwn/vBzWfGTBfnymI9DPNl4wlkRT/zT9CTH040sCXpatPQsPXUjS4KeFi09S0/dyJKgp0VLz9JTN7Ik6GnR0rP01I0sCXpatAqfZeOp8MbQCO6OJfdydzy5u5/GjRvX5TE613TatGlTlzueMu98ggbLEgrpwnzrSKs0PNEs7lE795o4vFrWPPid6A4zXy/Ek40nfDUQT/zT9CTH040sCXpatPQsPXUjS4KeFi09S0/dyJKgp0VLz9JTN7Ik6GnR0rP01I0sCXpatAqfZeOp8MbqCKl9m1KP1uVqPI0aNSq9x9PKlSujO53cHVDTp08Xd/ysWbM63CmlDv7fgVAuzOMn2mTR03tlx9+ORjMbWHW6zL+hVr71zZvYeEKLAciFUi/dTZXzA4rAEKGnAQuI0hNAMkToacACovQEkAwRehqwgCg9ASRDhJ4GLCBKTwDJEKGnActDlI0nD8jaEO6ROXc3U2oT9FyNp8yN0t0jeZmv+vr66PG79evXR/tFWV7uwgzhVXHR56Vi6DXtU2k7ISe2PiLy7htFObV/rfuz6bz+uenvTHmGKUABClCAAhSgAAUoQAEKUCBMAZ9P9MQVZOMprmDM412jaMaMGR0eq8t87C718e5xutQdUe7P3Abkrlnl9nXK3HDcNa1Se0BZTi2EjvCelg/ke7/cJe6uJ/eaevl5MunSmuh/F+P8+KgdXqHFuH742etJzk83siToadHSs/TUjSwJelq09Cw9dSNLgp4WLT1LT93IkqCnRUvP0lM3siRC97RYZMuy8RRXMMbx2ZpOqabSmDFj0o2mzG+1Sw2X2YhK3fkU944nnx3TpC/M1uNtcs+TzbLv0LGIaNgFvWXudYOkskcFG08xarS7Q5NeP+0UOZ4mZHufnjYvLU1PTcj2Pj1tXlqanpqQ7X162ry0ND01Idv79LR5aWl6akK29+lp89LSvj2189HeZ+NJEyrQ++6b6KZOndrl01N3Nblm0pw5c9Lvt7W138XjXu6uJrenU+Zjd64R5V7lusfT8t+/Lmu3H4wMzjytUhZ8tVbO6dMzbeb7wkTG4x1P+MWFeOKfpic5nm5kSdDToqVn6akbWRL0tGjpWXrqRpYEPS1aepaeupElQU+Llp6lp25kSdDTolX4LBtPhTcuiRFK+cLcvv+oLHp6T9p51hcGyFV1fTu4F+P82HjCL41iXD/87PUk56cbWRL0tGjpWXrqRpYEPS1aepaeupElQU+Llp6lp25kSdDToqVn6akbWRKhe1ossmXZeIorGMjxpXqhvPfhcZn7i2Y5eLQ1WolRQ86S268Z2GVVinF+bDzhF08xrh9+9nqS89ONLAl6WrT0LD11I0uCnhYtPUtP3ciSoKdFS8/SUzeyJOhp0dKz9NSNLInQPS0WbDzF1Qr4+FK9UB787T55Ydc70cpU9+4pi75WGz1q1/lVjPNj4wm/oIpx/fCz15Ocn25kSdDToqVn6akbWRL0tGjpWXrqRpYEPS1aepaeupElQU+Llp6lp25kSYTuabFg4ymuVsDHl+KF8lzTYWl8dn96VeZed5EMH9A76yoh8/PdCPI9XpLli3hyPFyAnrgVkqQnooRn6IlbIUl6Ikp4hp64FZKkJ6KEZ+iJWyFJeiJKeIaeuBWSDN0TMciV4aN2cQUDOb7ULpS3jrRKwxPN4h61c6+Jw6tl2hXnd7sayPx8N4J8j5dkqSKeHA8XoCduhSTpiSjhGXriVkiSnogSnqEnboUk6Yko4Rl64lZIkp6IEp6hJ26FJEP3RAzYeIqrVAbHl9KFcvxEmyx6eq/s+NvRaGUGVp0u82+olZ6V7d/sl+2FzM93I8j3eEmWMeLJ8XABeuJWSJKeiBKeoSduhSTpiSjhGXriVkiSnogSnqEnboUk6Yko4Rl64lZIMnRPxCBXhnc8xRUM5PhSulCe+mOLrHz+jUi+skeF/OArQ+Siml45VwKZn+9GkO/xkixVxJPj4QL0xK2QJD0RJTxDT9wKSdITUcIz9MStkCQ9ESU8Q0/cCknSE1HCM/TErZBk6J6IARtPcZXK4PhSuVD2tHwg3/vlLnF3PbnX1MvPk0mX1qgrhMzPdyPI93gqkiGAeBo+To1yPJXIFKCniUsN01MlMgXoaeJSw/RUiUwBepq41DA9VSJTgJ4mLjVMT5XIFKCniUsN+/ZUT0gJ8I6nuIKBHO+7cLONd8eqv8iBd1vzFu338Z7ywJRPZD0emZ/vRpDv8fKGzXIg4snxcAF64lZIkp6IEp6hJ26FJOmJKOEZeuJWSJKeiBKeoSduhSTpiSjhGXriVkgydE/EIFeGjae4goEcXwwXyrSHX4mtufyWS9h4iq2of0Ax1It+lvknOL/87bIdSU96WgRYLxYtPUtP3ciSoKdFS8/SUzeyJOhp0dKz9NSNLAl6WrT0rG9P/YxyJ9h4iisYyPG+CzfbeDN/9qocPdb+LXX5vHqfXikPffPirIci8/N9B5Lv8fIx7e4YxJPj4QL0xK2QJD0RJTxDT9wKSdITUcIz9MStkCQ9ESU8Q0/cCknSE1HCM/TErZBk6J6IQa4MG09xBQM5vpgvlDfe+VAanmiWD1pPRNpjP3m2zBjb3ySPzM93I8j3eCYwJYx4cjxcgJ64FZKkJ6KEZ+iJWyFJeiJKeIaeuBWSpCeihGfoiVshSXoiSniGnrgVkgzdEzFg4ymuUhkcX6wXims2ff9Xu2TfoWPRKrhvr7vnS4OlV88eplVB5ue7EeR7PBMYG0+yYsWKJMlyfhZSn0meDMdLUlOEnvS0CLBeLFp6lp66kSVBT4uWnqWnbmRJ0NOipWfpqRtZEqF7WiyyZXnHU1zBQI4v1gul8dn98lzT4Uj5zNMqZf4NQ+S8s04zqyPz890I8j2eGS3HAYgnx8MF6IlbIUl6Ikp4hp64FZKkJ6KEZ+iJWyFJeiJKeIaeuBWSpCeihGfoiVshydA9EYNcGTae4goGcnwxXijPvHJQ/v13r6eF7xx/oVw2qE9e4sj8fDeCfI+XF1w3ByGeHA8XoCduhSTpiSjhGXriVkiSnogSnqEnboUk6Yko4Rl64lZIkp6IEp6hJ26FJEP3RAzYeIqrVAbHF9uF0vTm+zL/N7vl+Im2SP+Gy/rJjZ89N++VQObnuxHke7y88bIciHhyPFyAnrgVkqQnooRn6IlbIUl6Ikp4hp64FZKkJ6KEZ+iJWyFJeiJKeIaeuBWSDN0TMWDjKa5SGRxfTBfK4fc/knue3CUHj7ZG8sMH9JbvThgklT0q8l4JZH6+G0G+x8sbj42nJOmyfhZSn0meBMdLUpN7PCWrSU962gT488zmpaXpqQnZ3qenzUtL01MTsr1PT5uXlg7dU5u/9j4ftdOEyuT9YrlQ3B1OP1q3V7bvPxrJV/fuKQu+Wit9elXGWglkfr4bQb7HiwXY6WDEk+PhAvTErZAkPRElPENP3ApJ0hNRwjP0xK2QJD0RJTxDT9wKSdITUcIz9MStkGTonohBrgwbT3EFAzm+WC6U1VvflF+/fCBSdXc4ff/Lg2VIvzNiKyPz890I8j1ebMSMD0A8OR4uQE/cCknSE1HCM/TErZAkPRElPENP3ApJ0hNRwjP0xK2QJD0RJTxDT9wKSYbuiRiw8RRXqQyOL4YL5cU9R+T+Z/6a1v72VRfINcOqEtFH5ue7EeR7vEQg//tDEE+OhwvQE7dCkvRElPAMPXErJElPRAnP0BO3QpL0RJTwDD1xKyRJT0QJz9ATt0KSoXsiBmw8xVUqg+NP9YXyxjsfSsMTzfJB64lIe+wnz5YZY/snJo/Mz3cjyPd4iWEK92BJ0tJ9FlKfSY7J8ZLU5Polq0lPetoE+PPM5qWl6akJ2d6np81LS9NTE7K9T0+bl5YO3VObv/Y+H7XThMrk/VN5obhm0/d/tUv2HToWaV9U00vu+dJg6dWzR2L6yPx8N4J8j5cYJhslSVJGn4XUZ5KDcrwkNbl+yWrSk542Af48s3lpaXpqQrb36Wnz0tL01IRs79PT5qWlQ/fU5q+9z8aTJlQm75/KC6Xx2f3yXNPhSPrM0ypl/g1D5LyzTktUHpmf70aQ7/GSBEU8OR4uQE/cCknSE1HCM/TErZAkPRElPENP3ApJ0hNRwjP0xK2QJD0RJTxDT9wKSYbuiRjkyrDxFFcwkONP1YXyzCsH5d9/93pa8c7xF8plg/okrorMz3cjyPd4SaIinhwPF6AnboUk6Yko4Rl64lZIkp6IEp6hJ26FJOmJKOEZeuJWSJKeiBKeoSduhSRD90QM2HiKq1QGx5+KC+UHDzwi83+zW46faIuEb7isn9z42XMLoo3Mz3cjyPd4ScIinhwPF6AnboUk6Yko4Rl64lZIkp6IEp6hJ26FJOmJKOEZeuJWSJKeiBKeoSduhSRD90QM2HiKq1QGx/u+UG769gypGf9dOXi0NdIdPqC3fHfCIKnsUVEQbWR+vhtBvsdLEhbx5Hi4AD1xKyRJT0QJz9ATt0KS9ESU8Aw9cSskSU9ECc/QE7dCkvRElPAMPXErJBm6J2LAxlNcpTI43ueF4u5w+taP14hUDYlkq3v3lAVfrZU+vSoLJo3Mz3cjyPd4SeIinhwPF6AnboUk6Yko4Rl64lZIkp6IEp6hJ26FJOmJKOEZeuJWSJKeiBKeoSduhSRD90QM2HiKq1QGx/u8UFZvfVN+/fKBSNXd4fT9Lw+WIf3OKKgyMj/fjSDf4yUJjHhyPFyAnrgVkqQnooRn6IlbIUl6Ikp4hp64FZKkJ6KEZ+iJWyFJeiJKeIaeuBWSDN0TMWDjKa5SGRzv60J5cc8Ruf+Zv6ZFv33VBXLNsKqCCyPz890I8j1eksiIJ8fDBeiJWyFJeiJKeIaeuBWSpCeihGfoiVshSXoiSniGnrgVkqQnooRn6IlbIcnQPREDNp7iKpXB8T4ulDfe+VAanmiWD1pPRKJjP3m2zBjbv1td342Z0MdLsox91Evm+XK8JFdPhJ70tAiwXixaepaeupElQU+Llp6lp25kSdDToqVn6akbWRL0tGjp2dA9dYHciQr3amtra/9aMb7KVqDQF4prNn3/V7tk36Fj7cbvviEP3/b30qtnDzaewKqr/sH/6jZZ6PXrPDDHAxcNjNEThAJj9AShwBg9QSgwRk8QCozRE4QCY/QEocAYPUEoMEZPEAqM0ROEAmOhe4IM3cbYeIorGMjxhb5QGp/dL881HY60zjytUt79nw/Kikd+klMv9DuQfM8vyVItdL2w0ZXkanX9LK5fsr70pKdFgPVi0dKz9NSNLAl6WrT0LD11I0uCnhYtPUtP3ciSCN3TYpEty8ZTXMFAji/khfLMKwfl33/3elrqzvEXyo/mzpQVK1aw8WSoH97xlLteDJRqtJDXQ7bBOZ66JKYAPU1capieKpEpQE8Tlxqmp0pkCtDTxKWG6akSmQL0NHGpYXqqRKZA6J4mjCxhNp7iCgZyfKEulKY335f5v9ktx0+0P815w2X95MbPngvtMeP7jqDQx0uyVAtVL92dI8dLcvW4x1OymvSkp02AP89sXlqanpqQ7X162ry0ND01Idv79LR5aWl6akK290P3tGl0TbPxFFcwkOMLcaEcfv8juefJXXLwaGukNHxAb/nuhEFS2aOCjScR8d3oSrJUC1Evuc6P4yW5emyUJKtJT3raBPjzzOalpempCdnep6fNS0vTUxOyvU9Pm5eWpqcmZHs/dE+bBhtPcb0SP3727NnS2NgomzdvltGjR6c/f9WqVTJ16tT0P+/cuVNqa2ulublZhg4dGv354sWLpb6+Pp2pq6uTRx99tMPnoCec9IXi7nD60bq9sn3/0egUqnv3lAVfrZU+vSqjf0bG892YCX08tBaQHLJ+yOegGY6HSmE5emJOaIqeqBSWoyfmhKboiUphOXpiTmiKnqgUlqMn5oSm6IlKYTl6Yk5oyrcnel7d5XjHU1zBGMdXVFTIypUrowZTZuNpy5YtMmbMGEk1m5YsWSLLli2TpqYmcY2qsWPHypQpU8Qdn/pCQvfngwcP7tCIspxa0oW7euub8uuXD0Sn4O5w+v6XB8uQfmekTwkZL/RGkO/5WepByyLrp32G5X2OZ9HSs/TUjSwJelq09Cw9dSNLgp4WLT1LT93IkqCnRUvP0lM3siToadHSs/TUjSwJ356Wc8uWZeMprmACx7sGUmbjyTWadu/eLUuXLk1/eipz7733yrx586K7mtwdTq4Z5e6Ocnc6rV27Nu+zSbJwX9xzRO5/5q/pc/n2VRfINcOqOpwbMp7vxkzo4+VdHFkORNaP4+EC9MStkCQ9ESU8Q0/cCknSE1HCM/TErZAkPRElPENP3ApJ0hNRwjP0xK2QZOieiEGuDBtPcQUTOL5z42nixIkybty4Lo/RuabTpk2butzxlHnnU76nk9SF8sY7H0rDE83yQeuJ6FTGfvJsmTG2f5fTQsYLvRHke3751ka245D143i4AD1xKyRJT0QJz9ATt0KS9ESU8Aw9cSskSU9ECc/QE7dCkvRElPAMPXErJBm6J2LAxlNcpQIfb2k8jRo1Kr3Hk3tMz93p5O6Amj59evRo3qxZszrcKYWeehIXims2ff9Xu2TfoWPRsBfV9JJ7vjRYevXswcZTloVg4wmtTmxPMPzT9GQS14M+yskEx7No6Vl66kaWBD0tWnqWnrqRJUFPi5aepaduZEnQ06KlZ+mpG1kS9LRo6dnQPXWB3Ane8RRXMIHjLY0nt7dT6uUeyct8uY3G3eN369evjzYit7zchRL3VXHJV6Ti/EvbP+ajY3Ji68Mi7x/K+2P/te7PpmP/uenvTPnO4dDHi4XDgylAAQpQgAIUoAAFKEABClCgaARWrFhRNOeinQgbT5qQh/c7N57cRuHu1XmPp9Rm4+49twG5e/TO7euUueG4e0wvtQeU5dTjdmifeeWg/PvvXk8Peef4C+WyQX26PQVkPN93BIU+nqUetCyyftpnWN7neBYtPUtP3ciSoKdFS8/SUzeyJOhp0dKz9NSNLAl6WrT0LD11I0uCnhYtPUtP3ciS8O1pObdsWTae4gomcHznxlOub7VLDeeOyfzWO/fnce94yrdj2vTm+zL/N7vl+Im26PRuuKyf3PjZc3PKIBdK6I0g3/NLoFTTH4GsH8fDBeiJWyFJeiJKeIaeuBWSpCeihGfoiVshSXoiSniGnrgVkqQnooRn6IlbIcnQPRGDXBk2nuIK5nl8c3Nzeq+mzI/IbCbNmTMn/VZbW3tTx73cXU1uT6fMx+5cI8q9fO/xdPj9j+SeJ3fJwaOt0fjDB/SW704YJJU92s+nuxdyYfpuzIQ+Xp6lmvUwZP04Hi5AT9wKSdITUcIz9MStkCQ9ESU8Q0/cCknSE1HCM/TErZAkPRElPENP3ApJhu6JGOTKsPEUVzCQ47NdKHes+osceLe9oZTPq9/He8oDUz6Rd+Mi9EaQ7/nls4bdHRP6D1bOL8lq4ebwyWrSk542Af48s3lpaXpqQrb36Wnz0tL01IRs79PT5qWl6akJ2d737Wk7u65pNp7iCgZyfLbCnfbwK7Fnt/yWS9h46kaRjSe8vHz/YOV4+NogSXoiSniGnrgVkqQnooRn6IlbIUl6Ikp4hp64FZKkJ6KEZ+iJWyFJeiJK/jJsPPmzLuqRsl2YM3/2qhw9djzv8+59eqU89M2L2Xhi4ynvGkodyH9xxCbs8AH0pKdFgPVi0dKz9NSNLAl6WrT0LD11I0uCnhYtPUtP3ciSoKdFS8+G7qkL5E6w8RRXMJDj87lQ3DfZPbbtLRn/qSp1M/HOTMh4vu8ICn28JEsVWT+OhwvQE7dCkvRElPAMPXErJElPRAnP0BO3QpL0RJTwDD1xKyRJT0QJz9ATt0KSoXsiBrkybDzFFQzk+GK8UEJvBPmeX5KlWoz1wvnhAlw/3ApJ0hNRwjP0xK2QJD0RJTyhrr9XAAAgAElEQVR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L8YLJfRGkO/5JVnGxVgvnB8uwPXDrZAkPRElPENP3ApJ0hNRwjP0xK2QJD0RJTxDT9wKSdITUcIz9MStkKRvT+Sc2HiKq1QGx/suXGQ8342Z0MdLsoyR9eN4uAA9cSskSU9ECc/QE7dCkvRElPAMPXErJElPRAnP0BO3QpL0RJTwDD1xKyQZuidiwMZTXKUyOL4YL5TQG0G+55dkGRdjvXB+uADXD7dCkvRElPAMPXErJElPRAnP0BO3QpL0RJTwDD1xKyRJT0QJz9ATt0KSvj2Rc2LjKa5SGRzvu3CR8Xw3ZkIfL8kyRtaP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+kUHL9lyxYZM2ZMeuTNmzfL6NGjo3+uqKiI/v+sWbNk6dKl6czEiRNl+vTpMmXKFPMZIxdK6I2Z0OdnLoocByD1wvFwAXriVkiSnogSnqEnboUk6Yko4Rl64lZIkp6IEp6hJ26FJOmJKOEZeuJWSDJ0T8QgV6bCvdra2trifhCPT06gublZhg4dKqlm06pVq2Tq1KnilmnJkiXRQPX19VJXVyfr16+X2tra6M93797doRFlOSPkQgm9MRP6/Cz1oGWRetE+w/I+x7No6Vl66kaWBD0tWnqWnrqRJUFPi5aepaduZEnQ06KlZ+mpG1kS9LRo6Vl66kaWhG9Py7lly7LxFFewAMe7RtOjjz4qa9euTX+6azLde++9smnTJhk7dmx0V5O7w8nd8fTaa69Fdzo1NTXlfTZI4YbemAl9fnkXR5YDkXrheLgAPXErJElPRAnP0BO3QpL0RJTwDD1xKyRJT0QJz9ATt0KS9ESU8Aw9cSskGbonYpArw8ZTXMECHD979uzoUzs/Rjdu3Lj0aJl3PI0fPz5951O+p4NcKKE3ZkKfX761ke04pF44Hi5AT9wKSdITUcIz9MStkCQ9ESU8Q0/cCknSE1HCM/TErZAkPRElPENP3ApJhu6JGLDxFFfJ8/G5Gk+u4ZTa42nx4sXR43XuDih3h9S6detkwoQJHe6UQk8duVBCb8yEPj+0FpAcUi/I56AZjodKYTl6Yk5oip6oFJajJ+aEpuiJSmE5emJOaIqeqBSWoyfmhKboiUphOXpiTmjKtyd6Xt3leMdTXMECHK81nlJDukfyUo/euf/v7pByj9/NmzcvvRE5enpuM/Nzzz0XjTNHAQpQgAIUoAAFKEABClCAAhSgwCkQePPNN81/5z8Fp5keko2nU6nfzdhuo/ANGzZ02ePJ3dWU+mY7twG5e8TO7euUueG4a1ql9oAqwqnxlChAAQpQgAIUoAAFKEABClCAAhQoIwE2nopwsXN9q13qdN1m46lGVOrOpzh3PBUhA0+JAhSgAAUoQAEKUIACFKAABShAgRIXYOOpSBfQNZOmTp2aPrudO3dKbW1t9M/urqbBgweL2+8psxHlMvnu8VSkDDwtClCAAhSgAAUoQAEKUIACFKAABUpYgI2nEl48njoFKEABClCAAhSgAAUoQAEKUIACFChmATaeinl1eG4UoA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WK9NxWrVolTz75pOzcuVO2bduWPsuRI0fK5z73OfnGN74ho0ePTuzsOR49LcXEemG9FHO9IOfmanjgwIGJ/hzNNS7HQ1YFz9ATt0KS9ESU8Aw9cSskuWTJErnxxhultrYWicfOcLzYhB0+gJ70tAiEXi8Wi3yybDzlo1bGx8yePVsaGxsjgQkTJnSRWLduXfRnK1eulClTpsSW4nj0tBQR64X1Usz1gp7bxIkTZdy4cVJfX48eEivH8WLxdTmYnvS0CLBeMK0tW7bI9OnTo//o6V6TJ0+Wu+66S0aMGNHhA5LyfOihh6LPP3TokFRVVUW/086fP19qamo6jFdRUSGbN2+O/R8KOF47Kz2x64H1wnrBKqW4Umw8Fdd6FPXZvPzyy/LpT39aFi9e3O1fiFpaWuSee+6JmlPul4M4/wWI44nQE78kWC+sF7xaRHzXi+XckvqLEzomx0OlsBw9MSc0RU9UCsuVomdzc7O4u+pdE8j9R0/3u1HqjvvO/6EzifmtWbNGJk2aFDWcRo0aJU1NTdHvtO6fN27c2KHZlUSjhOOdbB7SU7+OWS+sF71KijPBxlNxrktRnpW7vfCxxx6TrVu3qudXV1cn3/3ud2XmzJlqtrsAxzspQ0+9jFgvrBe9Sk4mTkW9zJkzBz7FXA1+5EPc/DjeSSl65q4a1ktHH9ZLcdWLu7vj1ltvlZdeeind9HHNKHeXs7vTftasWbJ06dLopJNoPLm7m1xj6/nnn0/f4ZR5x1VmsyuJRgnHO/mUBD31f8OzXlgvepUUZ4KNp+Jcl6I8K/eL6YYNG2Tt2rXq+SXxL36Od5KZnmrJCeuF9aJXScfGk8+fZ6n/QukeD/nMZz6T81SXLVsmM2bMiPWoHcc7SUxP/cpgvbBe9Co5mfBdL7n+/Z5qmqaaT0n8vtTdZ7g7rW677TZZvXp1ekuJJBolHI+eluuP9cJ6sdRLMWXZeCqm1Sjyc0n9opH5X5yynXLqEZa4+zxxvHZdemIXBuuF9YJVSnvKd724Md0vi2effba4zX1zvZL4ixPHS7YRS096Wn6+sF6SrRd3x9PDDz/c7R337mfq1KlTozuf3J1QcffIc3eUDB06VBYsWJB12VP7Sbrfc924cfd44njt+8fSE/spw3phvWCVUnwpNp6Kb02K+ozct9a524/dv9zdho6f+tSn0uf7pz/9KWqSuF8AqqurO9yinO+kOB49LbXDemG9FHO9pJrI2v53STWeOF57NdATuypYL6wXrFI6/kcOHz/PXDPJNYJyjZVqPrmzi/uopPusefPmRXs7dffK/DKTuI0njifRY5OpLy+iZ+4rkfXCerH8rC6mLBtPxbQaJXAu7jbj++67L/qXg9vkMdvLPUqycOHCWBuLpz6X47V/cws9sYuD9cJ6wSqlPeW7XtyY7k6ryy+/vMs3I2Wet2sA9OnTJ5GfoRyv/a5RemJXBuuF9YJVSnvKZ700NDTIpZdemvMbk921fvXVV8sPf/jDWHuMph6py/ateZk+qWaX9iSAZsrx2oXoqVXKyd9d3COfrM/2Ox15/WF1UwwpNp6KYRVK9Bzcv+CPHDnS4exHjx5dsNlwvGRp6UlPiwDrxaLFLAUoQAEKUIACFKAABSiQEmDjibUQhID7ryQDBw6UQja+Ov9XLp/jBbFIRTQJ1ksRLUYJnIrvevFN4nt+vsfz7Rn6eL7Xz/d4oa+f7/mFvn5uc/Mbb7wxkTtUkbXxPR5yTszgAr7Xz/d4uASTiEBo68fGE7LqzJgFkvpFI/Pra91JuMfOst1amtQeHr7HQ2GT8gx9PN/r53u80NfP9/xCXz/f8/M9nu96CX083+vne7zQ18/3/EJfP7ehuft9020rUVVVFT3iN3/+/C6PSSfxrXZu7XyPh9aL77/4lup4vtfP93isl3aBpOqzWNcPXed8c2w85StXpsf5/EXDbSY5cuTI6F/6EyZMiPZjcRubu1fnb8xLovHkezw3D5+eoY/ne/18jxf6+vmeX+jr53t+vsfzXS+hj+d7/XyPF/r6+Z5f6OuX+tZT13AaNWpUtMm429jc/fPGjRujL9dJvZJoPPke71Q0unz/RdvneL7Xz/d4rJeTf+kv1eu9WNoWbDwVy0qUwHn4/kXD/Uvj1ltv7bBpnDsH980X69ati75Zb+nSpZFcEo0n3+P59gx9PN/r53u80NfP9/xCXz/f8/M9nu96CX083+vne7zQ18/3/EJfP3d3k/sPnc8//3z6DqfM/1CY+R8/k/iLqO/xfDcuQh/P9/r5Hi/09fM9P9/rV0wtBjaeimk1ivxcfP+i4W5n3LBhg6xdu7aLjHtvzpw56eZTEo0n3+P59gx9PN/r53u80NfP9/xCXz/f8/M9nu96CX083+vne7zQ18/3/EJfv+5+p0x9+9zq1avTd94n0XjyPZ7vv/iGPp7v9fM9Xujr53t+vtevmNoLbDwV02oU+bmcil80Hn74Ydm6dWtWmdTXrro7n9x/7Rs3bpzU19fnreh+cfM5nm/P0MfzvX6+xwt9/XzPL/T18z0/3+P5rpfQx/O9fr7HC339fM8v9PVzfxEdOnSoLFiwIOvvlO7O+8bGxqj55L7OffPmzbG+3Mb3eL7/4hv6eL7Xz/d4oa+f7/n5Xr+8/2JcgAPZeCoAaqgf6fsXDddMcv/id8/V19bW5mw+uTcXL14cq/HkezzfnqGP53v9fI8X+vr5nl/o6+d7fr7H810voY/ne/18jxf6+vmeX+jr5/7D5rx586K9nbp7pZpP7v24jSff4/n+i2/o4/leP9/jhb5+vufne/2KqS/BxlMxrUaRn4vvXzQcR0NDg1x66aXRt4l093r55Zfl6quvlh/+8Icyc+bMWIo+x/PtGfp4rBeR1F2ApdiI9V2fvusl9PmF7ul7/XyP53v9fI/n2zP08UJfv9Qjddm+RTnzl8zUv3NfeumlDhuOW38R9T2e77/4hj6e7/XzPV7o6+d7fr7Xz/rzqJB5Np4KqRvgZ/tszATI12VKvj1DHM/9AHevmpoaLyXje7zMSYW4fqdyfl4KJmMQ3+vne36+x/PtGeJ4vn+e+R7vVP58CbFefF/jp3L9TuVcCz2277/4hjqeazB390RGIdbQ93ipOYS6fqdqfoWojVL5TDaeSmWlTuF5+v5FkeMlu9ihe7q9LRYtWhTdFfelL31Jrr/++mQBO32a7/FCXz/OL9lypSc9LQK+f575Ho/Xg6Ua9Gzonr7/Ys/x9JqzJHx7ur2B3OOYkydPln/8x3+MddcbMk/f4/n25HhIFZR2ho2n0l4/L2fv+xdFjpfssobu6f5F9cgjj4j7lhm3H1hVVVVBm1C+xwt9/Tg/Xu8WAdaLRUvP+v555ns81oteA5ZE6J6+/2LP8SzVp2d9e27ZskVWrFgRbXNw6NChaF/aQjahfI/n25Pj6TVe6gk2nkp9BT2cv+9fFDlesosaumemltvvy22y6uuXAB/jhb5+nB+vd4sA68WiZcv6+Hnm++c168VWA1o6dE/ff7HneFrF2d737Zl5dmvWrJH/+I//iP4jqHuNHDlSbrnlFrn22msL8jiej/F8e3I8W72XYpqNp1JctVN4ziH+Yur7F2GO5+eWZPcv5d/85jddmlA333xzwX4JKPR4vP6S/eFHT3paBEKvl85/iSr0zzPf44W+fpyf5WrWsz7+Yh9646Kc5peaq3sc9ZlnnpEnn3yySxPqxhtvTHw/Ul/j8XrQf2ZYEr49LedWyCwbT4XUDfyzQ/yLve9fhDneZClUIyj0X3h4/SX7A5ae9LQIhF4v/PlpqQY9G3q9hDw/X3+xD71xUS7zy/xpkKqdH//4x7Jt27boLfco3g033BDdCZX0l+L4GI/XQ7JfZOTbU/+3VWETbDwV1rdsPt1355bjJVtaoXtqv/Dcf//9Mnr06GRRRaS7f6EkPV7o68f5JVua9KRnPgK+fp75/nnN6yGfauj+mJA9ffzFPvTGRTnNL3Ou7jFVdyfUww8/3KEJtXDhwoLche9jPF4PhWlC+WpUJvuTH/s0Np4wJ6ZAgVB/MfX9izDHK0wjqLtfeNxz+DNnzgSrPL9Y5r+gCzUer7/81qa7o+hJT4tA6PXCn5+WatCzoddL6PPz8Rf70BsX5TS/znN9/PHHZdmyZfKLX/zi/2/vbF6uqr44fvoDJBNHJSG9DAIj0XJgNUiofmhIg4w0CaHozQg0tKwcWVmIBYFlUiCRBr1MRKkc6CAQKoqgwkEGotFIyugP6Mf3yHo6nufc83LP2uve+9zPmWTPPWevvT977XX2WXvttZOfhiddTS2P8dBs87vcEc2zS9363IvjqQ89nq0l4PmhrQF45ZVX1oalespTWadPn66NgplkeW1U17N94yivTZ2GvUcJEufNm5d8MlFXv0nuv+jx3qaf4dmG0qV7sJ//RTtq5TKVo3mUjqD22tD9Tuxnv4UQ7Kfv+FPurFtuuaVWkT0/7FXWP//8UytzkuW1sQie7RtHeW3qNMw99u69+uqrk0RRta3TJPdf9HhvwzSaZ5s6DXsPjqdhyfFcKAEd4fv8888n3RtdbJDkffrpp9l3330X0s5oeSGNmjIheuFv3rx5Jpmkmn/VVVdlTz31VLZ161bXvfw6te+nn37KXn311UrKDz30UPbMM8+4bR+Mlhc93jXR+Oqrr/J8Y1U5F1566aXs5ptvzsR1Eq9ontH2LFreJOrAuNcZ++lnr6PH+1y3nzri/dtvv83t/3333ZetXr066XCSvOXLlw98v3sLj5bnXX/KyzKNQS1wWB4pMbn++uuzbdu2uUfz182H5CB5+umns0OHDrnNeaPlRY93bU0+f/78wH5Sfd54441G5/ekjAMcT5PSU2NYT00UFbr5999/V9Zu5cqVbh++5u2VM0iGVR/0KScB7733XrZnz57szJkzIeRTy9NLaenSpdn+/ftz42YT07rGydBt377drf0p9aVNe8oN8W7fbbfdluumHE2LFy/OxZ09ezZ79913s3vvvTf78ssv3ViqvSdOnBhYpl5Uq1atcuu/aHnR4930R3Zl9+7dsyYA3jylCCnHQ1nRonmmtmfl9qWWh/2cbbqwn+3NOfbT930UbT8VgffFF1/ki0q//fZb/kGvBNEPPvhgko9BzW0XLFiQvfPOO+2VrMedqeXJPj/55JPZjz/+mPPS+1QLPXXX119/7fb9IDn2DhwkU6fNXXfddUNRbNOecsGe7VPbbr311lyE5p/aHaJLc0Rx9rbVTfOhK664IvNsX7S86PFu+iO7cvDgwVl6781zKCV3fAjHkyPMaSpKH00aLEXvern95uTw5mL7Xk+ePJlPBCyqxPt0NDkSFP2gl/+wL6QubU8pz1Yhnn322Xy1Tob11KlTtdXzdBym1pc27Sk31rN9WrFYs2bNzMSqKMs+Wm3S1UUnqhwIf/zxR3b48OE8Gk9JysvXL7/8kk/yPMaf9CZSXhWbiPFuETMag+YoLK4wNU18uvZp6vFQV58InpKf0p5VtS+lPOznbOLYz+ZRj/28tD1tLtlPi+6yRVCLKpHjwuuEMnMkpIiWHvSOleMilTzNj95+++2ZubQiqM+dO1c7gPo4gsoFq8/uuuuu7K+//hoos8/8rE17yoI926eIIH0LffPNN7N0UE6/HTt2ZH/++WezwWq4Qxy1BXTLli35+33Dhg2zntDcVHOoPjyt0Gh5Vc2PGO+yj/Pnz88uXryYOwo1Dnft2jXTlzieeqsuBcwFAjK069evz44dO5Y87LiOlz7gZGzlUHn88cfdIjzUPnme61ZlPFcRouVF6+C46EuqdjetaOslvW7dut762TayS5NIRVj1nQhHy2vqn1Tjvdh/cmJqYiWn+osvvphvk3z44YddI8jGZTyk4hltz6LlNemp9+/joi/e7bLysJ8+9rqpf1KN92m1n+bE14f9kSNH3CJ05Eg4fvx47cKuZ0RJtLwmPfX+XVu/xDMiibd33duUV+fY1ZhfuHChSwRS28guOU48ovWi5TWxTjXei/2nd730VZdF3+N4auoZfp8KAk0TxdQQyqelKOrpo48+cnOCtYmg8VzxjZaXun/K5Y9aX1K3tynHjNeKb5sVdM+k5tHyBvVT6vFepZ/62+uvv55XSdsePB3box4PqXlG27NoeantCfbzcgLYz34al3q8T5v9LJ82pagnOTa8IuPbRNB4RsxEy+unzd2f9rIf3SXHPNGUo8vLcdEmAskzqXm0vEG9lXq8l/VT9nrnzp155JgWkbUI6ulojtHKwVLYajfqHphQ+Qqd3bhxY/brr7/2jqpoi2DQ0ZL333//xCb9bdv2FPfJqH/yySfZ999/X1n8pk2b3LhG60v0h2jddjr7zTM6UDx//vnn3hFUbfUqWp7qFTneBzmCVAdFPSmM3TPCMXo8RPNsq1eTfB/20y+HI/bTfyRgP32Z2ni3PE+WZ1Tbje644w5fYVNQmt6BR48ezd/zVZdnMmVFdGme65lns66Loh15luNw0FY7pV64cOGC27ea5ktLlixxW+hvUvdoebnbwKcAABX8SURBVKpP5Hgf5BgtRt/jeGrSEn6fCgIaLFrhKe5FTdVwS06o8uUBfu6557K7777bzZCmqve4liuP+o033pjveVfia53YoqiOG264If+3VvCUP8hzQhWpL01bxEyHPE8ps7DgquTikhd1QuK46lyXeo3beNckZNGiRa72JnI8jBvPLrowjvdiPy+9g7Gf46idWTZu433S7af0XA4nXUoq/sgjj4R9dI+nhvWrlT6o77zzzjw/64oVK/KUFpojKTWA/i3Gr732mlsEmdnrqoND+rWk+ummLWKac3s61qx9qk1VcnEtng06ATlF+ye9zHEb7xovnt9io+4fIp5G3QMTKl8e/b1799buQfeMEJA8nZ4nZ5NXOHMT+sgVbdWlGF1hdbNVNW/nniUctIi1osfdojEU3unFOlpfBvWtHdmt31Unz0tlv/nmm3l4bDGJpSZR+/btc3VaWL2LJ7VoMqMTY1JM8qMjyEYx3m0M6qROXSl5Ro+HUfDEfmI/u9hX7KdfBNkoxvtctp9ayLr22mtDFzsjI4LUd8XoChu3WoD03GJu5erDXomULQKpuBXM8k15LtRZ8m2dSDjoiogo0XztnnvuybZt2zbr5NwutrLq3kHfD3JEpXI6FeeFOtxJjsMUTpLoCLJRjHcbg3boU0qefXWt7/M4nvoSnNLnoz9Eoz+0o1e0i/LkqFi2bFne5B9++CFfafNKFm0cy1uLyqGeSob92GOPub0cR6UvVcPTWHsmAy3Lsb3pKVcpylFd5uhtyjc1jMkaRQRZsZ7SH8/cVVUMInmOajxEOSqxn9jPYeyMPYP97ENv9rPYTx+eUR/a0RFBRXlyCi1evDgHZif3eSWLtl4ozzeLjidLhu1xKprJi3Zc1GmbWK9duzZpmpKI8V6O6jLHXVO+qWFGYnQEWbGO0sfTp09nnrmrqhhE8hymDzyfwfHkSZOykhKI/DCMjggyeSdPnsyjVoqX5b/4+OOP3bY2SN77778/s/1LpyjouFWLAvI6hS2pQvQo3DvZpCXhrnM0eU4GTCfkbNLKSPHUtQjHmqFPHUG2efPmmS0OkqkIwBRHPo8Lzx4q3fgo9hP72agkLW/AfrYE1XAb9tOHY0QpkR+G0RFBkqdooKqTcG3bpn73ioCXPEVTWSSOUjxYFJDnKWwRejGMDK9k3yZbc8s6x4i388S+V3Rynfqy2B5zYv7777/DoOn0TMoIMs0JtfiunR92SWdTRKuNC89O8HvcjOOpBzwejSMQ/WEYHRHUdMpViom+jKhNJuy4bu0F16X99Z7JsOM0pVmSvRj379/vFtFl/ffss8/mSb/LiRflyLMXmMd++3JUU1k/vPWljmoqR5cxq8qZpW1wnolCx4lnswZ3vwP7+b9s1apVbsn4NeHFfmI/u4/E2U9gPz0opi0j+sMwOiKoab7g7SjRfPPll1/Ozpw5k3ecFj71txdeeGEmyt8zGXZa7ehWui0AeUZ0WZTRzTffnJ07d24mTYBqpneVdkxY+gePeX05qqmsH976Ukc4RQSZMZPcqpxZnmlkJGOceHbT5uHuxvE0HDeeKmT9jzgVLfrDMDoiqM542sTUVhe8lE/73vWisgSxevkrP5EZW8nzuqK3FhWTq1a1IcXWxeeff/4yUeYcMUeXXvjnz5/PdMJI39XDNo7RdevWuX1oN+lB08S16fny78pvsWbNmqxqclZ3AlZXOXb/KHhG5kDCft6YYT/bjw7s520Z9rO9vsx1+xn9YRgdEVS38Gnzl75zlqI2WaTfjh078gh//b8Y2+KcZ3S/5EZvtSsmp64aRSm2Liope/Eqpl44cOBAdvDgwezw4cPZ8ePHZxx+7Uf45Xe2cYxG5MyyWnk7uiwn2KBTAqW32iHidY0bT692DSoHx1NqwnO0/OgcHtETm1GsaMvxI7mHDh2aSUQtzjt37sz/7hnhMUgtJU+XkgR6XtE5guS4ePvtty9rwvz58/PcWVdeeWX2wAMPuLbR2mcv26KzSRFQypVgyTKLYeXDMi47ZoovLnPMeKxstalfygiyQTrvvRU0mif20z+iEvvpd8oc9nNpWMQv9rPNW+bye6LtZ/SHYXREkDl+lPi6mIha807lHI1ywkqe13a+osZE5wiy75ViHdQu5c5SknrP00AlQ+1T9JicSpJj81FFjSkNw/Lly/N+te+avtFWZcdM0fFjixZREWupIsgGRUin2Ao6Tjy7W+PuT+B46s6MJ7JLx/XK6xt1Klr0h6E6OWVEUJMjpqxkitDxPr56HBQ5ZY6LyPZVrRjaZFX1OHHixIzj0Cs6SM4XrUJqEqMJhxxammAoak3bgDxPhRlFBETRWVfuSy+GxXKjeWI/h4+oxH5e0lzs5/BWPnq8K9J10JUiAhf76XeqZPSHYeqIoCZHTFlPFb2tCJpy/tHhR994PJkyR1BkC6vmQ+YMeuWVVy7bZu4RHWRb0RYsWJA7JpWaQ1FcujT/9EgnUeQ3iggyc9ZV9aMHw2K50TwjdXMAvyuu+DciC9ioW4p8VwJtIpA8T0VT5SMnioNgeUUEtdl6Vq7DypV+xy2rbEXGyKEgo1d1bdq0yX1lpkqOV44LMb3pppvySCZLplin9J6npInjnj17Lgthtsimv//+O4njadDx45oA7Nq1yzWiKzoCom47XaqIrkie2M9+EZXYz/8sG/ZzuKlN5HjHfvq+j6Lt57h8GHpFBLXZelYeVYoS94xG0pj48MMPs4sXL1YO4ChHl0eOIJtv2uEydthMnWXyPCVNjhk5gSw9RjGySSkgitE7Xk4TyZCDSadu26XDX5Sna/v27cMZ5QFPRUeQ2Xx+0FY7LSJ4R3RF8nTtnCEKI+JpCGg8ciniKfpUtMiJ4lzv42LCQa1mjdLxJNl9I1hsu0JxX3s559KgPlX7i9sbh+l747lixYr8Jf/DDz/kL2TlKtDe+m+//TbTiYW6li7138ZhzkPPieEwHDyfsVXZquTiihDwjOgq1zs1T+ynp6bEl4X9/I859jNe/9pIxH765jicpg/DNvrV5x7bwSBHheZMVVeU40my+zpjyqkWukSUeUQHGU+bKynaUdHwR44cydauXZtHwCttwWeffZbnGPV2mmgxcNGiRa6LnX30q++ztpijcqqSi3v0WV0d5xrPcltxPPXV0Cl9fhQ5kIqoU38YSta4RASlUDG9KF9//fU8meOonRUeOS70ovjggw9mTvNQ35WTLVZxVDSSwoQ9TrjTy1+n2umFrxe98iUo7FiTK/3bVob0/7ZFtU/fqo2K2rL+M31V+Y8++mjSflWfeUaMVXEY5GhWaPe+ffsmepKD/cyyqIjKPmNs0LPYz0tksJ/DaRf2czhu9tSo7WfEh+G4RAT166nqp+WY0dV3wc+jbh45gmy+qXmXIu7Vd8rt2XTZAmXfnEuSY+8knV5ni8maA2uRTpclbvc6Ebi4w0Dlm77edddd7jlUixwtuswzYqyqnwY5muWIKuZBa+pjfp9NAMcTWjE0gZQ5kBQKrGSxdnKAjNzvv/8esvVLQEaxoh19ylUx79DQStDywegcQS2rld/WN9qqTlbRQWrh7R4h6zbxtmTmxeNfrT4ezq3yC3/z5s2zQqv1It66dWtSR5DGxj///JNZKHuX/q26dxy2amE/fbfyYj+/TDoGB4057Gc7a2R5e8pbU7Cf7fiV70ppP23uqXe2Lv1XER1e75+mFo8iIkgyjx49OjD1gmcEUkqbUcU2OkdQU/8Wf+8bbVUnyxykukfRTro8Dtax7zObY5q+asFVC69ezq1i29QWpW8xB5p+k7xt27ZlTzzxRBfkne/1XigYh62unSE4PoDjyREmRV1Kdqqr76lo5T38dce9puAevaIdfUqLOSq0/SsiYWR0josuOqG6XXPNNSEcutSr7l7pZzF5rOmrJgK6brzR//h45VjTS79q61uKiYYXq6pyuianVvsiInSwn8P1OvbT95TOLr2A/WxHC/vp62iuou5lP8uOkWhHSXREkEWd29Y3i5TRPF7/tgTSXtHxFh1elUOn3Wjqdld0jqAutdOirIczqIvMvvdKP4vJt01ftZ3PdEkOKC99KS6sVm19sxQbfdsV9XyXrZg2Jj0dv1HtHCQHx9Ooe2CC5Ecmb5ZHeP369Xnyuttvvz1fiVFOl7feemsgMc/Qy2hHV/QpgYJoqxZKBlh16WM7wik1QUOgtqrRERdFx5MSmWtyaCHA3hPl8qmSRRB1icD79K0+IrRKp+08VZd3sn0xmz9//mXb+OyYaX00WuLOYduE/RyWXPNz2M9mRuN+B/bzR9f3LfZz3tA8FfGk+ZHmRnrPbNmyJT/cZsOGDQOHkR1s4jHOvN/fTXVSRJCSfMtxoKsYhaPIMp2a651TUYxV5rp16yqrZ9vWmurO75cIREesmePJou+PHTuWrV69epb+ePRP+VTJYpn27rfdMR7yVIbaZVFiVWV67Fywcm3hrJyYXe9EbV3U3FNjdK5cOJ7mSk8mbscokjd38Qqr+Z5e7+iIoOhTWsSriW9fnpEf2onVv7H46IgLc/bIMauVJW3fKK4w2Yl6XiHITY5YTco1gfQ6zcQcPsWw6nIneOTlsjI1adu4cWNl7i2PU8Own41DqNcN2M8sec61Xh3U8DD2E/tZpyLR9lPzP+Vl1Du17WXb3tveX3dfdERQ2dFVdDxpbC5cuDDzyENkbW7Dtw/PUZ8y56EDXcqIjlgzZ48cJVoAVV6pM2fO5FUunqjntXBd54g1/eyjL2XW5vBRuwZdnuNBjrXvv/9+xvFblOlx6mIXXYq4F8dTBOU5IGNUyZvtBXL48OHGiCfPFSd1WWREUPQpVxZRJueSVvSqrj48oyeKox5io4i40MtKidEViltcEUkR6lze2lfm7b1Ca/pZXEVL2cdNjrW+7cN+zu49z4hK7Od/fD1OmUs51qrKxn7+77Ijz/vyx35eItg3+b0+ov/4449WEU/e+Z8iI4IUTaF8ORYxXVy4SvFhbxFlmrcod1bV1YfnqE+Z6zt+uz4fHbEmnXj44YfzbZjSm88//3wmulDsDxw4MOOI6tqWqvvLW/vK93jnyZJ+Ksqv2C6Pdgwqo2l+6d2+lG1pUzaOpzaUuKcXgaZB1aZwOyXCK6KijczUEUHFOkSf0tLkSGjDp+6eUX1o9633sM+PIuJiUF2lS0rE7bXaJDl12+nsN08nUZMjaNh+GvScfahVrWLZ6tfu3buTJ7EcNOlatWpVr2gy7Odrmbd+Fre6eusj9vNyR4wiKpVY1iuCs66/sJ/dtXmu20+9j5YsWTKzlag7oW5PpI4IKtdG/ffyyy/POAuKWw3t5LULFy70zt1qcpscCd1ozb57HE6Z69uGLs9HR6zV1a182nKXdgy6VwsTe/bsyapygtnBRd762XfO1aXd5uiqal+dbe0iY5zuxfE0Tr0xR+syiclHU0cEVXV1ylNayvKiQ7m7qLaHo7KLPI97oyMuPOrctQxzxFYlF9eRvZ45IOq2vnWtd5v7i1v7lCtr2bJl+WNnz57NIx91eZ8S2KZeugf72Y4U9vMSJ+xnO32Jvgv7+aub46JL302i/UwdEVTmZycu7tixI1+wKm91//jjj11zzMhWaxujvVu79GfqeycxuiQ6Yi11H1Tppw7M0VWVXFwpJyxaz6NudVvfPMovl2GLm/q7+nLx4sX5Leb0nbTDe5oY4XhqIsTvU0kgdURQW6hep7RUydNEWKdO7Nq1ayQTwkEMJnGiGB2x1lZ/PO+TLr755pvZu+++m+/pt0uOmn379rnrULR+qn07d+7MJ8Pl9tmE3JPnXC4L+zm63sV+jo59nWTs5y3j2TFjWKvUEUFtm6x5jdfJZEWZltNtVFHEde2fxFPmoiPW2uqP533SRTmYlM/ULqWZkCPK0+mkskehn3I+aTyU2ydH1Lh9o/XtVxxPfQny/JwkMM4RQR7A9aLau3dvVpe8uW9ycY96TlIZkREXo+ail6S28/XJw1DXBvRz1D3cTz720/ewi369MRlPYz/9+gn76cdyFCWNc0SQBw87pawuebtnsmiPOo9zGdERa6NmoTym8+YNf2plU/3RzyZC/X7H8dSPH0/PYQLREReRKGW4T506VSvS+7j6yPaNi6yUEWvj0sYU9UA/U1CNLRP7uTKZYza2J0cnDfs5HHvs53DcxuWpUURcRLZdjtFz587VivQ8rj6ybeMkK1XE2ji1MUVd0M8UVP8rE8dTWr6UPqEEWDGc0I6j2hCAwMgJYD9H3gVUAAIQmFACRFxMaMdRbQhAoJEAjqdGRNwwjQRYMZzGXqfNEICABwHspwdFyoAABKaRABEX09jrtBkC00EAx9N09DOthAAEIAABCEAAAhCAAAQgAAEIQAAC4QRwPIUjRyAEIAABCEAAAhCAAAQgAAEIQAACEJgOAjiepqOfaSUEIAABCEAAAhCAAAQgAAEIQAACEAgngOMpHDkCIQABCEAAAhCAAAQgAAEIQAACEIDAdBDA8TQd/UwrIQABCEAAAhCAAAQgAAEIQAACEIBAOAEcT+HIEQgBCEAAAhCAAAQgAAEIQAACEIAABKaDAI6n6ehnWgkBCEAAAhCAAAQgAAEIQAACEIAABMIJ4HgKR45ACEAAAhCAAAQgAAEIQAACEIAABCAwHQRwPE1HP9NKCEAAAhCAAAQgAAEIQAACEIAABCAQTgDHUzhyBEIAAhCAAAQgAAEIQAACEIAABCAAgekggONpOvqZVkIAAhCAAAQgAAEIQAACEIAABCAAgXACOJ7CkSMQAhCAAAQgAAEIQAACEIAABCAAAQhMBwEcT9PRz7QSAhCAAAQgAAEIQAACEIAABCAAAQiEE8DxFI4cgRCAAAQgAAEIQAACEIAABCAAAQhAYDoI4Hiajn6mlRCAAAQgAAEIQAACEIAABCAAAQhAIJwAjqdw5AiEAAQgAAEIQAACEIAABCAAAQhAAALTQQDH03T0M62EAAQgAAEIQAACEIAABCAAAQhAAALhBHA8hSNHIAQgAAEIQAACEIAABCAAAQhAAAI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yB1P4VIRCAEIQAACEIAABCAAAQhAAAIQgAAEIDAVBP4PSUvMkZPYWOAAAAAASUVORK5CYII="/>
          <p:cNvSpPr>
            <a:spLocks noChangeAspect="1" noChangeArrowheads="1"/>
          </p:cNvSpPr>
          <p:nvPr/>
        </p:nvSpPr>
        <p:spPr bwMode="auto">
          <a:xfrm>
            <a:off x="304800" y="3048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AutoShape 4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5/z418Mk19Frl+ypvSkp0WA9WLR0rP01I0sCXpatPQsPXUjS4KeFi09S0/dyJKgp0VLz/r21M8o0MbTT3/6U/nUpz4Vze5Pf/qT3HrrrdG+T5mv1J+3tbXf5cJX9wK+C9fneMt//7qs3X4wmvyZp1XKgq/Wyjl9eha0HHzOz02E4yW7nPSkp0WA9WLR0rP01I0sCXpatPQsPXUjS4KeFi09S0/dyJKgp0VLz9JTN7IkfHtazi1btmTveLJMnI0nXct34foab/v+o7Lo6T1pgFlfGCBX1fXVQWImfM0vdZocL+aCdTqcnvS0CLBeLFp6lp66kSVBT4uWnqWnbmRJ0NOipWfpqRtZEvS0aOlZeupGloRvT8u5BdN4WrVqlezduxea+6BBg2TKlClQ1ndo9uzZ0tjYGA07dOhQaWpqSp+Cm+PUqVPT/7xz506pra0V9w1+Luteixcv7vBNfnV1dfLoo4+mv+3PMh/fhetjvPc+PC5zf9EsB4+2RhSjhpwlt18z0MKSdxaZ38Hvfcb0+dU/+F/d5pHxTIMpYY6XpCbvWEtWk570tAnw55nNS0vTUxOyvU9Pm5eWpqcmZHufnjYvLU1PTcj2Pj1tXoVOl+QdT4VG8fH5bkN0tznz0qVLo+EmTpwYNZbcP6c2S081m5YsWSLLli2LGlOuWTV27NiomeY2WU/dzeX+fPDgwR0aUZZ5hHhhPvjbffLCrnfaGY4dkWX/18joUTsfL8STjSd8JRBP/NP0JMfTjSwJelq09Cw9dSNLgp4WLT1LT93IkqCnRUvP0lM3siToadHSs/TUjSwJelq0Cp9l46nwxtAIrrm0YcMGWbt2rbj/vXv37nRTyn1A6pv87r33Xpk3b150V5O7w8k1o9zdUe5OJ3dsvq/QLsznmg5L47P70xwn/vBzWfGTBfnymI9DPNl4wlkRT/zT9CTH040sCXpatPQsPXUjS4KeFi09S0/dyJKgp0VLz9JTN7Ik6GnR0rP01I0sCXpatAqfZeOp8MbQCO6OJfdydzy5u5/GjRvX5TE613TatGlTlzueMu98ggbLEgrpwnzrSKs0PNEs7lE795o4vFrWPPid6A4zXy/Ek40nfDUQT/zT9CTH040sCXpatPQsPXUjS4KeFi09S0/dyJKgp0VLz9JTN7Ik6GnR0rP01I0sCXpatAqfZeOp8MbqCKl9m1KP1uVqPI0aNSq9x9PKlSujO53cHVDTp08Xd/ysWbM63CmlDv7fgVAuzOMn2mTR03tlx9+ORjMbWHW6zL+hVr71zZvYeEKLAciFUi/dTZXzA4rAEKGnAQuI0hNAMkToacACovQEkAwRehqwgCg9ASRDhJ4GLCBKTwDJEKGnActDlI0nD8jaEO6ROXc3U2oT9FyNp8yN0t0jeZmv+vr66PG79evXR/tFWV7uwgzhVXHR56Vi6DXtU2k7ISe2PiLy7htFObV/rfuz6bz+uenvTHmGKUABClCAAhSgAAUoQAEKUCBMAZ9P9MQVZOMprmDM412jaMaMGR0eq8t87C718e5xutQdUe7P3Abkrlnl9nXK3HDcNa1Se0BZTi2EjvCelg/ke7/cJe6uJ/eaevl5MunSmuh/F+P8+KgdXqHFuH742etJzk83siToadHSs/TUjSwJelq09Cw9dSNLgp4WLT1LT93IkqCnRUvP0lM3siRC97RYZMuy8RRXMMbx2ZpOqabSmDFj0o2mzG+1Sw2X2YhK3fkU944nnx3TpC/M1uNtcs+TzbLv0LGIaNgFvWXudYOkskcFG08xarS7Q5NeP+0UOZ4mZHufnjYvLU1PTcj2Pj1tXlqanpqQ7X162ry0ND01Idv79LR5aWl6akK29+lp89LSvj2189HeZ+NJEyrQ++6b6KZOndrl01N3Nblm0pw5c9Lvt7W138XjXu6uJrenU+Zjd64R5V7lusfT8t+/Lmu3H4wMzjytUhZ8tVbO6dMzbeb7wkTG4x1P+MWFeOKfpic5nm5kSdDToqVn6akbWRL0tGjpWXrqRpYEPS1aepaeupElQU+Llp6lp25kSdDTolX4LBtPhTcuiRFK+cLcvv+oLHp6T9p51hcGyFV1fTu4F+P82HjCL41iXD/87PUk56cbWRL0tGjpWXrqRpYEPS1aepaeupElQU+Llp6lp25kSdDToqVn6akbWRKhe1ossmXZeIorGMjxpXqhvPfhcZn7i2Y5eLQ1WolRQ86S268Z2GVVinF+bDzhF08xrh9+9nqS89ONLAl6WrT0LD11I0uCnhYtPUtP3ciSoKdFS8/SUzeyJOhp0dKz9NSNLInQPS0WbDzF1Qr4+FK9UB787T55Ydc70cpU9+4pi75WGz1q1/lVjPNj4wm/oIpx/fCz15Ocn25kSdDToqVn6akbWRL0tGjpWXrqRpYEPS1aepaeupElQU+Llp6lp25kSYTuabFg4ymuVsDHl+KF8lzTYWl8dn96VeZed5EMH9A76yoh8/PdCPI9XpLli3hyPFyAnrgVkqQnooRn6IlbIUl6Ikp4hp64FZKkJ6KEZ+iJWyFJeiJKeIaeuBWSDN0TMciV4aN2cQUDOb7ULpS3jrRKwxPN4h61c6+Jw6tl2hXnd7sayPx8N4J8j5dkqSKeHA8XoCduhSTpiSjhGXriVkiSnogSnqEnboUk6Yko4Rl64lZIkp6IEp6hJ26FJEP3RAzYeIqrVAbHl9KFcvxEmyx6eq/s+NvRaGUGVp0u82+olZ6V7d/sl+2FzM93I8j3eEmWMeLJ8XABeuJWSJKeiBKeoSduhSTpiSjhGXriVkiSnogSnqEnboUk6Yko4Rl64lZIMnRPxCBXhnc8xRUM5PhSulCe+mOLrHz+jUi+skeF/OArQ+Siml45VwKZn+9GkO/xkixVxJPj4QL0xK2QJD0RJTxDT9wKSdITUcIz9MStkCQ9ESU8Q0/cCknSE1HCM/TErZBk6J6IARtPcZXK4PhSuVD2tHwg3/vlLnF3PbnX1MvPk0mX1qgrhMzPdyPI93gqkiGAeBo+To1yPJXIFKCniUsN01MlMgXoaeJSw/RUiUwBepq41DA9VSJTgJ4mLjVMT5XIFKCniUsN+/ZUT0gJ8I6nuIKBHO+7cLONd8eqv8iBd1vzFu338Z7ywJRPZD0emZ/vRpDv8fKGzXIg4snxcAF64lZIkp6IEp6hJ26FJOmJKOEZeuJWSJKeiBKeoSduhSTpiSjhGXriVkgydE/EIFeGjae4goEcXwwXyrSHX4mtufyWS9h4iq2of0Ax1It+lvknOL/87bIdSU96WgRYLxYtPUtP3ciSoKdFS8/SUzeyJOhp0dKz9NSNLAl6WrT0rG9P/YxyJ9h4iisYyPG+CzfbeDN/9qocPdb+LXX5vHqfXikPffPirIci8/N9B5Lv8fIx7e4YxJPj4QL0xK2QJD0RJTxDT9wKSdITUcIz9MStkCQ9ESU8Q0/cCknSE1HCM/TErZBk6J6IQa4MG09xBQM5vpgvlDfe+VAanmiWD1pPRNpjP3m2zBjb3ySPzM93I8j3eCYwJYx4cjxcgJ64FZKkJ6KEZ+iJWyFJeiJKeIaeuBWSpCeihGfoiVshSXoiSniGnrgVkgzdEzFg4ymuUhkcX6wXims2ff9Xu2TfoWPRKrhvr7vnS4OlV88eplVB5ue7EeR7PBMYG0+yYsWKJMlyfhZSn0meDMdLUlOEnvS0CLBeLFp6lp66kSVBT4uWnqWnbmRJ0NOipWfpqRtZEqF7WiyyZXnHU1zBQI4v1gul8dn98lzT4Uj5zNMqZf4NQ+S8s04zqyPz890I8j2eGS3HAYgnx8MF6IlbIUl6Ikp4hp64FZKkJ6KEZ+iJWyFJeiJKeIaeuBWSpCeihGfoiVshydA9EYNcGTae4goGcnwxXijPvHJQ/v13r6eF7xx/oVw2qE9e4sj8fDeCfI+XF1w3ByGeHA8XoCduhSTpiSjhGXriVkiSnogSnqEnboUk6Yko4Rl64lZIkp6IEp6hJ26FJEP3RAzYeIqrVAbHF9uF0vTm+zL/N7vl+Im2SP+Gy/rJjZ89N++VQObnuxHke7y88bIciHhyPFyAnrgVkqQnooRn6IlbIUl6Ikp4hp64FZKkJ6KEZ+iJWyFJeiJKeIaeuBWSDN0TMWDjKa5SGRxfTBfK4fc/knue3CUHj7ZG8sMH9JbvThgklT0q8l4JZH6+G0G+x8sbj42nJOmyfhZSn0meBMdLUpN7PCWrSU962gT488zmpaXpqQnZ3qenzUtL01MTsr1PT5uXlg7dU5u/9j4ftdOEyuT9YrlQ3B1OP1q3V7bvPxrJV/fuKQu+Wit9elXGWglkfr4bQb7HiwXY6WDEk+PhAvTErZAkPRElPENP3ApJ0hNRwjP0xK2QJD0RJTxDT9wKSdITUcIz9MStkGTonohBrgwbT3EFAzm+WC6U1VvflF+/fCBSdXc4ff/Lg2VIvzNiKyPz890I8j1ebMSMD0A8OR4uQE/cCknSE1HCM/TErZAkPRElPENP3ApJ0hNRwjP0xK2QJD0RJTxDT9wKSYbuiRiw8RRXqQyOL4YL5cU9R+T+Z/6a1v72VRfINcOqEtFH5ue7EeR7vEQg//tDEE+OhwvQE7dCkvRElPAMPXErJElPRAnP0BO3QpL0RJTwDD1xKyRJT0QJz9ATt0KSoXsiBmw8xVUqg+NP9YXyxjsfSsMTzfJB64lIe+wnz5YZY/snJo/Mz3cjyPd4iWEK92BJ0tJ9FlKfSY7J8ZLU5Polq0lPetoE+PPM5qWl6akJ2d6np81LS9NTE7K9T0+bl5YO3VObv/Y+H7XThMrk/VN5obhm0/d/tUv2HToWaV9U00vu+dJg6dWzR2L6yPx8N4J8j5cYJhslSVJGn4XUZ5KDcrwkNbl+yWrSk542Af48s3lpaXpqQrb36Wnz0tL01IRs79PT5qWlQ/fU5q+9z8aTJlQm75/KC6Xx2f3yXNPhSPrM0ypl/g1D5LyzTktUHpmf70aQ7/GSBEU8OR4uQE/cCknSE1HCM/TErZAkPRElPENP3ApJ0hNRwjP0xK2QJD0RJTxDT9wKSYbuiRjkyrDxFFcwkONP1YXyzCsH5d9/93pa8c7xF8plg/okrorMz3cjyPd4SaIinhwPF6AnboUk6Yko4Rl64lZIkp6IEp6hJ26FJOmJKOEZeuJWSJKeiBKeoSduhSRD90QM2HiKq1QGx5+KC+UHDzwi83+zW46faIuEb7isn9z42XMLoo3Mz3cjyPd4ScIinhwPF6AnboUk6Yko4Rl64lZIkp6IEp6hJ26FJOmJKOEZeuJWSJKeiBKeoSduhSRD90QM2HiKq1QGx/u+UG769gypGf9dOXi0NdIdPqC3fHfCIKnsUVEQbWR+vhtBvsdLEhbx5Hi4AD1xKyRJT0QJz9ATt0KS9ESU8Aw9cSskSU9ECc/QE7dCkvRElPAMPXErJBm6J2LAxlNcpTI43ueF4u5w+taP14hUDYlkq3v3lAVfrZU+vSoLJo3Mz3cjyPd4SeIinhwPF6AnboUk6Yko4Rl64lZIkp6IEp6hJ26FJOmJKOEZeuJWSJKeiBKeoSduhSRD90QM2HiKq1QGx/u8UFZvfVN+/fKBSNXd4fT9Lw+WIf3OKKgyMj/fjSDf4yUJjHhyPFyAnrgVkqQnooRn6IlbIUl6Ikp4hp64FZKkJ6KEZ+iJWyFJeiJKeIaeuBWSDN0TMWDjKa5SGRzv60J5cc8Ruf+Zv6ZFv33VBXLNsKqCCyPz890I8j1eksiIJ8fDBeiJWyFJeiJKeIaeuBWSpCeihGfoiVshSXoiSniGnrgVkqQnooRn6IlbIcnQPREDNp7iKpXB8T4ulDfe+VAanmiWD1pPRKJjP3m2zBjbv1td342Z0MdLsox91Evm+XK8JFdPhJ70tAiwXixaepaeupElQU+Llp6lp25kSdDToqVn6akbWRL0tGjp2dA9dYHciQr3amtra/9aMb7KVqDQF4prNn3/V7tk36Fj7cbvviEP3/b30qtnDzaewKqr/sH/6jZZ6PXrPDDHAxcNjNEThAJj9AShwBg9QSgwRk8QCozRE4QCY/QEocAYPUEoMEZPEAqM0ROEAmOhe4IM3cbYeIorGMjxhb5QGp/dL881HY60zjytUt79nw/Kikd+klMv9DuQfM8vyVItdL2w0ZXkanX9LK5fsr70pKdFgPVi0dKz9NSNLAl6WrT0LD11I0uCnhYtPUtP3ciSCN3TYpEty8ZTXMFAji/khfLMKwfl33/3elrqzvEXyo/mzpQVK1aw8WSoH97xlLteDJRqtJDXQ7bBOZ66JKYAPU1capieKpEpQE8Tlxqmp0pkCtDTxKWG6akSmQL0NHGpYXqqRKZA6J4mjCxhNp7iCgZyfKEulKY335f5v9ktx0+0P815w2X95MbPngvtMeP7jqDQx0uyVAtVL92dI8dLcvW4x1OymvSkp02AP89sXlqanpqQ7X162ry0ND01Idv79LR5aWl6akK290P3tGl0TbPxFFcwkOMLcaEcfv8juefJXXLwaGukNHxAb/nuhEFS2aOCjScR8d3oSrJUC1Evuc6P4yW5emyUJKtJT3raBPjzzOalpempCdnep6fNS0vTUxOyvU9Pm5eWpqcmZHs/dE+bBhtPcb0SP3727NnS2NgomzdvltGjR6c/f9WqVTJ16tT0P+/cuVNqa2ulublZhg4dGv354sWLpb6+Pp2pq6uTRx99tMPnoCec9IXi7nD60bq9sn3/0egUqnv3lAVfrZU+vSqjf0bG892YCX08tBaQHLJ+yOegGY6HSmE5emJOaIqeqBSWoyfmhKboiUphOXpiTmiKnqgUlqMn5oSm6IlKYTl6Yk5oyrcnel7d5XjHU1zBGMdXVFTIypUrowZTZuNpy5YtMmbMGEk1m5YsWSLLli2TpqYmcY2qsWPHypQpU8Qdn/pCQvfngwcP7tCIspxa0oW7euub8uuXD0Sn4O5w+v6XB8uQfmekTwkZL/RGkO/5WepByyLrp32G5X2OZ9HSs/TUjSwJelq09Cw9dSNLgp4WLT1LT93IkqCnRUvP0lM3siToadHSs/TUjSwJ356Wc8uWZeMprmACx7sGUmbjyTWadu/eLUuXLk1/eipz7733yrx586K7mtwdTq4Z5e6Ocnc6rV27Nu+zSbJwX9xzRO5/5q/pc/n2VRfINcOqOpwbMp7vxkzo4+VdHFkORNaP4+EC9MStkCQ9ESU8Q0/cCknSE1HCM/TErZAkPRElPENP3ApJ0hNRwjP0xK2QZOieiEGuDBtPcQUTOL5z42nixIkybty4Lo/RuabTpk2butzxlHnnU76nk9SF8sY7H0rDE83yQeuJ6FTGfvJsmTG2f5fTQsYLvRHke3751ka245D143i4AD1xKyRJT0QJz9ATt0KS9ESU8Aw9cSskSU9ECc/QE7dCkvRElPAMPXErJBm6J2LAxlNcpQIfb2k8jRo1Kr3Hk3tMz93p5O6Amj59evRo3qxZszrcKYWeehIXims2ff9Xu2TfoWPRsBfV9JJ7vjRYevXswcZTloVg4wmtTmxPMPzT9GQS14M+yskEx7No6Vl66kaWBD0tWnqWnrqRJUFPi5aepaduZEnQ06KlZ+mpG1kS9LRo6dnQPXWB3Ane8RRXMIHjLY0nt7dT6uUeyct8uY3G3eN369evjzYit7zchRL3VXHJV6Ti/EvbP+ajY3Ji68Mi7x/K+2P/te7PpmP/uenvTPnO4dDHi4XDgylAAQpQgAIUoAAFKEABClCgaARWrFhRNOeinQgbT5qQh/c7N57cRuHu1XmPp9Rm4+49twG5e/TO7euUueG4e0wvtQeU5dTjdmifeeWg/PvvXk8Peef4C+WyQX26PQVkPN93BIU+nqUetCyyftpnWN7neBYtPUtP3ciSoKdFS8/SUzeyJOhp0dKz9NSNLAl6WrT0LD11I0uCnhYtPUtP3ciS8O1pObdsWTae4gomcHznxlOub7VLDeeOyfzWO/fnce94yrdj2vTm+zL/N7vl+Im26PRuuKyf3PjZc3PKIBdK6I0g3/NLoFTTH4GsH8fDBeiJWyFJeiJKeIaeuBWSpCeihGfoiVshSXoiSniGnrgVkqQnooRn6IlbIcnQPRGDXBk2nuIK5nl8c3Nzeq+mzI/IbCbNmTMn/VZbW3tTx73cXU1uT6fMx+5cI8q9fO/xdPj9j+SeJ3fJwaOt0fjDB/SW704YJJU92s+nuxdyYfpuzIQ+Xp6lmvUwZP04Hi5AT9wKSdITUcIz9MStkCQ9ESU8Q0/cCknSE1HCM/TErZAkPRElPENP3ApJhu6JGOTKsPEUVzCQ47NdKHes+osceLe9oZTPq9/He8oDUz6Rd+Mi9EaQ7/nls4bdHRP6D1bOL8lq4ebwyWrSk542Af48s3lpaXpqQrb36Wnz0tL01IRs79PT5qWl6akJ2d737Wk7u65pNp7iCgZyfLbCnfbwK7Fnt/yWS9h46kaRjSe8vHz/YOV4+NogSXoiSniGnrgVkqQnooRn6IlbIUl6Ikp4hp64FZKkJ6KEZ+iJWyFJeiJK/jJsPPmzLuqRsl2YM3/2qhw9djzv8+59eqU89M2L2Xhi4ynvGkodyH9xxCbs8AH0pKdFgPVi0dKz9NSNLAl6WrT0LD11I0uCnhYtPUtP3ciSoKdFS8+G7qkL5E6w8RRXMJDj87lQ3DfZPbbtLRn/qSp1M/HOTMh4vu8ICn28JEsVWT+OhwvQE7dCkvRElPAMPXErJElPRAnP0BO3QpL0RJTwDD1xKyRJT0QJz9ATt0KSoXsiBrkybDzFFQzk+GK8UEJvBPmeX5KlWoz1wvnhAlw/3ApJ0hNRwjP0xK2QJD0RJTyhrr9XAAAgAElEQVR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L8YLJfRGkO/5JVnGxVgvnB8uwPXDrZAkPRElPENP3ApJ0hNRwjP0xK2QJD0RJTxDT9wKSdITUcIz9MStkKRvT+Sc2HiKq1QGx/suXGQ8342Z0MdLsoyR9eN4uAA9cSskSU9ECc/QE7dCkvRElPAMPXErJElPRAnP0BO3QpL0RJTwDD1xKyQZuidiwMZTXKUyOL4YL5TQG0G+55dkGRdjvXB+uADXD7dCkvRElPAMPXErJElPRAnP0BO3QpL0RJTwDD1xKyRJT0QJz9ATt0KSvj2Rc2LjKa5SGRzvu3CR8Xw3ZkIfL8kyRtaP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+kUHL9lyxYZM2ZMeuTNmzfL6NGjo3+uqKiI/v+sWbNk6dKl6czEiRNl+vTpMmXKFPMZIxdK6I2Z0OdnLoocByD1wvFwAXriVkiSnogSnqEnboUk6Yko4Rl64lZIkp6IEp6hJ26FJOmJKOEZeuJWSDJ0T8QgV6bCvdra2trifhCPT06gublZhg4dKqlm06pVq2Tq1KnilmnJkiXRQPX19VJXVyfr16+X2tra6M93797doRFlOSPkQgm9MRP6/Cz1oGWRetE+w/I+x7No6Vl66kaWBD0tWnqWnrqRJUFPi5aepaduZEnQ06KlZ+mpG1kS9LRo6Vl66kaWhG9Py7lly7LxFFewAMe7RtOjjz4qa9euTX+6azLde++9smnTJhk7dmx0V5O7w8nd8fTaa69Fdzo1NTXlfTZI4YbemAl9fnkXR5YDkXrheLgAPXErJElPRAnP0BO3QpL0RJTwDD1xKyRJT0QJz9ATt0KS9ESU8Aw9cSskGbonYpArw8ZTXMECHD979uzoUzs/Rjdu3Lj0aJl3PI0fPz5951O+p4NcKKE3ZkKfX761ke04pF44Hi5AT9wKSdITUcIz9MStkCQ9ESU8Q0/cCknSE1HCM/TErZAkPRElPENP3ApJhu6JGLDxFFfJ8/G5Gk+u4ZTa42nx4sXR43XuDih3h9S6detkwoQJHe6UQk8duVBCb8yEPj+0FpAcUi/I56AZjodKYTl6Yk5oip6oFJajJ+aEpuiJSmE5emJOaIqeqBSWoyfmhKboiUphOXpiTmjKtyd6Xt3leMdTXMECHK81nlJDukfyUo/euf/v7pByj9/NmzcvvRE5enpuM/Nzzz0XjTNHAQpQgAIUoAAFKEABClCAAhSgwCkQePPNN81/5z8Fp5keko2nU6nfzdhuo/ANGzZ02ePJ3dWU+mY7twG5e8TO7euUueG4a1ql9oAqwqnxlChAAQpQgAIUoAAFKEABClCAAhQoIwE2nopwsXN9q13qdN1m46lGVOrOpzh3PBUhA0+JAhSgAAUoQAEKUIACFKAABShAgRIXYOOpSBfQNZOmTp2aPrudO3dKbW1t9M/urqbBgweL2+8psxHlMvnu8VSkDDwtClCAAhSgAAUoQAEKUIACFKAABUpYgI2nEl48njoFKEABClCAAhSgAAUoQAEKUIACFChmATaeinl1eG4UoA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WK9NxWrVolTz75pOzcuVO2bduWPsuRI0fK5z73OfnGN74ho0ePTuzsOR49LcXEemG9FHO9IOfmanjgwIGJ/hzNNS7HQ1YFz9ATt0KS9ESU8Aw9cSskuWTJErnxxhultrYWicfOcLzYhB0+gJ70tAiEXi8Wi3yybDzlo1bGx8yePVsaGxsjgQkTJnSRWLduXfRnK1eulClTpsSW4nj0tBQR64X1Usz1gp7bxIkTZdy4cVJfX48eEivH8WLxdTmYnvS0CLBeMK0tW7bI9OnTo//o6V6TJ0+Wu+66S0aMGNHhA5LyfOihh6LPP3TokFRVVUW/086fP19qamo6jFdRUSGbN2+O/R8KOF47Kz2x64H1wnrBKqW4Umw8Fdd6FPXZvPzyy/LpT39aFi9e3O1fiFpaWuSee+6JmlPul4M4/wWI44nQE78kWC+sF7xaRHzXi+XckvqLEzomx0OlsBw9MSc0RU9UCsuVomdzc7O4u+pdE8j9R0/3u1HqjvvO/6EzifmtWbNGJk2aFDWcRo0aJU1NTdHvtO6fN27c2KHZlUSjhOOdbB7SU7+OWS+sF71KijPBxlNxrktRnpW7vfCxxx6TrVu3qudXV1cn3/3ud2XmzJlqtrsAxzspQ0+9jFgvrBe9Sk4mTkW9zJkzBz7FXA1+5EPc/DjeSSl65q4a1ktHH9ZLcdWLu7vj1ltvlZdeeind9HHNKHeXs7vTftasWbJ06dLopJNoPLm7m1xj6/nnn0/f4ZR5x1VmsyuJRgnHO/mUBD31f8OzXlgvepUUZ4KNp+Jcl6I8K/eL6YYNG2Tt2rXq+SXxL36Od5KZnmrJCeuF9aJXScfGk8+fZ6n/QukeD/nMZz6T81SXLVsmM2bMiPWoHcc7SUxP/cpgvbBe9Co5mfBdL7n+/Z5qmqaaT0n8vtTdZ7g7rW677TZZvXp1ekuJJBolHI+eluuP9cJ6sdRLMWXZeCqm1Sjyc0n9opH5X5yynXLqEZa4+zxxvHZdemIXBuuF9YJVSnvKd724Md0vi2effba4zX1zvZL4ixPHS7YRS096Wn6+sF6SrRd3x9PDDz/c7R337mfq1KlTozuf3J1QcffIc3eUDB06VBYsWJB12VP7Sbrfc924cfd44njt+8fSE/spw3phvWCVUnwpNp6Kb02K+ozct9a524/dv9zdho6f+tSn0uf7pz/9KWqSuF8AqqurO9yinO+kOB49LbXDemG9FHO9pJrI2v53STWeOF57NdATuypYL6wXrFI6/kcOHz/PXDPJNYJyjZVqPrmzi/uopPusefPmRXs7dffK/DKTuI0njifRY5OpLy+iZ+4rkfXCerH8rC6mLBtPxbQaJXAu7jbj++67L/qXg9vkMdvLPUqycOHCWBuLpz6X47V/cws9sYuD9cJ6wSqlPeW7XtyY7k6ryy+/vMs3I2Wet2sA9OnTJ5GfoRyv/a5RemJXBuuF9YJVSnvKZ700NDTIpZdemvMbk921fvXVV8sPf/jDWHuMph6py/ateZk+qWaX9iSAZsrx2oXoqVXKyd9d3COfrM/2Ox15/WF1UwwpNp6KYRVK9Bzcv+CPHDnS4exHjx5dsNlwvGRp6UlPiwDrxaLFLAUoQAEKUIACFKAABSiQEmDjibUQhID7ryQDBw6UQja+Ov9XLp/jBbFIRTQJ1ksRLUYJnIrvevFN4nt+vsfz7Rn6eL7Xz/d4oa+f7/mFvn5uc/Mbb7wxkTtUkbXxPR5yTszgAr7Xz/d4uASTiEBo68fGE7LqzJgFkvpFI/Pra91JuMfOst1amtQeHr7HQ2GT8gx9PN/r53u80NfP9/xCXz/f8/M9nu96CX083+vne7zQ18/3/EJfP7ehuft9020rUVVVFT3iN3/+/C6PSSfxrXZu7XyPh9aL77/4lup4vtfP93isl3aBpOqzWNcPXed8c2w85StXpsf5/EXDbSY5cuTI6F/6EyZMiPZjcRubu1fnb8xLovHkezw3D5+eoY/ne/18jxf6+vmeX+jr53t+vsfzXS+hj+d7/XyPF/r6+Z5f6OuX+tZT13AaNWpUtMm429jc/fPGjRujL9dJvZJoPPke71Q0unz/RdvneL7Xz/d4rJeTf+kv1eu9WNoWbDwVy0qUwHn4/kXD/Uvj1ltv7bBpnDsH980X69ati75Zb+nSpZFcEo0n3+P59gx9PN/r53u80NfP9/xCXz/f8/M9nu96CX083+vne7zQ18/3/EJfP3d3k/sPnc8//3z6DqfM/1CY+R8/k/iLqO/xfDcuQh/P9/r5Hi/09fM9P9/rV0wtBjaeimk1ivxcfP+i4W5n3LBhg6xdu7aLjHtvzpw56eZTEo0n3+P59gx9PN/r53u80NfP9/xCXz/f8/M9nu96CX083+vne7zQ18/3/EJfv+5+p0x9+9zq1avTd94n0XjyPZ7vv/iGPp7v9fM9Xujr53t+vtevmNoLbDwV02oU+bmcil80Hn74Ydm6dWtWmdTXrro7n9x/7Rs3bpzU19fnreh+cfM5nm/P0MfzvX6+xwt9/XzPL/T18z0/3+P5rpfQx/O9fr7HC339fM8v9PVzfxEdOnSoLFiwIOvvlO7O+8bGxqj55L7OffPmzbG+3Mb3eL7/4hv6eL7Xz/d4oa+f7/n5Xr+8/2JcgAPZeCoAaqgf6fsXDddMcv/id8/V19bW5mw+uTcXL14cq/HkezzfnqGP53v9fI8X+vr5nl/o6+d7fr7H810voY/ne/18jxf6+vmeX+jr5/7D5rx586K9nbp7pZpP7v24jSff4/n+i2/o4/leP9/jhb5+vufne/2KqS/BxlMxrUaRn4vvXzQcR0NDg1x66aXRt4l093r55Zfl6quvlh/+8Icyc+bMWIo+x/PtGfp4rBeR1F2ApdiI9V2fvusl9PmF7ul7/XyP53v9fI/n2zP08UJfv9Qjddm+RTnzl8zUv3NfeumlDhuOW38R9T2e77/4hj6e7/XzPV7o6+d7fr7Xz/rzqJB5Np4KqRvgZ/tszATI12VKvj1DHM/9AHevmpoaLyXje7zMSYW4fqdyfl4KJmMQ3+vne36+x/PtGeJ4vn+e+R7vVP58CbFefF/jp3L9TuVcCz2277/4hjqeazB390RGIdbQ93ipOYS6fqdqfoWojVL5TDaeSmWlTuF5+v5FkeMlu9ihe7q9LRYtWhTdFfelL31Jrr/++mQBO32a7/FCXz/OL9lypSc9LQK+f575Ho/Xg6Ua9Gzonr7/Ys/x9JqzJHx7ur2B3OOYkydPln/8x3+MddcbMk/f4/n25HhIFZR2ho2n0l4/L2fv+xdFjpfssobu6f5F9cgjj4j7lhm3H1hVVVVBm1C+xwt9/Tg/Xu8WAdaLRUvP+v555ns81oteA5ZE6J6+/2LP8SzVp2d9e27ZskVWrFgRbXNw6NChaF/aQjahfI/n25Pj6TVe6gk2nkp9BT2cv+9fFDlesosaumemltvvy22y6uuXAB/jhb5+nB+vd4sA68WiZcv6+Hnm++c168VWA1o6dE/ff7HneFrF2d737Zl5dmvWrJH/+I//iP4jqHuNHDlSbrnlFrn22msL8jiej/F8e3I8W72XYpqNp1JctVN4ziH+Yur7F2GO5+eWZPcv5d/85jddmlA333xzwX4JKPR4vP6S/eFHT3paBEKvl85/iSr0zzPf44W+fpyf5WrWsz7+Yh9646Kc5peaq3sc9ZlnnpEnn3yySxPqxhtvTHw/Ul/j8XrQf2ZYEr49LedWyCwbT4XUDfyzQ/yLve9fhDneZClUIyj0X3h4/SX7A5ae9LQIhF4v/PlpqQY9G3q9hDw/X3+xD71xUS7zy/xpkKqdH//4x7Jt27boLfco3g033BDdCZX0l+L4GI/XQ7JfZOTbU/+3VWETbDwV1rdsPt1355bjJVtaoXtqv/Dcf//9Mnr06GRRRaS7f6EkPV7o68f5JVua9KRnPgK+fp75/nnN6yGfauj+mJA9ffzFPvTGRTnNL3Ou7jFVdyfUww8/3KEJtXDhwoLche9jPF4PhWlC+WpUJvuTH/s0Np4wJ6ZAgVB/MfX9izDHK0wjqLtfeNxz+DNnzgSrPL9Y5r+gCzUer7/81qa7o+hJT4tA6PXCn5+WatCzoddL6PPz8Rf70BsX5TS/znN9/PHHZdmyZfKLX/zi/2/vbF6uqr44fvoDJBNHJSG9DAIj0XJgNUiofmhIg4w0CaHozQg0tKwcWVmIBYFlUiCRBr1MRKkc6CAQKoqgwkEGotFIyugP6Mf3yHo6nufc83LP2uve+9zPmWTPPWevvT977XX2WXvttZOfhiddTS2P8dBs87vcEc2zS9363IvjqQ89nq0l4PmhrQF45ZVX1oalespTWadPn66NgplkeW1U17N94yivTZ2GvUcJEufNm5d8MlFXv0nuv+jx3qaf4dmG0qV7sJ//RTtq5TKVo3mUjqD22tD9Tuxnv4UQ7Kfv+FPurFtuuaVWkT0/7FXWP//8UytzkuW1sQie7RtHeW3qNMw99u69+uqrk0RRta3TJPdf9HhvwzSaZ5s6DXsPjqdhyfFcKAEd4fv8888n3RtdbJDkffrpp9l3330X0s5oeSGNmjIheuFv3rx5Jpmkmn/VVVdlTz31VLZ161bXvfw6te+nn37KXn311UrKDz30UPbMM8+4bR+Mlhc93jXR+Oqrr/J8Y1U5F1566aXs5ptvzsR1Eq9ontH2LFreJOrAuNcZ++lnr6PH+1y3nzri/dtvv83t/3333ZetXr066XCSvOXLlw98v3sLj5bnXX/KyzKNQS1wWB4pMbn++uuzbdu2uUfz182H5CB5+umns0OHDrnNeaPlRY93bU0+f/78wH5Sfd54441G5/ekjAMcT5PSU2NYT00UFbr5999/V9Zu5cqVbh++5u2VM0iGVR/0KScB7733XrZnz57szJkzIeRTy9NLaenSpdn+/ftz42YT07rGydBt377drf0p9aVNe8oN8W7fbbfdluumHE2LFy/OxZ09ezZ79913s3vvvTf78ssv3ViqvSdOnBhYpl5Uq1atcuu/aHnR4930R3Zl9+7dsyYA3jylCCnHQ1nRonmmtmfl9qWWh/2cbbqwn+3NOfbT930UbT8VgffFF1/ki0q//fZb/kGvBNEPPvhgko9BzW0XLFiQvfPOO+2VrMedqeXJPj/55JPZjz/+mPPS+1QLPXXX119/7fb9IDn2DhwkU6fNXXfddUNRbNOecsGe7VPbbr311lyE5p/aHaJLc0Rx9rbVTfOhK664IvNsX7S86PFu+iO7cvDgwVl6781zKCV3fAjHkyPMaSpKH00aLEXvern95uTw5mL7Xk+ePJlPBCyqxPt0NDkSFP2gl/+wL6QubU8pz1Yhnn322Xy1Tob11KlTtdXzdBym1pc27Sk31rN9WrFYs2bNzMSqKMs+Wm3S1UUnqhwIf/zxR3b48OE8Gk9JysvXL7/8kk/yPMaf9CZSXhWbiPFuETMag+YoLK4wNU18uvZp6vFQV58InpKf0p5VtS+lPOznbOLYz+ZRj/28tD1tLtlPi+6yRVCLKpHjwuuEMnMkpIiWHvSOleMilTzNj95+++2ZubQiqM+dO1c7gPo4gsoFq8/uuuuu7K+//hoos8/8rE17yoI926eIIH0LffPNN7N0UE6/HTt2ZH/++WezwWq4Qxy1BXTLli35+33Dhg2zntDcVHOoPjyt0Gh5Vc2PGO+yj/Pnz88uXryYOwo1Dnft2jXTlzieeqsuBcwFAjK069evz44dO5Y87LiOlz7gZGzlUHn88cfdIjzUPnme61ZlPFcRouVF6+C46EuqdjetaOslvW7dut762TayS5NIRVj1nQhHy2vqn1Tjvdh/cmJqYiWn+osvvphvk3z44YddI8jGZTyk4hltz6LlNemp9+/joi/e7bLysJ8+9rqpf1KN92m1n+bE14f9kSNH3CJ05Eg4fvx47cKuZ0RJtLwmPfX+XVu/xDMiibd33duUV+fY1ZhfuHChSwRS28guOU48ovWi5TWxTjXei/2nd730VZdF3+N4auoZfp8KAk0TxdQQyqelKOrpo48+cnOCtYmg8VzxjZaXun/K5Y9aX1K3tynHjNeKb5sVdM+k5tHyBvVT6vFepZ/62+uvv55XSdsePB3box4PqXlG27NoeantCfbzcgLYz34al3q8T5v9LJ82pagnOTa8IuPbRNB4RsxEy+unzd2f9rIf3SXHPNGUo8vLcdEmAskzqXm0vEG9lXq8l/VT9nrnzp155JgWkbUI6ulojtHKwVLYajfqHphQ+Qqd3bhxY/brr7/2jqpoi2DQ0ZL333//xCb9bdv2FPfJqH/yySfZ999/X1n8pk2b3LhG60v0h2jddjr7zTM6UDx//vnn3hFUbfUqWp7qFTneBzmCVAdFPSmM3TPCMXo8RPNsq1eTfB/20y+HI/bTfyRgP32Z2ni3PE+WZ1Tbje644w5fYVNQmt6BR48ezd/zVZdnMmVFdGme65lns66Loh15luNw0FY7pV64cOGC27ea5ktLlixxW+hvUvdoebnbwKcAABX8SURBVKpP5Hgf5BgtRt/jeGrSEn6fCgIaLFrhKe5FTdVwS06o8uUBfu6557K7777bzZCmqve4liuP+o033pjveVfia53YoqiOG264If+3VvCUP8hzQhWpL01bxEyHPE8ps7DgquTikhd1QuK46lyXeo3beNckZNGiRa72JnI8jBvPLrowjvdiPy+9g7Gf46idWTZu433S7af0XA4nXUoq/sgjj4R9dI+nhvWrlT6o77zzzjw/64oVK/KUFpojKTWA/i3Gr732mlsEmdnrqoND+rWk+ummLWKac3s61qx9qk1VcnEtng06ATlF+ye9zHEb7xovnt9io+4fIp5G3QMTKl8e/b1799buQfeMEJA8nZ4nZ5NXOHMT+sgVbdWlGF1hdbNVNW/nniUctIi1osfdojEU3unFOlpfBvWtHdmt31Unz0tlv/nmm3l4bDGJpSZR+/btc3VaWL2LJ7VoMqMTY1JM8qMjyEYx3m0M6qROXSl5Ro+HUfDEfmI/u9hX7KdfBNkoxvtctp9ayLr22mtDFzsjI4LUd8XoChu3WoD03GJu5erDXomULQKpuBXM8k15LtRZ8m2dSDjoiogo0XztnnvuybZt2zbr5NwutrLq3kHfD3JEpXI6FeeFOtxJjsMUTpLoCLJRjHcbg3boU0qefXWt7/M4nvoSnNLnoz9Eoz+0o1e0i/LkqFi2bFne5B9++CFfafNKFm0cy1uLyqGeSob92GOPub0cR6UvVcPTWHsmAy3Lsb3pKVcpylFd5uhtyjc1jMkaRQRZsZ7SH8/cVVUMInmOajxEOSqxn9jPYeyMPYP97ENv9rPYTx+eUR/a0RFBRXlyCi1evDgHZif3eSWLtl4ozzeLjidLhu1xKprJi3Zc1GmbWK9duzZpmpKI8V6O6jLHXVO+qWFGYnQEWbGO0sfTp09nnrmrqhhE8hymDzyfwfHkSZOykhKI/DCMjggyeSdPnsyjVoqX5b/4+OOP3bY2SN77778/s/1LpyjouFWLAvI6hS2pQvQo3DvZpCXhrnM0eU4GTCfkbNLKSPHUtQjHmqFPHUG2efPmmS0OkqkIwBRHPo8Lzx4q3fgo9hP72agkLW/AfrYE1XAb9tOHY0QpkR+G0RFBkqdooKqTcG3bpn73ioCXPEVTWSSOUjxYFJDnKWwRejGMDK9k3yZbc8s6x4i388S+V3Rynfqy2B5zYv7777/DoOn0TMoIMs0JtfiunR92SWdTRKuNC89O8HvcjOOpBzwejSMQ/WEYHRHUdMpViom+jKhNJuy4bu0F16X99Z7JsOM0pVmSvRj379/vFtFl/ffss8/mSb/LiRflyLMXmMd++3JUU1k/vPWljmoqR5cxq8qZpW1wnolCx4lnswZ3vwP7+b9s1apVbsn4NeHFfmI/u4/E2U9gPz0opi0j+sMwOiKoab7g7SjRfPPll1/Ozpw5k3ecFj71txdeeGEmyt8zGXZa7ehWui0AeUZ0WZTRzTffnJ07d24mTYBqpneVdkxY+gePeX05qqmsH976Ukc4RQSZMZPcqpxZnmlkJGOceHbT5uHuxvE0HDeeKmT9jzgVLfrDMDoiqM542sTUVhe8lE/73vWisgSxevkrP5EZW8nzuqK3FhWTq1a1IcXWxeeff/4yUeYcMUeXXvjnz5/PdMJI39XDNo7RdevWuX1oN+lB08S16fny78pvsWbNmqxqclZ3AlZXOXb/KHhG5kDCft6YYT/bjw7s520Z9rO9vsx1+xn9YRgdEVS38Gnzl75zlqI2WaTfjh078gh//b8Y2+KcZ3S/5EZvtSsmp64aRSm2Liope/Eqpl44cOBAdvDgwezw4cPZ8ePHZxx+7Uf45Xe2cYxG5MyyWnk7uiwn2KBTAqW32iHidY0bT692DSoHx1NqwnO0/OgcHtETm1GsaMvxI7mHDh2aSUQtzjt37sz/7hnhMUgtJU+XkgR6XtE5guS4ePvtty9rwvz58/PcWVdeeWX2wAMPuLbR2mcv26KzSRFQypVgyTKLYeXDMi47ZoovLnPMeKxstalfygiyQTrvvRU0mif20z+iEvvpd8oc9nNpWMQv9rPNW+bye6LtZ/SHYXREkDl+lPi6mIha807lHI1ywkqe13a+osZE5wiy75ViHdQu5c5SknrP00AlQ+1T9JicSpJj81FFjSkNw/Lly/N+te+avtFWZcdM0fFjixZREWupIsgGRUin2Ao6Tjy7W+PuT+B46s6MJ7JLx/XK6xt1Klr0h6E6OWVEUJMjpqxkitDxPr56HBQ5ZY6LyPZVrRjaZFX1OHHixIzj0Cs6SM4XrUJqEqMJhxxammAoak3bgDxPhRlFBETRWVfuSy+GxXKjeWI/h4+oxH5e0lzs5/BWPnq8K9J10JUiAhf76XeqZPSHYeqIoCZHTFlPFb2tCJpy/tHhR994PJkyR1BkC6vmQ+YMeuWVVy7bZu4RHWRb0RYsWJA7JpWaQ1FcujT/9EgnUeQ3iggyc9ZV9aMHw2K50TwjdXMAvyuu+DciC9ioW4p8VwJtIpA8T0VT5SMnioNgeUUEtdl6Vq7DypV+xy2rbEXGyKEgo1d1bdq0yX1lpkqOV44LMb3pppvySCZLplin9J6npInjnj17Lgthtsimv//+O4njadDx45oA7Nq1yzWiKzoCom47XaqIrkie2M9+EZXYz/8sG/ZzuKlN5HjHfvq+j6Lt57h8GHpFBLXZelYeVYoS94xG0pj48MMPs4sXL1YO4ChHl0eOIJtv2uEydthMnWXyPCVNjhk5gSw9RjGySSkgitE7Xk4TyZCDSadu26XDX5Sna/v27cMZ5QFPRUeQ2Xx+0FY7LSJ4R3RF8nTtnCEKI+JpCGg8ciniKfpUtMiJ4lzv42LCQa1mjdLxJNl9I1hsu0JxX3s559KgPlX7i9sbh+l747lixYr8Jf/DDz/kL2TlKtDe+m+//TbTiYW6li7138ZhzkPPieEwHDyfsVXZquTiihDwjOgq1zs1T+ynp6bEl4X9/I859jNe/9pIxH765jicpg/DNvrV5x7bwSBHheZMVVeU40my+zpjyqkWukSUeUQHGU+bKynaUdHwR44cydauXZtHwCttwWeffZbnGPV2mmgxcNGiRa6LnX30q++ztpijcqqSi3v0WV0d5xrPcltxPPXV0Cl9fhQ5kIqoU38YSta4RASlUDG9KF9//fU8meOonRUeOS70ovjggw9mTvNQ35WTLVZxVDSSwoQ9TrjTy1+n2umFrxe98iUo7FiTK/3bVob0/7ZFtU/fqo2K2rL+M31V+Y8++mjSflWfeUaMVXEY5GhWaPe+ffsmepKD/cyyqIjKPmNs0LPYz0tksJ/DaRf2czhu9tSo7WfEh+G4RAT166nqp+WY0dV3wc+jbh45gmy+qXmXIu7Vd8rt2XTZAmXfnEuSY+8knV5ni8maA2uRTpclbvc6Ebi4w0Dlm77edddd7jlUixwtuswzYqyqnwY5muWIKuZBa+pjfp9NAMcTWjE0gZQ5kBQKrGSxdnKAjNzvv/8esvVLQEaxoh19ylUx79DQStDywegcQS2rld/WN9qqTlbRQWrh7R4h6zbxtmTmxeNfrT4ezq3yC3/z5s2zQqv1It66dWtSR5DGxj///JNZKHuX/q26dxy2amE/fbfyYj+/TDoGB4057Gc7a2R5e8pbU7Cf7fiV70ppP23uqXe2Lv1XER1e75+mFo8iIkgyjx49OjD1gmcEUkqbUcU2OkdQU/8Wf+8bbVUnyxykukfRTro8Dtax7zObY5q+asFVC69ezq1i29QWpW8xB5p+k7xt27ZlTzzxRBfkne/1XigYh62unSE4PoDjyREmRV1Kdqqr76lo5T38dce9puAevaIdfUqLOSq0/SsiYWR0josuOqG6XXPNNSEcutSr7l7pZzF5rOmrJgK6brzR//h45VjTS79q61uKiYYXq6pyuianVvsiInSwn8P1OvbT95TOLr2A/WxHC/vp62iuou5lP8uOkWhHSXREkEWd29Y3i5TRPF7/tgTSXtHxFh1elUOn3Wjqdld0jqAutdOirIczqIvMvvdKP4vJt01ftZ3PdEkOKC99KS6sVm19sxQbfdsV9XyXrZg2Jj0dv1HtHCQHx9Ooe2CC5Ecmb5ZHeP369Xnyuttvvz1fiVFOl7feemsgMc/Qy2hHV/QpgYJoqxZKBlh16WM7wik1QUOgtqrRERdFx5MSmWtyaCHA3hPl8qmSRRB1icD79K0+IrRKp+08VZd3sn0xmz9//mXb+OyYaX00WuLOYduE/RyWXPNz2M9mRuN+B/bzR9f3LfZz3tA8FfGk+ZHmRnrPbNmyJT/cZsOGDQOHkR1s4jHOvN/fTXVSRJCSfMtxoKsYhaPIMp2a651TUYxV5rp16yqrZ9vWmurO75cIREesmePJou+PHTuWrV69epb+ePRP+VTJYpn27rfdMR7yVIbaZVFiVWV67Fywcm3hrJyYXe9EbV3U3FNjdK5cOJ7mSk8mbscokjd38Qqr+Z5e7+iIoOhTWsSriW9fnpEf2onVv7H46IgLc/bIMauVJW3fKK4w2Yl6XiHITY5YTco1gfQ6zcQcPsWw6nIneOTlsjI1adu4cWNl7i2PU8Own41DqNcN2M8sec61Xh3U8DD2E/tZpyLR9lPzP+Vl1Du17WXb3tveX3dfdERQ2dFVdDxpbC5cuDDzyENkbW7Dtw/PUZ8y56EDXcqIjlgzZ48cJVoAVV6pM2fO5FUunqjntXBd54g1/eyjL2XW5vBRuwZdnuNBjrXvv/9+xvFblOlx6mIXXYq4F8dTBOU5IGNUyZvtBXL48OHGiCfPFSd1WWREUPQpVxZRJueSVvSqrj48oyeKox5io4i40MtKidEViltcEUkR6lze2lfm7b1Ca/pZXEVL2cdNjrW+7cN+zu49z4hK7Od/fD1OmUs51qrKxn7+77Ijz/vyx35eItg3+b0+ov/4449WEU/e+Z8iI4IUTaF8ORYxXVy4SvFhbxFlmrcod1bV1YfnqE+Z6zt+uz4fHbEmnXj44YfzbZjSm88//3wmulDsDxw4MOOI6tqWqvvLW/vK93jnyZJ+Ksqv2C6Pdgwqo2l+6d2+lG1pUzaOpzaUuKcXgaZB1aZwOyXCK6KijczUEUHFOkSf0tLkSGjDp+6eUX1o9633sM+PIuJiUF2lS0rE7bXaJDl12+nsN08nUZMjaNh+GvScfahVrWLZ6tfu3buTJ7EcNOlatWpVr2gy7Odrmbd+Fre6eusj9vNyR4wiKpVY1iuCs66/sJ/dtXmu20+9j5YsWTKzlag7oW5PpI4IKtdG/ffyyy/POAuKWw3t5LULFy70zt1qcpscCd1ozb57HE6Z69uGLs9HR6zV1a182nKXdgy6VwsTe/bsyapygtnBRd762XfO1aXd5uiqal+dbe0iY5zuxfE0Tr0xR+syiclHU0cEVXV1ylNayvKiQ7m7qLaHo7KLPI97oyMuPOrctQxzxFYlF9eRvZ45IOq2vnWtd5v7i1v7lCtr2bJl+WNnz57NIx91eZ8S2KZeugf72Y4U9vMSJ+xnO32Jvgv7+aub46JL302i/UwdEVTmZycu7tixI1+wKm91//jjj11zzMhWaxujvVu79GfqeycxuiQ6Yi11H1Tppw7M0VWVXFwpJyxaz6NudVvfPMovl2GLm/q7+nLx4sX5Leb0nbTDe5oY4XhqIsTvU0kgdURQW6hep7RUydNEWKdO7Nq1ayQTwkEMJnGiGB2x1lZ/PO+TLr755pvZu+++m+/pt0uOmn379rnrULR+qn07d+7MJ8Pl9tmE3JPnXC4L+zm63sV+jo59nWTs5y3j2TFjWKvUEUFtm6x5jdfJZEWZltNtVFHEde2fxFPmoiPW2uqP533SRTmYlM/ULqWZkCPK0+mkskehn3I+aTyU2ydH1Lh9o/XtVxxPfQny/JwkMM4RQR7A9aLau3dvVpe8uW9ycY96TlIZkREXo+ail6S28/XJw1DXBvRz1D3cTz720/ewi369MRlPYz/9+gn76cdyFCWNc0SQBw87pawuebtnsmiPOo9zGdERa6NmoTym8+YNf2plU/3RzyZC/X7H8dSPH0/PYQLREReRKGW4T506VSvS+7j6yPaNi6yUEWvj0sYU9UA/U1CNLRP7uTKZYza2J0cnDfs5HHvs53DcxuWpUURcRLZdjtFz587VivQ8rj6ybeMkK1XE2ji1MUVd0M8UVP8rE8dTWr6UPqEEWDGc0I6j2hCAwMgJYD9H3gVUAAIQmFACRFxMaMdRbQhAoJEAjqdGRNwwjQRYMZzGXqfNEICABwHspwdFyoAABKaRABEX09jrtBkC00EAx9N09DOthAAEIAABCEAAAhCAAAQgAAEIQAAC4QRwPIUjRyAEIAABCEAAAhCAAAQgAAEIQAACEJgOAjiepqOfaSUEIAABCEAAAhCAAAQgAAEIQAACEAgngOMpHDkCIQABCEAAAhCAAAQgAAEIQAACEIDAdBDA8TQd/UwrIQABCEAAAhCAAAQgAAEIQAACEIBAOAEcT+HIEQgBCEAAAhCAAAQgAAEIQAACEIAABKaDAI6n6ehnWgkBCEAAAhCAAAQgAAEIQAACEIAABMIJ4HgKR45ACEAAAhCAAAQgAAEIQAACEIAABCAwHQRwPE1HP9NKCEAAAhCAAAQgAAEIQAACEIAABCAQTgDHUzhyBEIAAhCAAAQgAAEIQAACEIAABCAAgekggONpOvqZVkIAAhCAAAQgAAEIQAACEIAABCAAgXACOJ7CkSMQAhCAAAQgAAEIQAACEIAABCAAAQhMBwEcT9PRz7QSAhCAAAQgAAEIQAACEIAABCAAAQiEE8DxFI4cgRCAAAQgAAEIQAACEIAABCAAAQhAYDoI4Hiajn6mlRCAAAQgAAEIQAACEIAABCAAAQhAIJwAjqdw5AiEAAQgAAEIQAACEIAABCAAAQhAAALTQQDH03T0M62EAAQgAAEIQAACEIAABCAAAQhAAALhBHA8hSNHIAQgAAEIQAACEIAABCAAAQhAAAI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yB1P4VIRCAEIQAACEIAABCAAAQhAAAIQgAAEIDAVBP4PSUvMkZPYWOAAAAAASUVORK5CYII="/>
          <p:cNvSpPr>
            <a:spLocks noChangeAspect="1" noChangeArrowheads="1"/>
          </p:cNvSpPr>
          <p:nvPr/>
        </p:nvSpPr>
        <p:spPr bwMode="auto">
          <a:xfrm>
            <a:off x="457200" y="4572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AutoShape 5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5/z418Mk19Frl+ypvSkp0WA9WLR0rP01I0sCXpatPQsPXUjS4KeFi09S0/dyJKgp0VLz/r21M8o0MbTT3/6U/nUpz4Vze5Pf/qT3HrrrdG+T5mv1J+3tbXf5cJX9wK+C9fneMt//7qs3X4wmvyZp1XKgq/Wyjl9eha0HHzOz02E4yW7nPSkp0WA9WLR0rP01I0sCXpatPQsPXUjS4KeFi09S0/dyJKgp0VLz9JTN7IkfHtazi1btmTveLJMnI0nXct34foab/v+o7Lo6T1pgFlfGCBX1fXVQWImfM0vdZocL+aCdTqcnvS0CLBeLFp6lp66kSVBT4uWnqWnbmRJ0NOipWfpqRtZEvS0aOlZeupGloRvT8u5BdN4WrVqlezduxea+6BBg2TKlClQ1ndo9uzZ0tjYGA07dOhQaWpqSp+Cm+PUqVPT/7xz506pra0V9w1+Luteixcv7vBNfnV1dfLoo4+mv+3PMh/fhetjvPc+PC5zf9EsB4+2RhSjhpwlt18z0MKSdxaZ38Hvfcb0+dU/+F/d5pHxTIMpYY6XpCbvWEtWk570tAnw55nNS0vTUxOyvU9Pm5eWpqcmZHufnjYvLU1PTcj2Pj1tXoVOl+QdT4VG8fH5bkN0tznz0qVLo+EmTpwYNZbcP6c2S081m5YsWSLLli2LGlOuWTV27NiomeY2WU/dzeX+fPDgwR0aUZZ5hHhhPvjbffLCrnfaGY4dkWX/18joUTsfL8STjSd8JRBP/NP0JMfTjSwJelq09Cw9dSNLgp4WLT1LT93IkqCnRUvP0lM3siToadHSs/TUjSwJelq0Cp9l46nwxtAIrrm0YcMGWbt2rbj/vXv37nRTyn1A6pv87r33Xpk3b150V5O7w8k1o9zdUe5OJ3dsvq/QLsznmg5L47P70xwn/vBzWfGTBfnymI9DPNl4wlkRT/zT9CTH040sCXpatPQsPXUjS4KeFi09S0/dyJKgp0VLz9JTN7Ik6GnR0rP01I0sCXpatAqfZeOp8MbQCO6OJfdydzy5u5/GjRvX5TE613TatGlTlzueMu98ggbLEgrpwnzrSKs0PNEs7lE795o4vFrWPPid6A4zXy/Ek40nfDUQT/zT9CTH040sCXpatPQsPXUjS4KeFi09S0/dyJKgp0VLz9JTN7Ik6GnR0rP01I0sCXpatAqfZeOp8MbqCKl9m1KP1uVqPI0aNSq9x9PKlSujO53cHVDTp08Xd/ysWbM63CmlDv7fgVAuzOMn2mTR03tlx9+ORjMbWHW6zL+hVr71zZvYeEKLAciFUi/dTZXzA4rAEKGnAQuI0hNAMkToacACovQEkAwRehqwgCg9ASRDhJ4GLCBKTwDJEKGnActDlI0nD8jaEO6ROXc3U2oT9FyNp8yN0t0jeZmv+vr66PG79evXR/tFWV7uwgzhVXHR56Vi6DXtU2k7ISe2PiLy7htFObV/rfuz6bz+uenvTHmGKUABClCAAhSgAAUoQAEKUCBMAZ9P9MQVZOMprmDM412jaMaMGR0eq8t87C718e5xutQdUe7P3Abkrlnl9nXK3HDcNa1Se0BZTi2EjvCelg/ke7/cJe6uJ/eaevl5MunSmuh/F+P8+KgdXqHFuH742etJzk83siToadHSs/TUjSwJelq09Cw9dSNLgp4WLT1LT93IkqCnRUvP0lM3siRC97RYZMuy8RRXMMbx2ZpOqabSmDFj0o2mzG+1Sw2X2YhK3fkU944nnx3TpC/M1uNtcs+TzbLv0LGIaNgFvWXudYOkskcFG08xarS7Q5NeP+0UOZ4mZHufnjYvLU1PTcj2Pj1tXlqanpqQ7X162ry0ND01Idv79LR5aWl6akK29+lp89LSvj2189HeZ+NJEyrQ++6b6KZOndrl01N3Nblm0pw5c9Lvt7W138XjXu6uJrenU+Zjd64R5V7lusfT8t+/Lmu3H4wMzjytUhZ8tVbO6dMzbeb7wkTG4x1P+MWFeOKfpic5nm5kSdDToqVn6akbWRL0tGjpWXrqRpYEPS1aepaeupElQU+Llp6lp25kSdDTolX4LBtPhTcuiRFK+cLcvv+oLHp6T9p51hcGyFV1fTu4F+P82HjCL41iXD/87PUk56cbWRL0tGjpWXrqRpYEPS1aepaeupElQU+Llp6lp25kSdDToqVn6akbWRKhe1ossmXZeIorGMjxpXqhvPfhcZn7i2Y5eLQ1WolRQ86S268Z2GVVinF+bDzhF08xrh9+9nqS89ONLAl6WrT0LD11I0uCnhYtPUtP3ciSoKdFS8/SUzeyJOhp0dKz9NSNLInQPS0WbDzF1Qr4+FK9UB787T55Ydc70cpU9+4pi75WGz1q1/lVjPNj4wm/oIpx/fCz15Ocn25kSdDToqVn6akbWRL0tGjpWXrqRpYEPS1aepaeupElQU+Llp6lp25kSYTuabFg4ymuVsDHl+KF8lzTYWl8dn96VeZed5EMH9A76yoh8/PdCPI9XpLli3hyPFyAnrgVkqQnooRn6IlbIUl6Ikp4hp64FZKkJ6KEZ+iJWyFJeiJKeIaeuBWSDN0TMciV4aN2cQUDOb7ULpS3jrRKwxPN4h61c6+Jw6tl2hXnd7sayPx8N4J8j5dkqSKeHA8XoCduhSTpiSjhGXriVkiSnogSnqEnboUk6Yko4Rl64lZIkp6IEp6hJ26FJEP3RAzYeIqrVAbHl9KFcvxEmyx6eq/s+NvRaGUGVp0u82+olZ6V7d/sl+2FzM93I8j3eEmWMeLJ8XABeuJWSJKeiBKeoSduhSTpiSjhGXriVkiSnogSnqEnboUk6Yko4Rl64lZIMnRPxCBXhnc8xRUM5PhSulCe+mOLrHz+jUi+skeF/OArQ+Siml45VwKZn+9GkO/xkixVxJPj4QL0xK2QJD0RJTxDT9wKSdITUcIz9MStkCQ9ESU8Q0/cCknSE1HCM/TErZBk6J6IARtPcZXK4PhSuVD2tHwg3/vlLnF3PbnX1MvPk0mX1qgrhMzPdyPI93gqkiGAeBo+To1yPJXIFKCniUsN01MlMgXoaeJSw/RUiUwBepq41DA9VSJTgJ4mLjVMT5XIFKCniUsN+/ZUT0gJ8I6nuIKBHO+7cLONd8eqv8iBd1vzFu338Z7ywJRPZD0emZ/vRpDv8fKGzXIg4snxcAF64lZIkp6IEp6hJ26FJOmJKOEZeuJWSJKeiBKeoSduhSTpiSjhGXriVkgydE/EIFeGjae4goEcXwwXyrSHX4mtufyWS9h4iq2of0Ax1It+lvknOL/87bIdSU96WgRYLxYtPUtP3ciSoKdFS8/SUzeyJOhp0dKz9NSNLAl6WrT0rG9P/YxyJ9h4iisYyPG+CzfbeDN/9qocPdb+LXX5vHqfXikPffPirIci8/N9B5Lv8fIx7e4YxJPj4QL0xK2QJD0RJTxDT9wKSdITUcIz9MStkCQ9ESU8Q0/cCknSE1HCM/TErZBk6J6IQa4MG09xBQM5vpgvlDfe+VAanmiWD1pPRNpjP3m2zBjb3ySPzM93I8j3eCYwJYx4cjxcgJ64FZKkJ6KEZ+iJWyFJeiJKeIaeuBWSpCeihGfoiVshSXoiSniGnrgVkgzdEzFg4ymuUhkcX6wXims2ff9Xu2TfoWPRKrhvr7vnS4OlV88eplVB5ue7EeR7PBMYG0+yYsWKJMlyfhZSn0meDMdLUlOEnvS0CLBeLFp6lp66kSVBT4uWnqWnbmRJ0NOipWfpqRtZEqF7WiyyZXnHU1zBQI4v1gul8dn98lzT4Uj5zNMqZf4NQ+S8s04zqyPz890I8j2eGS3HAYgnx8MF6IlbIUl6Ikp4hp64FZKkJ6KEZ+iJWyFJeiJKeIaeuBWSpCeihGfoiVshydA9EYNcGTae4goGcnwxXijPvHJQ/v13r6eF7xx/oVw2qE9e4sj8fDeCfI+XF1w3ByGeHA8XoCduhSTpiSjhGXriVkiSnogSnqEnboUk6Yko4Rl64lZIkp6IEp6hJ26FJEP3RAzYeIqrVAbHF9uF0vTm+zL/N7vl+Im2SP+Gy/rJjZ89N++VQObnuxHke7y88bIciHhyPFyAnrgVkqQnooRn6IlbIUl6Ikp4hp64FZKkJ6KEZ+iJWyFJeiJKeIaeuBWSDN0TMWDjKa5SGRxfTBfK4fc/knue3CUHj7ZG8sMH9JbvThgklT0q8l4JZH6+G0G+x8sbj42nJOmyfhZSn0meBMdLUpN7PCWrSU962gT488zmpaXpqQnZ3qenzUtL01MTsr1PT5uXlg7dU5u/9j4ftdOEyuT9YrlQ3B1OP1q3V7bvPxrJV/fuKQu+Wit9elXGWglkfr4bQb7HiwXY6WDEk+PhAvTErZAkPRElPENP3ApJ0hNRwjP0xK2QJD0RJTxDT9wKSdITUcIz9MStkGTonohBrgwbT3EFAzm+WC6U1VvflF+/fCBSdXc4ff/Lg2VIvzNiKyPz890I8j1ebMSMD0A8OR4uQE/cCknSE1HCM/TErZAkPRElPENP3ApJ0hNRwjP0xK2QJD0RJTxDT9wKSYbuiRiw8RRXqQyOL4YL5cU9R+T+Z/6a1v72VRfINcOqEtFH5ue7EeR7vEQg//tDEE+OhwvQE7dCkvRElPAMPXErJElPRAnP0BO3QpL0RJTwDD1xKyRJT0QJz9ATt0KSoXsiBmw8xVUqg+NP9YXyxjsfSsMTzfJB64lIe+wnz5YZY/snJo/Mz3cjyPd4iWEK92BJ0tJ9FlKfSY7J8ZLU5Polq0lPetoE+PPM5qWl6akJ2d6np81LS9NTE7K9T0+bl5YO3VObv/Y+H7XThMrk/VN5obhm0/d/tUv2HToWaV9U00vu+dJg6dWzR2L6yPx8N4J8j5cYJhslSVJGn4XUZ5KDcrwkNbl+yWrSk542Af48s3lpaXpqQrb36Wnz0tL01IRs79PT5qWlQ/fU5q+9z8aTJlQm75/KC6Xx2f3yXNPhSPrM0ypl/g1D5LyzTktUHpmf70aQ7/GSBEU8OR4uQE/cCknSE1HCM/TErZAkPRElPENP3ApJ0hNRwjP0xK2QJD0RJTxDT9wKSYbuiRjkyrDxFFcwkONP1YXyzCsH5d9/93pa8c7xF8plg/okrorMz3cjyPd4SaIinhwPF6AnboUk6Yko4Rl64lZIkp6IEp6hJ26FJOmJKOEZeuJWSJKeiBKeoSduhSRD90QM2HiKq1QGx5+KC+UHDzwi83+zW46faIuEb7isn9z42XMLoo3Mz3cjyPd4ScIinhwPF6AnboUk6Yko4Rl64lZIkp6IEp6hJ26FJOmJKOEZeuJWSJKeiBKeoSduhSRD90QM2HiKq1QGx/u+UG769gypGf9dOXi0NdIdPqC3fHfCIKnsUVEQbWR+vhtBvsdLEhbx5Hi4AD1xKyRJT0QJz9ATt0KS9ESU8Aw9cSskSU9ECc/QE7dCkvRElPAMPXErJBm6J2LAxlNcpTI43ueF4u5w+taP14hUDYlkq3v3lAVfrZU+vSoLJo3Mz3cjyPd4SeIinhwPF6AnboUk6Yko4Rl64lZIkp6IEp6hJ26FJOmJKOEZeuJWSJKeiBKeoSduhSRD90QM2HiKq1QGx/u8UFZvfVN+/fKBSNXd4fT9Lw+WIf3OKKgyMj/fjSDf4yUJjHhyPFyAnrgVkqQnooRn6IlbIUl6Ikp4hp64FZKkJ6KEZ+iJWyFJeiJKeIaeuBWSDN0TMWDjKa5SGRzv60J5cc8Ruf+Zv6ZFv33VBXLNsKqCCyPz890I8j1eksiIJ8fDBeiJWyFJeiJKeIaeuBWSpCeihGfoiVshSXoiSniGnrgVkqQnooRn6IlbIcnQPREDNp7iKpXB8T4ulDfe+VAanmiWD1pPRKJjP3m2zBjbv1td342Z0MdLsox91Evm+XK8JFdPhJ70tAiwXixaepaeupElQU+Llp6lp25kSdDToqVn6akbWRL0tGjp2dA9dYHciQr3amtra/9aMb7KVqDQF4prNn3/V7tk36Fj7cbvviEP3/b30qtnDzaewKqr/sH/6jZZ6PXrPDDHAxcNjNEThAJj9AShwBg9QSgwRk8QCozRE4QCY/QEocAYPUEoMEZPEAqM0ROEAmOhe4IM3cbYeIorGMjxhb5QGp/dL881HY60zjytUt79nw/Kikd+klMv9DuQfM8vyVItdL2w0ZXkanX9LK5fsr70pKdFgPVi0dKz9NSNLAl6WrT0LD11I0uCnhYtPUtP3ciSCN3TYpEty8ZTXMFAji/khfLMKwfl33/3elrqzvEXyo/mzpQVK1aw8WSoH97xlLteDJRqtJDXQ7bBOZ66JKYAPU1capieKpEpQE8Tlxqmp0pkCtDTxKWG6akSmQL0NHGpYXqqRKZA6J4mjCxhNp7iCgZyfKEulKY335f5v9ktx0+0P815w2X95MbPngvtMeP7jqDQx0uyVAtVL92dI8dLcvW4x1OymvSkp02AP89sXlqanpqQ7X162ry0ND01Idv79LR5aWl6akK290P3tGl0TbPxFFcwkOMLcaEcfv8juefJXXLwaGukNHxAb/nuhEFS2aOCjScR8d3oSrJUC1Evuc6P4yW5emyUJKtJT3raBPjzzOalpempCdnep6fNS0vTUxOyvU9Pm5eWpqcmZHs/dE+bBhtPcb0SP3727NnS2NgomzdvltGjR6c/f9WqVTJ16tT0P+/cuVNqa2ulublZhg4dGv354sWLpb6+Pp2pq6uTRx99tMPnoCec9IXi7nD60bq9sn3/0egUqnv3lAVfrZU+vSqjf0bG892YCX08tBaQHLJ+yOegGY6HSmE5emJOaIqeqBSWoyfmhKboiUphOXpiTmiKnqgUlqMn5oSm6IlKYTl6Yk5oyrcnel7d5XjHU1zBGMdXVFTIypUrowZTZuNpy5YtMmbMGEk1m5YsWSLLli2TpqYmcY2qsWPHypQpU8Qdn/pCQvfngwcP7tCIspxa0oW7euub8uuXD0Sn4O5w+v6XB8uQfmekTwkZL/RGkO/5WepByyLrp32G5X2OZ9HSs/TUjSwJelq09Cw9dSNLgp4WLT1LT93IkqCnRUvP0lM3siToadHSs/TUjSwJ356Wc8uWZeMprmACx7sGUmbjyTWadu/eLUuXLk1/eipz7733yrx586K7mtwdTq4Z5e6Ocnc6rV27Nu+zSbJwX9xzRO5/5q/pc/n2VRfINcOqOpwbMp7vxkzo4+VdHFkORNaP4+EC9MStkCQ9ESU8Q0/cCknSE1HCM/TErZAkPRElPENP3ApJ0hNRwjP0xK2QZOieiEGuDBtPcQUTOL5z42nixIkybty4Lo/RuabTpk2butzxlHnnU76nk9SF8sY7H0rDE83yQeuJ6FTGfvJsmTG2f5fTQsYLvRHke3751ka245D143i4AD1xKyRJT0QJz9ATt0KS9ESU8Aw9cSskSU9ECc/QE7dCkvRElPAMPXErJBm6J2LAxlNcpQIfb2k8jRo1Kr3Hk3tMz93p5O6Amj59evRo3qxZszrcKYWeehIXims2ff9Xu2TfoWPRsBfV9JJ7vjRYevXswcZTloVg4wmtTmxPMPzT9GQS14M+yskEx7No6Vl66kaWBD0tWnqWnrqRJUFPi5aepaduZEnQ06KlZ+mpG1kS9LRo6dnQPXWB3Ane8RRXMIHjLY0nt7dT6uUeyct8uY3G3eN369evjzYit7zchRL3VXHJV6Ti/EvbP+ajY3Ji68Mi7x/K+2P/te7PpmP/uenvTPnO4dDHi4XDgylAAQpQgAIUoAAFKEABClCgaARWrFhRNOeinQgbT5qQh/c7N57cRuHu1XmPp9Rm4+49twG5e/TO7euUueG4e0wvtQeU5dTjdmifeeWg/PvvXk8Peef4C+WyQX26PQVkPN93BIU+nqUetCyyftpnWN7neBYtPUtP3ciSoKdFS8/SUzeyJOhp0dKz9NSNLAl6WrT0LD11I0uCnhYtPUtP3ciS8O1pObdsWTae4gomcHznxlOub7VLDeeOyfzWO/fnce94yrdj2vTm+zL/N7vl+Im26PRuuKyf3PjZc3PKIBdK6I0g3/NLoFTTH4GsH8fDBeiJWyFJeiJKeIaeuBWSpCeihGfoiVshSXoiSniGnrgVkqQnooRn6IlbIcnQPRGDXBk2nuIK5nl8c3Nzeq+mzI/IbCbNmTMn/VZbW3tTx73cXU1uT6fMx+5cI8q9fO/xdPj9j+SeJ3fJwaOt0fjDB/SW704YJJU92s+nuxdyYfpuzIQ+Xp6lmvUwZP04Hi5AT9wKSdITUcIz9MStkCQ9ESU8Q0/cCknSE1HCM/TErZAkPRElPENP3ApJhu6JGOTKsPEUVzCQ47NdKHes+osceLe9oZTPq9/He8oDUz6Rd+Mi9EaQ7/nls4bdHRP6D1bOL8lq4ebwyWrSk542Af48s3lpaXpqQrb36Wnz0tL01IRs79PT5qWl6akJ2d737Wk7u65pNp7iCgZyfLbCnfbwK7Fnt/yWS9h46kaRjSe8vHz/YOV4+NogSXoiSniGnrgVkqQnooRn6IlbIUl6Ikp4hp64FZKkJ6KEZ+iJWyFJeiJK/jJsPPmzLuqRsl2YM3/2qhw9djzv8+59eqU89M2L2Xhi4ynvGkodyH9xxCbs8AH0pKdFgPVi0dKz9NSNLAl6WrT0LD11I0uCnhYtPUtP3ciSoKdFS8+G7qkL5E6w8RRXMJDj87lQ3DfZPbbtLRn/qSp1M/HOTMh4vu8ICn28JEsVWT+OhwvQE7dCkvRElPAMPXErJElPRAnP0BO3QpL0RJTwDD1xKyRJT0QJz9ATt0KSoXsiBrkybDzFFQzk+GK8UEJvBPmeX5KlWoz1wvnhAlw/3ApJ0hNRwjP0xK2QJD0RJTyhrr9XAAAgAElEQVR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L8YLJfRGkO/5JVnGxVgvnB8uwPXDrZAkPRElPENP3ApJ0hNRwjP0xK2QJD0RJTxDT9wKSdITUcIz9MStkKRvT+Sc2HiKq1QGx/suXGQ8342Z0MdLsoyR9eN4uAA9cSskSU9ECc/QE7dCkvRElPAMPXErJElPRAnP0BO3QpL0RJTwDD1xKyQZuidiwMZTXKUyOL4YL5TQG0G+55dkGRdjvXB+uADXD7dCkvRElPAMPXErJElPRAnP0BO3QpL0RJTwDD1xKyRJT0QJz9ATt0KSvj2Rc2LjKa5SGRzvu3CR8Xw3ZkIfL8kyRtaP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+kUHL9lyxYZM2ZMeuTNmzfL6NGjo3+uqKiI/v+sWbNk6dKl6czEiRNl+vTpMmXKFPMZIxdK6I2Z0OdnLoocByD1wvFwAXriVkiSnogSnqEnboUk6Yko4Rl64lZIkp6IEp6hJ26FJOmJKOEZeuJWSDJ0T8QgV6bCvdra2trifhCPT06gublZhg4dKqlm06pVq2Tq1KnilmnJkiXRQPX19VJXVyfr16+X2tra6M93797doRFlOSPkQgm9MRP6/Cz1oGWRetE+w/I+x7No6Vl66kaWBD0tWnqWnrqRJUFPi5aepaduZEnQ06KlZ+mpG1kS9LRo6Vl66kaWhG9Py7lly7LxFFewAMe7RtOjjz4qa9euTX+6azLde++9smnTJhk7dmx0V5O7w8nd8fTaa69Fdzo1NTXlfTZI4YbemAl9fnkXR5YDkXrheLgAPXErJElPRAnP0BO3QpL0RJTwDD1xKyRJT0QJz9ATt0KS9ESU8Aw9cSskGbonYpArw8ZTXMECHD979uzoUzs/Rjdu3Lj0aJl3PI0fPz5951O+p4NcKKE3ZkKfX761ke04pF44Hi5AT9wKSdITUcIz9MStkCQ9ESU8Q0/cCknSE1HCM/TErZAkPRElPENP3ApJhu6JGLDxFFfJ8/G5Gk+u4ZTa42nx4sXR43XuDih3h9S6detkwoQJHe6UQk8duVBCb8yEPj+0FpAcUi/I56AZjodKYTl6Yk5oip6oFJajJ+aEpuiJSmE5emJOaIqeqBSWoyfmhKboiUphOXpiTmjKtyd6Xt3leMdTXMECHK81nlJDukfyUo/euf/v7pByj9/NmzcvvRE5enpuM/Nzzz0XjTNHAQpQgAIUoAAFKEABClCAAhSgwCkQePPNN81/5z8Fp5keko2nU6nfzdhuo/ANGzZ02ePJ3dWU+mY7twG5e8TO7euUueG4a1ql9oAqwqnxlChAAQpQgAIUoAAFKEABClCAAhQoIwE2nopwsXN9q13qdN1m46lGVOrOpzh3PBUhA0+JAhSgAAUoQAEKUIACFKAABShAgRIXYOOpSBfQNZOmTp2aPrudO3dKbW1t9M/urqbBgweL2+8psxHlMvnu8VSkDDwtClCAAhSgAAUoQAEKUIACFKAABUpYgI2nEl48njoFKEABClCAAhSgAAUoQAEKUIACFChmATaeinl1eG4UoA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WK9NxWrVolTz75pOzcuVO2bduWPsuRI0fK5z73OfnGN74ho0ePTuzsOR49LcXEemG9FHO9IOfmanjgwIGJ/hzNNS7HQ1YFz9ATt0KS9ESU8Aw9cSskuWTJErnxxhultrYWicfOcLzYhB0+gJ70tAiEXi8Wi3yybDzlo1bGx8yePVsaGxsjgQkTJnSRWLduXfRnK1eulClTpsSW4nj0tBQR64X1Usz1gp7bxIkTZdy4cVJfX48eEivH8WLxdTmYnvS0CLBeMK0tW7bI9OnTo//o6V6TJ0+Wu+66S0aMGNHhA5LyfOihh6LPP3TokFRVVUW/086fP19qamo6jFdRUSGbN2+O/R8KOF47Kz2x64H1wnrBKqW4Umw8Fdd6FPXZvPzyy/LpT39aFi9e3O1fiFpaWuSee+6JmlPul4M4/wWI44nQE78kWC+sF7xaRHzXi+XckvqLEzomx0OlsBw9MSc0RU9UCsuVomdzc7O4u+pdE8j9R0/3u1HqjvvO/6EzifmtWbNGJk2aFDWcRo0aJU1NTdHvtO6fN27c2KHZlUSjhOOdbB7SU7+OWS+sF71KijPBxlNxrktRnpW7vfCxxx6TrVu3qudXV1cn3/3ud2XmzJlqtrsAxzspQ0+9jFgvrBe9Sk4mTkW9zJkzBz7FXA1+5EPc/DjeSSl65q4a1ktHH9ZLcdWLu7vj1ltvlZdeeind9HHNKHeXs7vTftasWbJ06dLopJNoPLm7m1xj6/nnn0/f4ZR5x1VmsyuJRgnHO/mUBD31f8OzXlgvepUUZ4KNp+Jcl6I8K/eL6YYNG2Tt2rXq+SXxL36Od5KZnmrJCeuF9aJXScfGk8+fZ6n/QukeD/nMZz6T81SXLVsmM2bMiPWoHcc7SUxP/cpgvbBe9Co5mfBdL7n+/Z5qmqaaT0n8vtTdZ7g7rW677TZZvXp1ekuJJBolHI+eluuP9cJ6sdRLMWXZeCqm1Sjyc0n9opH5X5yynXLqEZa4+zxxvHZdemIXBuuF9YJVSnvKd724Md0vi2effba4zX1zvZL4ixPHS7YRS096Wn6+sF6SrRd3x9PDDz/c7R337mfq1KlTozuf3J1QcffIc3eUDB06VBYsWJB12VP7Sbrfc924cfd44njt+8fSE/spw3phvWCVUnwpNp6Kb02K+ozct9a524/dv9zdho6f+tSn0uf7pz/9KWqSuF8AqqurO9yinO+kOB49LbXDemG9FHO9pJrI2v53STWeOF57NdATuypYL6wXrFI6/kcOHz/PXDPJNYJyjZVqPrmzi/uopPusefPmRXs7dffK/DKTuI0njifRY5OpLy+iZ+4rkfXCerH8rC6mLBtPxbQaJXAu7jbj++67L/qXg9vkMdvLPUqycOHCWBuLpz6X47V/cws9sYuD9cJ6wSqlPeW7XtyY7k6ryy+/vMs3I2Wet2sA9OnTJ5GfoRyv/a5RemJXBuuF9YJVSnvKZ700NDTIpZdemvMbk921fvXVV8sPf/jDWHuMph6py/ateZk+qWaX9iSAZsrx2oXoqVXKyd9d3COfrM/2Ox15/WF1UwwpNp6KYRVK9Bzcv+CPHDnS4exHjx5dsNlwvGRp6UlPiwDrxaLFLAUoQAEKUIACFKAABSiQEmDjibUQhID7ryQDBw6UQja+Ov9XLp/jBbFIRTQJ1ksRLUYJnIrvevFN4nt+vsfz7Rn6eL7Xz/d4oa+f7/mFvn5uc/Mbb7wxkTtUkbXxPR5yTszgAr7Xz/d4uASTiEBo68fGE7LqzJgFkvpFI/Pra91JuMfOst1amtQeHr7HQ2GT8gx9PN/r53u80NfP9/xCXz/f8/M9nu96CX083+vne7zQ18/3/EJfP7ehuft9020rUVVVFT3iN3/+/C6PSSfxrXZu7XyPh9aL77/4lup4vtfP93isl3aBpOqzWNcPXed8c2w85StXpsf5/EXDbSY5cuTI6F/6EyZMiPZjcRubu1fnb8xLovHkezw3D5+eoY/ne/18jxf6+vmeX+jr53t+vsfzXS+hj+d7/XyPF/r6+Z5f6OuX+tZT13AaNWpUtMm429jc/fPGjRujL9dJvZJoPPke71Q0unz/RdvneL7Xz/d4rJeTf+kv1eu9WNoWbDwVy0qUwHn4/kXD/Uvj1ltv7bBpnDsH980X69ati75Zb+nSpZFcEo0n3+P59gx9PN/r53u80NfP9/xCXz/f8/M9nu96CX083+vne7zQ18/3/EJfP3d3k/sPnc8//3z6DqfM/1CY+R8/k/iLqO/xfDcuQh/P9/r5Hi/09fM9P9/rV0wtBjaeimk1ivxcfP+i4W5n3LBhg6xdu7aLjHtvzpw56eZTEo0n3+P59gx9PN/r53u80NfP9/xCXz/f8/M9nu96CX083+vne7zQ18/3/EJfv+5+p0x9+9zq1avTd94n0XjyPZ7vv/iGPp7v9fM9Xujr53t+vtevmNoLbDwV02oU+bmcil80Hn74Ydm6dWtWmdTXrro7n9x/7Rs3bpzU19fnreh+cfM5nm/P0MfzvX6+xwt9/XzPL/T18z0/3+P5rpfQx/O9fr7HC339fM8v9PVzfxEdOnSoLFiwIOvvlO7O+8bGxqj55L7OffPmzbG+3Mb3eL7/4hv6eL7Xz/d4oa+f7/n5Xr+8/2JcgAPZeCoAaqgf6fsXDddMcv/id8/V19bW5mw+uTcXL14cq/HkezzfnqGP53v9fI8X+vr5nl/o6+d7fr7H810voY/ne/18jxf6+vmeX+jr5/7D5rx586K9nbp7pZpP7v24jSff4/n+i2/o4/leP9/jhb5+vufne/2KqS/BxlMxrUaRn4vvXzQcR0NDg1x66aXRt4l093r55Zfl6quvlh/+8Icyc+bMWIo+x/PtGfp4rBeR1F2ApdiI9V2fvusl9PmF7ul7/XyP53v9fI/n2zP08UJfv9Qjddm+RTnzl8zUv3NfeumlDhuOW38R9T2e77/4hj6e7/XzPV7o6+d7fr7Xz/rzqJB5Np4KqRvgZ/tszATI12VKvj1DHM/9AHevmpoaLyXje7zMSYW4fqdyfl4KJmMQ3+vne36+x/PtGeJ4vn+e+R7vVP58CbFefF/jp3L9TuVcCz2277/4hjqeazB390RGIdbQ93ipOYS6fqdqfoWojVL5TDaeSmWlTuF5+v5FkeMlu9ihe7q9LRYtWhTdFfelL31Jrr/++mQBO32a7/FCXz/OL9lypSc9LQK+f575Ho/Xg6Ua9Gzonr7/Ys/x9JqzJHx7ur2B3OOYkydPln/8x3+MddcbMk/f4/n25HhIFZR2ho2n0l4/L2fv+xdFjpfssobu6f5F9cgjj4j7lhm3H1hVVVVBm1C+xwt9/Tg/Xu8WAdaLRUvP+v555ns81oteA5ZE6J6+/2LP8SzVp2d9e27ZskVWrFgRbXNw6NChaF/aQjahfI/n25Pj6TVe6gk2nkp9BT2cv+9fFDlesosaumemltvvy22y6uuXAB/jhb5+nB+vd4sA68WiZcv6+Hnm++c168VWA1o6dE/ff7HneFrF2d737Zl5dmvWrJH/+I//iP4jqHuNHDlSbrnlFrn22msL8jiej/F8e3I8W72XYpqNp1JctVN4ziH+Yur7F2GO5+eWZPcv5d/85jddmlA333xzwX4JKPR4vP6S/eFHT3paBEKvl85/iSr0zzPf44W+fpyf5WrWsz7+Yh9646Kc5peaq3sc9ZlnnpEnn3yySxPqxhtvTHw/Ul/j8XrQf2ZYEr49LedWyCwbT4XUDfyzQ/yLve9fhDneZClUIyj0X3h4/SX7A5ae9LQIhF4v/PlpqQY9G3q9hDw/X3+xD71xUS7zy/xpkKqdH//4x7Jt27boLfco3g033BDdCZX0l+L4GI/XQ7JfZOTbU/+3VWETbDwV1rdsPt1355bjJVtaoXtqv/Dcf//9Mnr06GRRRaS7f6EkPV7o68f5JVua9KRnPgK+fp75/nnN6yGfauj+mJA9ffzFPvTGRTnNL3Ou7jFVdyfUww8/3KEJtXDhwoLche9jPF4PhWlC+WpUJvuTH/s0Np4wJ6ZAgVB/MfX9izDHK0wjqLtfeNxz+DNnzgSrPL9Y5r+gCzUer7/81qa7o+hJT4tA6PXCn5+WatCzoddL6PPz8Rf70BsX5TS/znN9/PHHZdmyZfKLX/zi/2/vbF6uqr44fvoDJBNHJSG9DAIj0XJgNUiofmhIg4w0CaHozQg0tKwcWVmIBYFlUiCRBr1MRKkc6CAQKoqgwkEGotFIyugP6Mf3yHo6nufc83LP2uve+9zPmWTPPWevvT977XX2WXvttZOfhiddTS2P8dBs87vcEc2zS9363IvjqQ89nq0l4PmhrQF45ZVX1oalespTWadPn66NgplkeW1U17N94yivTZ2GvUcJEufNm5d8MlFXv0nuv+jx3qaf4dmG0qV7sJ//RTtq5TKVo3mUjqD22tD9Tuxnv4UQ7Kfv+FPurFtuuaVWkT0/7FXWP//8UytzkuW1sQie7RtHeW3qNMw99u69+uqrk0RRta3TJPdf9HhvwzSaZ5s6DXsPjqdhyfFcKAEd4fv8888n3RtdbJDkffrpp9l3330X0s5oeSGNmjIheuFv3rx5Jpmkmn/VVVdlTz31VLZ161bXvfw6te+nn37KXn311UrKDz30UPbMM8+4bR+Mlhc93jXR+Oqrr/J8Y1U5F1566aXs5ptvzsR1Eq9ontH2LFreJOrAuNcZ++lnr6PH+1y3nzri/dtvv83t/3333ZetXr066XCSvOXLlw98v3sLj5bnXX/KyzKNQS1wWB4pMbn++uuzbdu2uUfz182H5CB5+umns0OHDrnNeaPlRY93bU0+f/78wH5Sfd54441G5/ekjAMcT5PSU2NYT00UFbr5999/V9Zu5cqVbh++5u2VM0iGVR/0KScB7733XrZnz57szJkzIeRTy9NLaenSpdn+/ftz42YT07rGydBt377drf0p9aVNe8oN8W7fbbfdluumHE2LFy/OxZ09ezZ79913s3vvvTf78ssv3ViqvSdOnBhYpl5Uq1atcuu/aHnR4930R3Zl9+7dsyYA3jylCCnHQ1nRonmmtmfl9qWWh/2cbbqwn+3NOfbT930UbT8VgffFF1/ki0q//fZb/kGvBNEPPvhgko9BzW0XLFiQvfPOO+2VrMedqeXJPj/55JPZjz/+mPPS+1QLPXXX119/7fb9IDn2DhwkU6fNXXfddUNRbNOecsGe7VPbbr311lyE5p/aHaJLc0Rx9rbVTfOhK664IvNsX7S86PFu+iO7cvDgwVl6781zKCV3fAjHkyPMaSpKH00aLEXvern95uTw5mL7Xk+ePJlPBCyqxPt0NDkSFP2gl/+wL6QubU8pz1Yhnn322Xy1Tob11KlTtdXzdBym1pc27Sk31rN9WrFYs2bNzMSqKMs+Wm3S1UUnqhwIf/zxR3b48OE8Gk9JysvXL7/8kk/yPMaf9CZSXhWbiPFuETMag+YoLK4wNU18uvZp6vFQV58InpKf0p5VtS+lPOznbOLYz+ZRj/28tD1tLtlPi+6yRVCLKpHjwuuEMnMkpIiWHvSOleMilTzNj95+++2ZubQiqM+dO1c7gPo4gsoFq8/uuuuu7K+//hoos8/8rE17yoI926eIIH0LffPNN7N0UE6/HTt2ZH/++WezwWq4Qxy1BXTLli35+33Dhg2zntDcVHOoPjyt0Gh5Vc2PGO+yj/Pnz88uXryYOwo1Dnft2jXTlzieeqsuBcwFAjK069evz44dO5Y87LiOlz7gZGzlUHn88cfdIjzUPnme61ZlPFcRouVF6+C46EuqdjetaOslvW7dut762TayS5NIRVj1nQhHy2vqn1Tjvdh/cmJqYiWn+osvvphvk3z44YddI8jGZTyk4hltz6LlNemp9+/joi/e7bLysJ8+9rqpf1KN92m1n+bE14f9kSNH3CJ05Eg4fvx47cKuZ0RJtLwmPfX+XVu/xDMiibd33duUV+fY1ZhfuHChSwRS28guOU48ovWi5TWxTjXei/2nd730VZdF3+N4auoZfp8KAk0TxdQQyqelKOrpo48+cnOCtYmg8VzxjZaXun/K5Y9aX1K3tynHjNeKb5sVdM+k5tHyBvVT6vFepZ/62+uvv55XSdsePB3box4PqXlG27NoeantCfbzcgLYz34al3q8T5v9LJ82pagnOTa8IuPbRNB4RsxEy+unzd2f9rIf3SXHPNGUo8vLcdEmAskzqXm0vEG9lXq8l/VT9nrnzp155JgWkbUI6ulojtHKwVLYajfqHphQ+Qqd3bhxY/brr7/2jqpoi2DQ0ZL333//xCb9bdv2FPfJqH/yySfZ999/X1n8pk2b3LhG60v0h2jddjr7zTM6UDx//vnn3hFUbfUqWp7qFTneBzmCVAdFPSmM3TPCMXo8RPNsq1eTfB/20y+HI/bTfyRgP32Z2ni3PE+WZ1Tbje644w5fYVNQmt6BR48ezd/zVZdnMmVFdGme65lns66Loh15luNw0FY7pV64cOGC27ea5ktLlixxW+hvUvdoebnbwKcAABX8SURBVKpP5Hgf5BgtRt/jeGrSEn6fCgIaLFrhKe5FTdVwS06o8uUBfu6557K7777bzZCmqve4liuP+o033pjveVfia53YoqiOG264If+3VvCUP8hzQhWpL01bxEyHPE8ps7DgquTikhd1QuK46lyXeo3beNckZNGiRa72JnI8jBvPLrowjvdiPy+9g7Gf46idWTZu433S7af0XA4nXUoq/sgjj4R9dI+nhvWrlT6o77zzzjw/64oVK/KUFpojKTWA/i3Gr732mlsEmdnrqoND+rWk+ummLWKac3s61qx9qk1VcnEtng06ATlF+ye9zHEb7xovnt9io+4fIp5G3QMTKl8e/b1799buQfeMEJA8nZ4nZ5NXOHMT+sgVbdWlGF1hdbNVNW/nniUctIi1osfdojEU3unFOlpfBvWtHdmt31Unz0tlv/nmm3l4bDGJpSZR+/btc3VaWL2LJ7VoMqMTY1JM8qMjyEYx3m0M6qROXSl5Ro+HUfDEfmI/u9hX7KdfBNkoxvtctp9ayLr22mtDFzsjI4LUd8XoChu3WoD03GJu5erDXomULQKpuBXM8k15LtRZ8m2dSDjoiogo0XztnnvuybZt2zbr5NwutrLq3kHfD3JEpXI6FeeFOtxJjsMUTpLoCLJRjHcbg3boU0qefXWt7/M4nvoSnNLnoz9Eoz+0o1e0i/LkqFi2bFne5B9++CFfafNKFm0cy1uLyqGeSob92GOPub0cR6UvVcPTWHsmAy3Lsb3pKVcpylFd5uhtyjc1jMkaRQRZsZ7SH8/cVVUMInmOajxEOSqxn9jPYeyMPYP97ENv9rPYTx+eUR/a0RFBRXlyCi1evDgHZif3eSWLtl4ozzeLjidLhu1xKprJi3Zc1GmbWK9duzZpmpKI8V6O6jLHXVO+qWFGYnQEWbGO0sfTp09nnrmrqhhE8hymDzyfwfHkSZOykhKI/DCMjggyeSdPnsyjVoqX5b/4+OOP3bY2SN77778/s/1LpyjouFWLAvI6hS2pQvQo3DvZpCXhrnM0eU4GTCfkbNLKSPHUtQjHmqFPHUG2efPmmS0OkqkIwBRHPo8Lzx4q3fgo9hP72agkLW/AfrYE1XAb9tOHY0QpkR+G0RFBkqdooKqTcG3bpn73ioCXPEVTWSSOUjxYFJDnKWwRejGMDK9k3yZbc8s6x4i388S+V3Rynfqy2B5zYv7777/DoOn0TMoIMs0JtfiunR92SWdTRKuNC89O8HvcjOOpBzwejSMQ/WEYHRHUdMpViom+jKhNJuy4bu0F16X99Z7JsOM0pVmSvRj379/vFtFl/ffss8/mSb/LiRflyLMXmMd++3JUU1k/vPWljmoqR5cxq8qZpW1wnolCx4lnswZ3vwP7+b9s1apVbsn4NeHFfmI/u4/E2U9gPz0opi0j+sMwOiKoab7g7SjRfPPll1/Ozpw5k3ecFj71txdeeGEmyt8zGXZa7ehWui0AeUZ0WZTRzTffnJ07d24mTYBqpneVdkxY+gePeX05qqmsH976Ukc4RQSZMZPcqpxZnmlkJGOceHbT5uHuxvE0HDeeKmT9jzgVLfrDMDoiqM542sTUVhe8lE/73vWisgSxevkrP5EZW8nzuqK3FhWTq1a1IcXWxeeff/4yUeYcMUeXXvjnz5/PdMJI39XDNo7RdevWuX1oN+lB08S16fny78pvsWbNmqxqclZ3AlZXOXb/KHhG5kDCft6YYT/bjw7s520Z9rO9vsx1+xn9YRgdEVS38Gnzl75zlqI2WaTfjh078gh//b8Y2+KcZ3S/5EZvtSsmp64aRSm2Liope/Eqpl44cOBAdvDgwezw4cPZ8ePHZxx+7Uf45Xe2cYxG5MyyWnk7uiwn2KBTAqW32iHidY0bT692DSoHx1NqwnO0/OgcHtETm1GsaMvxI7mHDh2aSUQtzjt37sz/7hnhMUgtJU+XkgR6XtE5guS4ePvtty9rwvz58/PcWVdeeWX2wAMPuLbR2mcv26KzSRFQypVgyTKLYeXDMi47ZoovLnPMeKxstalfygiyQTrvvRU0mif20z+iEvvpd8oc9nNpWMQv9rPNW+bye6LtZ/SHYXREkDl+lPi6mIha807lHI1ywkqe13a+osZE5wiy75ViHdQu5c5SknrP00AlQ+1T9JicSpJj81FFjSkNw/Lly/N+te+avtFWZcdM0fFjixZREWupIsgGRUin2Ao6Tjy7W+PuT+B46s6MJ7JLx/XK6xt1Klr0h6E6OWVEUJMjpqxkitDxPr56HBQ5ZY6LyPZVrRjaZFX1OHHixIzj0Cs6SM4XrUJqEqMJhxxammAoak3bgDxPhRlFBETRWVfuSy+GxXKjeWI/h4+oxH5e0lzs5/BWPnq8K9J10JUiAhf76XeqZPSHYeqIoCZHTFlPFb2tCJpy/tHhR994PJkyR1BkC6vmQ+YMeuWVVy7bZu4RHWRb0RYsWJA7JpWaQ1FcujT/9EgnUeQ3iggyc9ZV9aMHw2K50TwjdXMAvyuu+DciC9ioW4p8VwJtIpA8T0VT5SMnioNgeUUEtdl6Vq7DypV+xy2rbEXGyKEgo1d1bdq0yX1lpkqOV44LMb3pppvySCZLplin9J6npInjnj17Lgthtsimv//+O4njadDx45oA7Nq1yzWiKzoCom47XaqIrkie2M9+EZXYz/8sG/ZzuKlN5HjHfvq+j6Lt57h8GHpFBLXZelYeVYoS94xG0pj48MMPs4sXL1YO4ChHl0eOIJtv2uEydthMnWXyPCVNjhk5gSw9RjGySSkgitE7Xk4TyZCDSadu26XDX5Sna/v27cMZ5QFPRUeQ2Xx+0FY7LSJ4R3RF8nTtnCEKI+JpCGg8ciniKfpUtMiJ4lzv42LCQa1mjdLxJNl9I1hsu0JxX3s559KgPlX7i9sbh+l747lixYr8Jf/DDz/kL2TlKtDe+m+//TbTiYW6li7138ZhzkPPieEwHDyfsVXZquTiihDwjOgq1zs1T+ynp6bEl4X9/I859jNe/9pIxH765jicpg/DNvrV5x7bwSBHheZMVVeU40my+zpjyqkWukSUeUQHGU+bKynaUdHwR44cydauXZtHwCttwWeffZbnGPV2mmgxcNGiRa6LnX30q++ztpijcqqSi3v0WV0d5xrPcltxPPXV0Cl9fhQ5kIqoU38YSta4RASlUDG9KF9//fU8meOonRUeOS70ovjggw9mTvNQ35WTLVZxVDSSwoQ9TrjTy1+n2umFrxe98iUo7FiTK/3bVob0/7ZFtU/fqo2K2rL+M31V+Y8++mjSflWfeUaMVXEY5GhWaPe+ffsmepKD/cyyqIjKPmNs0LPYz0tksJ/DaRf2czhu9tSo7WfEh+G4RAT166nqp+WY0dV3wc+jbh45gmy+qXmXIu7Vd8rt2XTZAmXfnEuSY+8knV5ni8maA2uRTpclbvc6Ebi4w0Dlm77edddd7jlUixwtuswzYqyqnwY5muWIKuZBa+pjfp9NAMcTWjE0gZQ5kBQKrGSxdnKAjNzvv/8esvVLQEaxoh19ylUx79DQStDywegcQS2rld/WN9qqTlbRQWrh7R4h6zbxtmTmxeNfrT4ezq3yC3/z5s2zQqv1It66dWtSR5DGxj///JNZKHuX/q26dxy2amE/fbfyYj+/TDoGB4057Gc7a2R5e8pbU7Cf7fiV70ppP23uqXe2Lv1XER1e75+mFo8iIkgyjx49OjD1gmcEUkqbUcU2OkdQU/8Wf+8bbVUnyxykukfRTro8Dtax7zObY5q+asFVC69ezq1i29QWpW8xB5p+k7xt27ZlTzzxRBfkne/1XigYh62unSE4PoDjyREmRV1Kdqqr76lo5T38dce9puAevaIdfUqLOSq0/SsiYWR0josuOqG6XXPNNSEcutSr7l7pZzF5rOmrJgK6brzR//h45VjTS79q61uKiYYXq6pyuianVvsiInSwn8P1OvbT95TOLr2A/WxHC/vp62iuou5lP8uOkWhHSXREkEWd29Y3i5TRPF7/tgTSXtHxFh1elUOn3Wjqdld0jqAutdOirIczqIvMvvdKP4vJt01ftZ3PdEkOKC99KS6sVm19sxQbfdsV9XyXrZg2Jj0dv1HtHCQHx9Ooe2CC5Ecmb5ZHeP369Xnyuttvvz1fiVFOl7feemsgMc/Qy2hHV/QpgYJoqxZKBlh16WM7wik1QUOgtqrRERdFx5MSmWtyaCHA3hPl8qmSRRB1icD79K0+IrRKp+08VZd3sn0xmz9//mXb+OyYaX00WuLOYduE/RyWXPNz2M9mRuN+B/bzR9f3LfZz3tA8FfGk+ZHmRnrPbNmyJT/cZsOGDQOHkR1s4jHOvN/fTXVSRJCSfMtxoKsYhaPIMp2a651TUYxV5rp16yqrZ9vWmurO75cIREesmePJou+PHTuWrV69epb+ePRP+VTJYpn27rfdMR7yVIbaZVFiVWV67Fywcm3hrJyYXe9EbV3U3FNjdK5cOJ7mSk8mbscokjd38Qqr+Z5e7+iIoOhTWsSriW9fnpEf2onVv7H46IgLc/bIMauVJW3fKK4w2Yl6XiHITY5YTco1gfQ6zcQcPsWw6nIneOTlsjI1adu4cWNl7i2PU8Own41DqNcN2M8sec61Xh3U8DD2E/tZpyLR9lPzP+Vl1Du17WXb3tveX3dfdERQ2dFVdDxpbC5cuDDzyENkbW7Dtw/PUZ8y56EDXcqIjlgzZ48cJVoAVV6pM2fO5FUunqjntXBd54g1/eyjL2XW5vBRuwZdnuNBjrXvv/9+xvFblOlx6mIXXYq4F8dTBOU5IGNUyZvtBXL48OHGiCfPFSd1WWREUPQpVxZRJueSVvSqrj48oyeKox5io4i40MtKidEViltcEUkR6lze2lfm7b1Ca/pZXEVL2cdNjrW+7cN+zu49z4hK7Od/fD1OmUs51qrKxn7+77Ijz/vyx35eItg3+b0+ov/4449WEU/e+Z8iI4IUTaF8ORYxXVy4SvFhbxFlmrcod1bV1YfnqE+Z6zt+uz4fHbEmnXj44YfzbZjSm88//3wmulDsDxw4MOOI6tqWqvvLW/vK93jnyZJ+Ksqv2C6Pdgwqo2l+6d2+lG1pUzaOpzaUuKcXgaZB1aZwOyXCK6KijczUEUHFOkSf0tLkSGjDp+6eUX1o9633sM+PIuJiUF2lS0rE7bXaJDl12+nsN08nUZMjaNh+GvScfahVrWLZ6tfu3buTJ7EcNOlatWpVr2gy7Odrmbd+Fre6eusj9vNyR4wiKpVY1iuCs66/sJ/dtXmu20+9j5YsWTKzlag7oW5PpI4IKtdG/ffyyy/POAuKWw3t5LULFy70zt1qcpscCd1ozb57HE6Z69uGLs9HR6zV1a182nKXdgy6VwsTe/bsyapygtnBRd762XfO1aXd5uiqal+dbe0iY5zuxfE0Tr0xR+syiclHU0cEVXV1ylNayvKiQ7m7qLaHo7KLPI97oyMuPOrctQxzxFYlF9eRvZ45IOq2vnWtd5v7i1v7lCtr2bJl+WNnz57NIx91eZ8S2KZeugf72Y4U9vMSJ+xnO32Jvgv7+aub46JL302i/UwdEVTmZycu7tixI1+wKm91//jjj11zzMhWaxujvVu79GfqeycxuiQ6Yi11H1Tppw7M0VWVXFwpJyxaz6NudVvfPMovl2GLm/q7+nLx4sX5Leb0nbTDe5oY4XhqIsTvU0kgdURQW6hep7RUydNEWKdO7Nq1ayQTwkEMJnGiGB2x1lZ/PO+TLr755pvZu+++m+/pt0uOmn379rnrULR+qn07d+7MJ8Pl9tmE3JPnXC4L+zm63sV+jo59nWTs5y3j2TFjWKvUEUFtm6x5jdfJZEWZltNtVFHEde2fxFPmoiPW2uqP533SRTmYlM/ULqWZkCPK0+mkskehn3I+aTyU2ydH1Lh9o/XtVxxPfQny/JwkMM4RQR7A9aLau3dvVpe8uW9ycY96TlIZkREXo+ail6S28/XJw1DXBvRz1D3cTz720/ewi369MRlPYz/9+gn76cdyFCWNc0SQBw87pawuebtnsmiPOo9zGdERa6NmoTym8+YNf2plU/3RzyZC/X7H8dSPH0/PYQLREReRKGW4T506VSvS+7j6yPaNi6yUEWvj0sYU9UA/U1CNLRP7uTKZYza2J0cnDfs5HHvs53DcxuWpUURcRLZdjtFz587VivQ8rj6ybeMkK1XE2ji1MUVd0M8UVP8rE8dTWr6UPqEEWDGc0I6j2hCAwMgJYD9H3gVUAAIQmFACRFxMaMdRbQhAoJEAjqdGRNwwjQRYMZzGXqfNEICABwHspwdFyoAABKaRABEX09jrtBkC00EAx9N09DOthAAEIAABCEAAAhCAAAQgAAEIQAAC4QRwPIUjRyAEIAABCEAAAhCAAAQgAAEIQAACEJgOAjiepqOfaSUEIAABCEAAAhCAAAQgAAEIQAACEAgngOMpHDkCIQABCEAAAhCAAAQgAAEIQAACEIDAdBDA8TQd/UwrIQABCEAAAhCAAAQgAAEIQAACEIBAOAEcT+HIEQgBCEAAAhCAAAQgAAEIQAACEIAABKaDAI6n6ehnWgkBCEAAAhCAAAQgAAEIQAACEIAABMIJ4HgKR45ACEAAAhCAAAQgAAEIQAACEIAABCAwHQRwPE1HP9NKCEAAAhCAAAQgAAEIQAACEIAABCAQTgDHUzhyBEIAAhCAAAQgAAEIQAACEIAABCAAgekggONpOvqZVkIAAhCAAAQgAAEIQAACEIAABCAAgXACOJ7CkSMQAhCAAAQgAAEIQAACEIAABCAAAQhMBwEcT9PRz7QSAhCAAAQgAAEIQAACEIAABCAAAQiEE8DxFI4cgRCAAAQgAAEIQAACEIAABCAAAQhAYDoI4Hiajn6mlRCAAAQgAAEIQAACEIAABCAAAQhAIJwAjqdw5AiEAAQgAAEIQAACEIAABCAAAQhAAALTQQDH03T0M62EAAQgAAEIQAACEIAABCAAAQhAAALhBHA8hSNHIAQgAAEIQAACEIAABCAAAQhAAAI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yB1P4VIRCAEIQAACEIAABCAAAQhAAAIQgAAEIDAVBP4PSUvMkZPYWOAAAAAASUVORK5CYII="/>
          <p:cNvSpPr>
            <a:spLocks noChangeAspect="1" noChangeArrowheads="1"/>
          </p:cNvSpPr>
          <p:nvPr/>
        </p:nvSpPr>
        <p:spPr bwMode="auto">
          <a:xfrm>
            <a:off x="609600" y="609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AutoShape 3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762000" y="762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AutoShape 4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914400" y="914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AutoShape 5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1066800" y="10668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AutoShape 6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1219200" y="12192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AutoShape 7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1371600" y="1371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AutoShape 8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1524000" y="1524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AutoShape 9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1676400" y="1676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AutoShape 10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1828800" y="18288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AutoShape 1" descr="data:image/png;base64,iVBORw0KGgoAAAANSUhEUgAABJoAAAJWCAYAAAAQk+1zAAAgAElEQVR4XuydB3hUZfaHf1PTC0kIEIoIiAqiIqKiWNgFFcv+xS4rLii4yOIqyK6IDUFFAUURBYEVFRVFWeyoKCguoiKiWFCaSC8J6b39n/OFhABJ5s7MmStJfp9PnkTmu+eb+96bZPLOOedzlJeXl4ODBEiABEiABEiABEiABEiABEiABEiABEiABAIk4HA4HHKog6IpQII8jARIgARIgARIgARIgARIgARIgARIgARIwBCgaOKNQAIkQAIkQAIkQAIkQAIkQAIkQAIkQAIkoEKAokkFI4OQAAmQAAmQAAmQAAmQAAmQAAmQAAmQAAlQNPEeIAESIAESIAESIAESIAESIAESIAESIAESUCFA0aSCkUFIgARIgARIgARIgARIgARIgARIgARIgAQomngPkAAJkAAJkAAJkAAJkAAJkAAJkAAJkAAJqBCgaFLByCAkQAIkQAIkQAIkQAIkQAIkQAIkQAIkQAIUTbwHSIAESIAESIAESIAESIAESIAESIAESIAEVAhQNKlgZBASIAESIAESIAESIAESIAESIAESIAESIAGKJt4DJEACJEACJEACJEACJEACJEACJEACJEACKgQomlQwMggJkAAJkAAJkAAJkAAJkAAJkAAJkAAJkABFE+8BEiABEiABEiABEiABEiABEiABEiABEiABFQIUTSoYGYQESIAESIAESIAESIAESIAESIAESIAESICiifcACZAACZAACZAACZAACZAACZAACZAACZCACgGKJhWMDEICJEACJEACJEACJEACJEACJEACJEACJEDRxHuABEiABEiABEiABEiABEiABEiABEiABEhAhQBFkwpGBiEBEiABEiABEiABEiABEiABEiABEiABEqBo4j1AAiRAAiRAAiRAAiRAAiRAAiRAAiRAAiSgQoCiSQUjg5AACZAACZAACZAACZAACZAACZAACZAACVA08R4gARIgARIgARIgARIgARIgARIgARIgARJQIUDRpIKRQUiABEiABEiABEiABEiABEiABEiABEiABCiaeA+QAAmQAAmQAAmQAAmQAAmQAAmQAAmQAAmoEKBoUsHIICRAAiRAAiRAAiRAAiRAAiRAAiRAAiRAAhRNvAdIgARIgARIgARIgARIgARIgARIgARIgARUCFA0qWBkEBIgARIgARIgARIgARIgARIgARIgARIgAYom3gMkQAIkQAIkQAIkQAIkQAIkQAIkQAIkQAIqBCiaVDAyCAmQAAmQAAmQAAmQAAmQAAmQAAmQAAmQAEUT7wESIAESIAESIAESIAESIAESIAESIAESIAEVAhRNKhgZhARIgARIgARIgARIgARIgARIgARIgARIgKKJ9wAJkAAJkAAJkAAJkAAJkAAJkAAJkAAJkIAKAYomFYwMQgIkQAIkQAIkQAIkQAIkQAIkQAIkQAIkQNHEe4AESIAESIAESIAESIAESIAESIAESIAESECFAEWTCkYGIQESIAESIAESIAESIAESIAESIAESIAESoGjiPUACJEACJEACJEACJEACJEACJEACJEACJKBCgKJJBSODkAAJkAAJkAAJkAAJkAAJkAAJkAAJkAAJUDTxHiABEiABEiABEiABEiABEiABEiABEiABElAhQNGkgpFBSIAESIAESIAESIAESIAESIAESIAESIAEKJp4D5AACZAACZAACZAACZAACZAACZAACZAACagQoGhSwcggJEACJEACJEACJEACJEACJEACJEACJEACFE28B0iABEiABEiABEiABEiABEiABEiABEiABFQIUDSpYGQQEiABEiABEiABEiABEiABEiABEiABEiABiibeAyRAAiRAAiRAAiRAAiRAAiRAAiRAAiRAAioEKJpUMDIICZAACZAACZAACZAACZAACZAACZAACZAARRPvARIgARIgARIgARIgARIgARIgARIgARIgARUCFE0qGBmEBEiABEiABEiABEiABEiABEiABEiABEiAoon3AAmQAAmQAAmQAAmQAAmQAAmQAAmQAAmQgAoBiiYVjAxCAiRAAiRAAiRAAiRAAiRAAiRAAiRAAiRA0cR7gARIgARIgARIgARIgARIgARIgARIgARIQIUARZMKRgYhARIgARIgARIgARIgARIgARIgARIgARKgaOI9QAIkQAIkQAIkQAIkQAIkQAIkQAIkQAIkoEKAokkFI4OQAAmQAAmQAAmQAAmQAAmQAAmQAAmQAAlQNPEeIAESIAESIAESIAESIAESIAESIAESIAESUCFA0aSCkUFIgARIgARIgARIgARIgARIgARIgARIgAQomngPkAAJkAAJkAAJkAAJkAAJkAAJkAAJkAAJqBCgaFLBWHeQwsJCZGRkIDIyEjExMVWTy8rKsGfPHvP/DofDPCZzZNT2mPy7xCoqKoLH40FiYqKZX15ejry8PHNc9TVsOD0uQQIkQAIkQAIkQAIkQAIkQAIkQAIkQAKVfsNhPEe5mAoOVQKCND09HZ988gn+/ve/46abbsKkSZOqRNKGDRvQvXt3I5dEGt1yyy0YNWoUXC4X1q1bh9NPP9085vV6zWMjR440kql///5Yu3Yt2rdvj8WLF5vH5d+ffPJJE+fuu+9WPQ8GIwESIAESIAESIAESIAESIAESIAESIAErBJjRZIVSgHMkw2js2LHYvn074uLiEBUVVSWa9u7di3PPPdeIpb/97W/44YcfcNFFF2HevHk4/vjj0atXL/PYDTfcgDVr1uCSSy7BCy+8gOLiYrz88st45pln8MADD+Dss89G37598cYbb5h/f//99wN8tjyMBEiABEiABEiABEiABEiABEiABEiABIIjQNEUHD9LR+fm5uJf//pXlWgqLS3FypUrcdlll2HXrl0mRk5ODu666y6TzXT11VfjyiuvxI4dO8xj2dnZGDNmjPn6jDPOwOrVq41kevrpp3HMMcegS5cuRjYtXboUrVq1svScOIkESIAESIAESIAESIAESIAESIAESECPQHZBKUrLAi8WczqAmAg3TN1ZPR4UTTZcvENFk/Rskuyj6dOnG+EkQ7KfpkyZYv7/0ksvxcyZM/HVV19VPfb444/ju+++w7BhwzBjxgw89NBDmDp1qim9+/bbb3HWWWehZ8+eRlQlJyfbcFZcggRIgARIgARIgARIgARIgARIgARIoJLAnW9sxI7MQgTamKhJpBuPXd0BXrezXkOlaLLh8mmJpp9++slIpsGDB+Obb74xZXM9evTA5s2bTTPwl156yWRNiZCSz/4MOV6yqkpKSvw5jHNJgARIgARIgARIgARIgARIgARIgAQA/PutncgP5k/q8nI81q8FvK7Dc5rcbne92fiLosmGb4eaRJP0YpKMJMlGkiEZTZMnT8aPP/5oyuCkLE5kUvXHNm7caPo0yZBeTcuWLcOjjz5qsptGjBiBDz/80GRJhYWF4dZbb/XrzLKyskz/qH379vl1XKCTZXc8KQmU3lV2DClXlOsQGxtrx3Kwez0RhHIP2XF+slZ+fr5tP+TsXk++tyTrMDo62pZ7xe71ZMdK+bDr/GQtOUd/5Xeg8O1eT+4V+X6v3DE00Odt9Ti71ysoKDC7mdp1frKevPERERFhFUlQ8+xcT35uyg6z4eHhQT1nqwfbvZ78DnI6nbadn6wnWdzymseOYfd68ppFNniRDV/sGHavJ29uyrnZdX6yntwrwtSOYfd68ppafm7KH6F2DDvXk79R5HeQXecm68lrFvn5Ysewe73MzEzzGl5+Xtsx7F5PNsiSv4fsOj9ZLyomFlIpV1JabkrmyrveAETEy35rdSIO9zghH4fNKsxG2bcvAmWH26qkpCTcc889tv0sC+YeoWgKhp7FYw8VTfKHs/RTuv7667Fp0ybzw0x2p5Pm36eccgo6dOiAgQMHQnalq/6Y7EJ38803mxfhv/32G2688UbMmTMH69evx+zZs42EevXVVyFC6sEHH7T47CqmiWC67777MG3aNL+OC3Tynj178PDDD+OJJ54INIRfx0m/Kyk/FJlnx9iyZYtp2P7II4/YsZy5j5577jm/r3sgT052RHzllVdMo3s7xs8//4wFCxbg3nvvtWM505j/3XffNT3T7BjSc012ppTvfzuGlOcuX74ct99+ux3LYcWKFVi1ahWGDx9uy3oi4OWeGTp0qC3ryc9y+Vk9ZMgQW9aTnUa3bduGQYMG2bLeokWLkJqaigEDBtiy3jvvvGOya6+77jpb1lu4cKHJ5L3qqqtCvt7rr79u/lDq169fyNeSBeQNLRHKUo5vx5g7dy7kBbC8WWbHkNc/0peyT58+diyHWbNmmddnslmLHUMy2Dt37myy1+0Y8vqvW7duJlPejiHtIqTlg7SAsGPIm6m9e/dG165d7VgOEyZMMBv5SB9VO8b48eNxxRVXoFOnTnYsZ14Dyi7YHTt2DPl68ke1/M3Trl27kK8lC4wePdq0KmnTpo0t68nrP9lZPCUlxZb15PWf9P61q9WKvP4bN24cEhISbDk/ef03ceLEkL35LiJJPkrKgJKycowcdSdu+ued2J3rwO9p+fh9XyH2ZhcdVjbncABupwMup8N8drscuKBzAi7qkmj+zeoQRyAtduyS9FafV03zKJqCoefjWBFCaWlpRiKJ+BEbL38sSxaPvMMvL/4uuOACs+uclMXJDzX5g7pt27b4y1/+ggsvvNC8uJfH5JtUdpY7+eSTITvWSTNw+eUsj8sfxpLBJKJBXui1b9/exPRnUDT5Q8v3XIom34yszqBoskrK2jyKJmucrM6iaLJKyto8iiZrnKzMomiyQsn6HIom66yszKRoskLJ+hyKJuusfM2kaPJFyL/H67Nokh5LIpPkw8il0nLszirC1n2F2JxWgM2pBdiSloeyGjKXqgsl+To6zIWjEsPRJiEMbRPD0TYpAtHhLr8bflM0+Xf/NdjZ8q7sTTfdhC+++KLqHCWtVTIlRARJmdzFF19sHpN3HeWXrsglKcOQx+SdEBmS3iiPiZSSsom33noLn332mSmvkyHpq/fffz/k3VKx05I94O+gaPKXWN3zKZr0eFI06bGUSBRNujwpmnR5UjTp8aRo0mMpkSiadHlSNOnypGjS40nRpMdSIh0Joikrv8TIIn9HbmEZtuzLN1JpS1qFXMorLMWhkZwOyVCSjCWnyVbyuh1Iia8USuFonRCG5rFhkKymYAdFU7AEebztBCiadJFTNOnxpGjSY0nRpMtSolE06TKlaNLjSdGkx5KiSZelRKNo0mVK0aTHk6JJj+WRIprG/HcTtqZLD8jAzk38UOWhlSVwpgzO5UBuVhbat0oy2Ury0TYxAq2ahBnZFIpB0RQKqowZUgIUTbp4KZr0eFI06bGkaNJlSdGkz5OiSY8pRZMeS4omXZYUTfo8KZr0mFI06bH8o0TTI48+iqhoadAtJW/AHfPXI7ugNOATE7kU6XWZbKWoaiVwIpaeGD8a06ZMtG3TFIqmgC8jD/yjCFA06ZKnaNLjSdGkx5KiSZclRZM+T4omPaYUTXosKZp0WVI06fOkaNJjStGkxzKUoqlSIpVJ/6T9Qkn+7d93jsY/RvwbeeXhSM0uRmpOEVZsyqqx5O3QM60ogTvQrFvEkuQlhbkduOyUpjg6KRzNYsNQvXf34MGDzU7ydu3OS9Gke38ymg0EKJp0IVM06fGkaNJjSdGky5KiSZ8nRZMeU4omPZYUTbosKZr0eVI06TGlaNJjWZtoyswvMc21A6xkM/JHYuzOKq6SSXtzKr7emSHNuV21noTIJJcTcErpW+XX5rMDidEe06y7ogQuHK2ahPssgaNoqv1+4a5zut9L9TYaRZPupaNo0uNJ0aTHkqJJlyVFkz5PiiY9phRNeiwpmnRZUjTp86Ro0mNK0aTHsjbRdO+bm/B7WgEC6M9tnpyUstXVb6lSJok8OvTr+Eg3kmM8aBrjNWKpqXwd7UFStNenVKqJDEUTRZPud0wDjEbRpHtRKZr0eFI06bGkaNJlSdGkz5OiSY8pRZMeS4omXZYUTfo8KZr0mFI0Bc+ysqytvLwcI+8YhdF3jUF8fJOKnknlwL0LNyEjvySohWqTSZkZ6TiqRRKax4UZiZQY7Q1aJtX1RCmaKJqCupEbw8EUTbpXmaJJjydFkx5LiiZdlhRN+jwpmvSYUjTpsaRo0mVJ0aTPk6JJj2ljFE1ShlYsBijAIaVskj0kIqmktByZBaVIzy1GVn4p5r/1Hk489UwUOzzIzCtBRl6JeczKctVlkpS5OZ0V60jvpNgIN5JjJRvp4MyksXeNxORHJyA2NjbAs/HvMIomiib/7phGOJuiSfeiUzTp8aRo0mNJ0aTLkqJJnydFkx5TiiY9lhRNuiwpmvR5UjTpMW2Momns279h014pZQtMNnlcTiRFu5FXVIasgpI6y9oqr1RVryQRSI6Knknmc7X/j6tBJiVJuVsdZW5Dhw7FxIkTKZr0viUCjsQeTQGja1gH+iua5OdQYUlZwBDS0tIw7elpuP+++wOO4c+Bu3fvxuzZs3H33Xf7c1jAc3fs2IEXX3wR8svKjrFl6xbMf20+Ro0aFfLlfvvtN7z55psYMWJEyNeSBTZsWI9Fiz7Arbfeast6v/zyC5YsWYJhw4bZst5PP/2E5cuX4+abbw54Pfnl7HXJ+0m+x8qVK816t99+u+/JCjNWrFiBVatWYfjw4QrRfIdYtmwZRE7KCw07xtKlS7FhwwYMGTLEjuWwePFibNu2DYMGDbJlvUWLFiE1NRUDBgywZT2KJj3MFE16LCXSrFmz0KFDB/Tq1Us3cC3RZsyYgc6dO+Pss8+2Zb1p06ahW7du6NGjhy3rTZkyBT179kT37t1tWW/SpEno3bs3unbtast6EyZMwCWXXIIuXbrYsh5Fkx7mxiCaRt91FxKTkk1DbpFLY/67Cak5xSoQpX9SlSxyOFBUWICIiHCThVQhkyp2douLcCE+wo24SLf5HCNfh7shPZTMR4TbzPN3UDT5Syx08ymaQse2XkX2VzQVFJfhi42Z9eoc+WRJoKESkCaGXVpFWzo9iiZLmCxPomiyjMrSRIomS5gsTaJosoTJ8iSKJsuoLE2kaLKEyfIkiibLqHxObCiiqbJPksgk8yH9kcqA+8eOxYAbh6LUG4u92cVIyynC179lI1sykXzQqco4qp595ATcDodp0C0iKdztNGVt8ZEuxEd6sOSDt3HNZZegRVIMJENJPmLD3WZ+KAZFUyioBhaToikwbg3uKIqmBndJeUKNiABF04GLzYwm3RufGU16PF9//XW43W7069dPL2gdkSiadDFTNOnypGjS5UnRpMfzSBBNlT2TAqxkMxInK78Ee7KLkSofOUXYm1Px9a6MfJTCWSuwg/oiOR2Q3kiu/b2RosNciIv0mGykSmlUmX0Ut18shXucqO6QJKN93LhxSEhI0LtIdUSiaLIFs6VFKJosYWr4kyiaGv415hk2XAIUTRRNobq7KZr0yFI06bGUSHPmzEGrVq3Qp08f3cC1RKNo0sVM0aTLk6JJj+eRIJoefHcz1u/JN5lIgQwRTXVJqsNkkhFKFY22K/siJVVrsi19keTD6z5YIll5bhRNVihZnzNw4EDMnDkTXq/X+kF/0EyKpj8I/JG2LEXTkXZF+HxIwDoBiiaKJut3i38zKZr841XXbIomPZYUTbosJRp7NOkyZY8mPZ733HMPbrzxRrRr104vaB2R7BBNlWVtpj/S3ffglmH/QLNmzUxpm/zbg+/9jj1ZRUGdb20yKTMjHW2aJ6J5k/ADO7aJSIoJXCbV9UQpmoK6jIcdTNGky5PRbCBA0WQDZC5BAiEiQNFE0RSiWwsUTXpkKZr0WFI06bKkaNLnSdGkx/RIEE0ZeSUoLi2H/BfIcKCi/EyyjCROdkEp9uUVIyu/FAvf+wjHntAVZZ4IZOaVQMrm0nNLUGIhm+lQmSQNtyUrSdaSPkjJsSKPvEiUndr2i6RHxt6Fe8eMRnJyciCn4vcxFE1+I6vzAIomXZ6MZgMBiiYbIHMJEggRAYomiqYQ3VoUTYpgKZoUYbJ0ThcmM5rUeVI06SE9EkTThPd/xy+78gIuZZPd0xKjPJDNlEQySdaSryGNtaWcrVImVezkJju3wfRNks+HySQLmUmy6/CYMWMomnxdAIuPDx48GFOnTkVkZKTFI4KbRtEUHD8e/QcQoGj6A6BzSRJQIkDRRNGkdCsdFoYZTXpkKZr0WEok9mjS5cnSOV2eFE16PO0QTdVL2e67bywG3XQTUlq2RFkZzG5tjy7agh0ZhSonZXZnM9KooidSYUE+IiMi4HY5zb+JYPK4HIgNr2i8Hb+/8XaM7NgWLru5uREvX0e6zTx/B0WTv8Tqnk/RVDsf9mjSvdfqbTSKpnp76fjESQAUTRRNofo2oGjSI0vRpMeSokmXpUSjaNJlStGkx7Mm0SSlbEXS0Mh3YlDNT2S/5JHEopLScmQVlCJ9fynbW4s+Rvvju8DhjYKs418p236JVJmNVK3JdmU2UpjbidiIClkk0uizxe/hL317o03zBJOhJP8WE+4yMioUg6JJlypFE0WT7h3VAKNRNDXAi8pTajQEKJoomkJ1s1M06ZGlaNJjSdGky5KiSZ8nRZMe00rR1Pboo02PI2ld9Pjirfh5R+4fU8pWraStqrzN/JsDUWEus2tbbITLCCPJQJLMI/m3+EgX4iM8CPc4Ud0hjRo1CiNHjkRKSooetDoiUTTpYqZoomjSvaMaYDSKpgZ4UXlKjYYARRNFU6hudoomPbIUTXosKZp0WVI06fNsbKLJZBiVlAWeYOQAwj0uSIpSpUwqLy83Umny5Mdw5VVXoUnTFBSWSI+jEry6cg/2ZherXLjKUjZpoC1ZRBWlbOHwuCuyiuTf3U4nYkQemZI1F+LD3YiuVspWIZICK2WjaFK5jFVBhg4diokTJyI2NlY3cC3RKJoommy50erzIhRN9fnq8bk3dgIUTRRNofoeoGjSI0vRpMeSokmXJUWTPs/GJpoe/2gr1mzLsbRTWk20wzxOdGsTYx4SYSWlbNI4O6+oFBk5BSgpd6J6GpAUlVmpmqvseWSE0f7+R5J5ZKSSs6JPkpSyiSiSzCMRSZ9/sggX9TkPbVOSTCmb/Lv0SwpVKRtFk+73H0WTLs9gorFHUzD0GtCxFE0N6GLyVBodAYomiqZQ3fQUTXpkKZr0WFI06bKkaNLn2dBEU0WWUbkpVSstByZMeAT9rrgSbY9uh7Kyckz5eCs2pxbog9wfsXoDbcf+RtoiiSq/ls8ikirnVX6uKmUzwsh1WClbXIQHEYeUso0ePRrDhg1DmzZtQnY+1QNTNOlipmjS5RlMNIqmYOg1oGMpmhrQxeSpNDoCFE0UTaG66Sma9MhSNOmxpGjSZUnRpM/zSBBNUs4mpWZWMn9qIiBZQ5LFU45yk12UlV+KjPwSZOaV4KNPlyO5dXvAG4XM/FKk5hShqMT3SrUJI1lHHqtJGKXv24fkxHjERoYhOtwFr8tpsozC3BU9kSI9LtP3SBpoe90OiDwK8zgQHRZYFhJFk+73w/DhwzFu3DgkJCToBq4lGkWTLZgtLULRZAlTw59E0dTwrzHPsOESoGiiaArV3U3RpEeWokmPJUWTLkuKJn2eR4JoevLjbVi9NdvsqhbIcDsdZnc0kUwFxaWmX1Jdo7JMTUrTnE6Y5tiu/eVp8lk+pEwt0uu0JIxiTeNsByaMux9DBt+Edu3aBXIafh9D0eQ3sjoPoGjS5Tlw4EDMnDkTXq9XN3AIolE0hQBqfQxJ0VQfrxqfMwlUEKBoomgK1fcCRZMeWYomPZYUTbosKZr0ef4Roqnf5Veg43HHo7S0osRNdmZbtztP5eSqSyTpb1SQX9Ew2+tx7ZdJB3Zcq2yMHRdRsQObNMmOj/QgPsIFj9sJyZTyZ1TuOkfR5A+12udy1zkdjpVR2Ay8dp4UTbr3Wr2NRtFUby8dnzgJUDRVuweWLVuGn3/+GZI6bcdYunQpNmzYgCFDhtixHBYvXoxt27Zh0KBBtqxH0aSHmaJJjyVFky5LiiZ9nqESTdInqaQMVTKpRHomlZVj6rSncea5f0Zcs6PMbmxpOUX4bmsO0nKLzS5udY1DJVLFTmsVDbMrspMOkUgRbiz75H2cf95Z6Ng2JSiJZIU8RZMVStbnUDRZZ2VlJkUTRZOV+6RRz6FoatSXnydfzwkwo+nABaRo0r2ZKZr0eFI06bGkaNJlSdGkz7Mm0SQ9k6QMLbBCtornmFtYgr3ZJaYnUlpOMVJzRCoVY3dmAYrKZEbN+UIij9wuGIEkJXHVP1c2zJYd16T3kZVMpLFjx6J///7o2LGjPrxDIlI06SKmaNLlSdFE0aR7RzXAaBRNDfCi8pQaDQGKJoqmUN3sFE16ZCma9FhSNOmypGjS51mTaHp6yTZ883s2igPsmSTNsuvKTqpLJsWEu9E0xo2kaC8Soz1I2v8hX4dLOZuf9WwUTXr3DHed02MpkdgMXJdnMNFYOhcMvQZ0LEVTA7qYPJVGR4CiiaIpVDc9RZMeWYomPZYUTbosKZr0eVYXTZLBJOVtkz/cgp+25waV0VQpkw7NSsrM2IeUpHikJEYbiaQhk+qiQtGkd89QNOmxpGjSZRlsNIqmYAk2kOMpmhrIheRpNEoCFE0UTaG68Sma9MhSNOmxpGjSZUnRpMdTeihJxtLkx6eg15/6mObcUi63L7cYb65Oxca9+UY61TVqk0kelwPRYW4kxVRkJFWXSTOnTsa1V1+OTscfr3cydUSiaNLDTNGkx5KiSZdlsNEomoIl2ECOp2hqIBeSp9EoCVA0UTSF6sanaNIjS9Gkx5KiSZclRZP/PKWETYSRSKVi87kMJaXlyMwvxa7MQrzz8f8QntASpd447MoqQpF08D5kSLmaZCa5XQ54nA54XE7zdV50yp0AACAASURBVEWZ28EyyUilKA/CPTWXuY0fPx5XXHEFOnXq5P/JBHAERVMA0Go5hKJJjyVFky7LYKNRNAVLsIEcT9HUQC4kT6NREqBoomgK1Y1P0aRHlqJJjyVFky7LxiqapDl3vjTn9rUtWw24RRztyy3BjoxC7Moq3v+5CDkFpZCspkOHNN+WjCT5ELkkUinS6zRZSSnxYWgW60VKvBfNY72IDndBspr8GRRN/tCqe+7o0aMxbNgwtGnTRi9oHZEomnQxs0eTLs9golE0BUOvAR1L0dSALiZPpdERoGiiaArVTU/RpEeWokmPJUWTLsvGJJpOOvlk01C7tLwcs5ftxMrNWYE35wYO67fklCwllxMlRQWIDA9DuNdtspQSozxVMkmkUou4MCOZRDxpDIomDYoVMSia9FhKpOHDh2PcuHFISEjQDVxLNIomWzBbWoSiyRKmhj+Jokn/GpeWliIrYx+Ki4qQ3KKl/gLVIpaUFCMrfR/cHg9i4+35QR7SE2JwvwhQNFE0+XXD+DGZoskPWD6mUjTpsaRo0mV5pIgmyTDKKyoNuFm2KJsIr8vsoCYyqaysHNIOSTKMZs/+D04/oweOat8RBSVlJvPone/TsGVfQVAwwzxOhO0veRNpFBXmMllJa79djvNOPwmnHNcGzWLDEFFLyVtQi1c7mKJJiyRFkx7JikgUTbpEBw4ciJkzZ8Lr9eoGDkE0iqYQQK2PIRujaJJU6bycbKTu2Vl1yZxOF2LjmyCuSWLQlzFjXypen/M0Nm/4BQ9Nn4fSkhKk79uLstIydfG0e8c2vDr7CTRLaY1rB98W9HM/0gOIxMvOTEdmelrVU3W53IhrkoCYuCYhefpFhQWQa+oNC0d8QlJI1gg0KEUTRVOg946v4yiafBGy/jhFk3VWVmbOmTMHrVq1Qp8+faxMD3rOrFmz0KFDB/Tq1SvoWFYCzJgxA507d8bZZ59tZXrQc6ZNm4Zu3bqhR48eQceyEmDKlCno2bMnunfvXjV91rId+GJjZsAZRl63Eye0jEK424lCkUmFpcgvKkN+cSkycgpRXOaAsVD7h3xVd1vuiolOKXXb30vJK6VvpgTOCZcT6JAcibaJ4SZbqUW8F/ERbkiZXPVd56zwCHYORVOwBA8cz4wmPZYSiaJJlydFky7PBhstPz8fmzZt2v9LzIlmzZpVpRXKH9LyWFFREZxOp/l3ebysrAw7d+5ERkYG3G43jj32WHO8SJPMzEzk5OSYF17+jj9aNDnKShCWvc3fp+33/HKnB4UxFdlFhQX5+N/idzHp7lvRrGVruN0eeLxh6HLqGfjr3+8IWiYcKppSd+/ArMfHITc7Ew8+M8/v517XAY1NNKWn7cVbL8/C688/g+Yt25j7XwRQj14X4MqBwxAVHavKV4Kt+/E7PPfkg+h4wsm48bZ7ao1fVlaKnMxM5OfnoVmK/9+LgTxxiqYD1JYtW4aff/4Zkjptx1i6dCk2bNiAIUOG2LEcFi9ejG3btmHQoEG2rEfRpIeZokmPpUSiaNLlaYdokubZ5qMcePqZ6Ti1+2k46eSuFf9WVo45y3fix+25uidWLZo4Jul9JOVt5rPzkP+Xf3c6IAJKZFHlvJgIF5rFeJFc1UcpDMmxHoS5nbU+V4omvct4zz334MYbb0S7du30gtYRiaJJFzNFky5PiiZdng0ymgikd955ByNGjEBMTAwcDgcuv/xy3HXXXSYV7qeffsKAAQMgwkmE0mmnnYbJkycb8fTPf/4T3333nRFQ8kdVkyZNjGSSd79EGE2cONFvZn+0aArL2YHj3x7g9/P294CC2Db45ZI5B4mmF55+FI89/xaaNm+JbZs34K6br8a5fS/D4BH3+Rv+oPmHiiaRIwtemI683Gz8895JQcU+9ODGKpp+/PYrTH7+LRQXFeKrZYsx95lJ+L/+g3HRlfr3kmSmLZz7LNp2OA79Bvy91uuXnZmBRQvm4ruv/oeHn31N9TrXFoyiiaIpVDcaRZMeWYomPZYUTbosJVpNoqmylE3KzwIZInZE2EjaUElZuSlXy8gvNjuzLV3+NaITkhEV3xRZ+SXIzC9BRm4JisRC+Ri1CSNpdySvp40gOkQY7duXhoS4WDSJjUR0mAuS/RQb7jK7uEV6XaYxt3wtj4lAipHHvBWPSfNufwdFk7/Eap9P0aTHUiLdfvvtGDNmDJKTk3UD1xKNokkXM0WTLs8GGU2yko477jj897//NWnYIpYuvfRSPP/88zjppJPMFqUXXHAB7rzzTqSmpuL000/H3XffjRNOOAF33HEHPvjgg6r6THkn/f333zdpul999VVAvCiaKkST9FR6fc40rF/7Ax6Z+bphKVlkIg/S0/aY/5fMp8Tk5oiIjDL/LzJQSrjkWBkej9dk2WRnZRxcOlfVs6kQyS1amd5Nu3dshfRXkiEvjiSmPFZaWrI/Zrp5zOsNM2VxLrfb/L8ck566B7k52UY4yueP3pxXVTpXJqVlWfKc95r5Mic6Jg4JTZsFdH8caQdVZjRViiZ5fru3b8Frzz2FvJwc3DH+SWRl7jOZTsWFheYaxicmmUwnYZe5L83wkREWFo6kZi3gdLmQlZEOKZET1jLk+NzsLORkZ5oMt5ysTCN+4xObwmQuZWViX2rFfSHXPTo2Hpn7UrFowUtY+8Mq3H7/YwiPiETT5ikoLytHRnqqOabyPtIq9aNoOnCHMqNJ97uVokmPJ0WTHkuJxIwmXZ41iSbJMPp8XYYl+VPTsxHJFB/pNr2SsgtKjWzyNeQYEUbms2QVHfL/8m8igiK8FVLIqjB65snHccH5fdC1a1dfT0HlcYomFYwmCEWTHkuJRNGky3Pw4MGYOnUqIiMjdQPXEo2iyRbM9XcREROSkSQiaevWrYiIiDAlb5KqKWmhIpmkTn7NmjVISUlBXl6euYG/+OILk800ffp0vPTSS5g/fz6ysrJw4YUX4pZbboHUu3fp0iUgMBRNbyGpWQpSd+/Ey88+ZsTSvY//xwiKPTu34b35L+Dzxe9A+gBFREXj4qtuwJ8vuRIutwc7t23Gh/99BV8s/cD0YQoLD8eIsY+jeaujDhJNlRlOv2/8xZTO7dy6GY/fP8KICsnIkcd7nHcB/j3haezY8hs+WPgKvvz0I5SWFCMyKga33TcZx3bpaiTUpl9/xgvTHsG2zRsRGRWNlDZt4XS50a5jJ1w9aDh2bv8d781/EV8sWWTklMiRYzqdhBtvu1tNNkmjTemBUCBbAwd01/l3kLyjKE03pT/CoaJJhNCmX3/E8089Yq7j5QNuxvw5TyMvJ8v04XI4nOg34GZ0Pf0cbPz1R7z58iys++l7I4uaJrfANTf9E0cf2wmLFryM1Ss+w4PT5xlBJNlnS95bgP8tfg/9bx6BDxa+bKSUlM7t27sb785/Hh+++aqZ26JlG/Tscwm2b9mEDxa8vL90rjWO63KK4S730Vvz/oP1P68xJy7X7bSze+Oyvw4Ouq8URRNFk3/fTdZnUzRZZ+VrJkWTL0L+PU7R5B8vX7Oriyb5nS6lbDM+3Y6vNmWp/I6vzEKS3+XS26iwoADhYV6Eez3m/0UgyW5t0WFOxEW4qz6iw12IDT/w/3GRLnhdzuqtlnydmnl80qRJ6N27N0WTJVq+J40dOxb9+/dHx44dfU8OcgZFU5AADzmcokmXJ0VT7TzZDFz3XrMUTeSF9BC58sorcf/99xs5JDJJRFHz5s3xpz/9CXLT7t6928QrKCgwYunZZ5817+D94x//wGOPPYaFCxeavk0iiST98ZxzzjFCoX379vB4PJaeS+WkxiyaZk8Zj3899JTZrW3j2h/w9qvP4bqbb0fP3pcY4SRSYuX/luCBqS8gJr4Jflz1JZ4c/y+MuP9xIyeWf/weYmLjcVbvi5G2dzeef+ph7NmxDXdNfLZO0VTJXjJsflr9Nf7zxIO49qZbccIpPfDFkvfN8znzT32N/Hr+qQnYl7obD894DWl7duGl6ZPw2/q1uP/JF+ANC8PH77yOBc8/g4uuugEX9OuPBS88g1/WfIt7Hpttsm9+3/grHrv3NhzV4VjcMe5Jv+6N2ibnFZXhp+25+HVXbsDvdlp9IpK1Li88O7eMQsdmkVWiaeXypfjXg1NRVFSIH1Z9if99/C76DxmB5q3aYPbj4yAlhTeNuAfde/7ZLCUS6OXpj5mspjGTZlaIpHffwMfvvIF/PzwNe3Zux6zHH8CAW0bhjPMuMCLvrXmzkZCYjDP/fBFe+8/UKtG05psv8PKMx3DVoH/g1LP+VHUqNZXOCf+Xpk+G2+PFnROeNnNXffEppj9yNy68/K+mr1Qwg6LpAD1mNAVzJx1+LEWTHk+KJj2WEomiSYen7MhWXFqOGc/OQqcTTsRJp3RDYXE50vOKseiHNKzdmeczE0l+R1dlIDkqRFKFUDrw4XU7EBPmhogi+X3+7Zef4+TOHXHise0gPZDk32LC3QGVqVkhQdFkhZL1ORRN1ln5mjlq1CiMHDnSJBfYMSiadClTNNXOk6JJ916zHK2yR9MDDzxgjhH5lJ6ejuuvv97swlGTaJo9ezY++eQTPPLII3j33XdN9lPfvn1NdpSIJslwcrlcpvzO39RgEU1Smic1u1ZGcbkDm/MqSsc0xh/Zo0magbdofZQUr5nytcEj7jVSQcau7Vvw5LhR6HRyd/T888Xm30T0iHA4+fSz8dehd5gSuF3bf0dJcTHycnOw7MO38O2XyzDpuYU+RVN5WRm2bt6AOU8+hLiEJFNqJUPEya5tW0w2k5TFffbBm/jx2y8x/Y2lRn48M2EMup5xjpEcMqr3aDrtnD54YuxIXPbXIfjTxVeYx0V+SFbWso/exlPzPqwqwQvm2qXnluCzdenYl1sSTBjLx8oL1qMSw3DesU2qRNMbL0w3mWMyWrY5GtfdPMJkEG39bT3mzXoSCUlNMXjk/VVriIya9dgDuOjK63HsCRXp8xvW/oB35j+PKwb8HR2OPxGvP/+0KYO7edRYfL9yOWSNQf8cY7KWqoumdT99Z+RR++NOwDnn/8VkupmSyRp6NH312UeYM3UCbr3nEXTuerpZd+e23/f37MoxkiuYEe0qQYtwa1s0//jjj1i9erXpAWfH+P77741Yv+666+xYDqtWrcLGjRtx9dVX27Le119/bTJTJRPVjrFixQrzJsRll11mx3L4/PPPzeYTUtptx/j0008hG2XI7zY7hvxOlSzj888/P+TLffTRR+Z39J//XCG+Qz1EEkrG9HnnnRfqpUx86TsZHx9v2y5pb775pnmzza5d0hYsWIDWrVubnpl2DHlNJ7vcnXLKKUrLmcZFgNN90EduUTn2ZBfjo89XojQsHo6oROzJKjLZyoePcqCsFCgr2f+52HwOd8P0O5LMo9gIF2KrMpIqBJL8f6THacrgKsfcuXPNa1VpCWHHkNfG0obi+OOPt2M5yGt2eQPYjowfOSF5M1p2YLSrYfYzzzyDiy++GEcdVfEaLJTjqaeeQr9+/QLa7CiQ5/XEE0/gmmuuQYsWLQI53O9jpAfvDTfcYFvPpEcffdRsYCIbTdkxHn74YZMkERcXZ8dykB0YpQdydHS0LeuJdJVWN/L71o4hGX6yC6r0dD7SB0XTEXKFpAROvgnPOuss80P7b3/7G7Zv324ykySjSX5Byruh8qJYhrwwlj/gpGTujTfeMMetW7fO9HySP7Qk48mfIaLptttus2zTI6LjcM5Vt/izRJ1z/0jRVNkMXHYtk0yhrz9fgmmvfWSylLZv+Q13D70GBXl5iI6LrzoH6fVz/v9dY7KHfvruazz98F1GFpreSJnpJovIimiSfj2L3piLFZ9+iHunPIcmiU1RXFxksqamP3pPVcyszHQ0bdbCiCZpSv3E2Dtw8VUD0Of/rjXP6VDRNHX8v3DdkNtx+jkV2z5L+dgn77yOd+e/gEdnv2GeX7BDXoSu352HTan5sNB2IajlZA8YadR5TLMIHJ0UcVjp3KHBaxNNq79chnuHX4/4JokI399jS46Vnkz9rh+CTid1xyfvvoEl7y/A0H+Px7dffIZ1P3+H+5943mSFVRdNcpzIppmT7sfeXTvQqm17jHjgcYSFRx7WDFxE09zpkzHygSlod2xn83RlF8IFL84w99i4p+YGxWfPlvVY/ckCSzHkj/jc3FwkJSVZmh/sJMnWlDUTExODDWXpeDm3wsJC215AyXryxoFsymDHkDLr4uJi29bLzs42v29EINgxZD35WWrXC1L53Sult3asJ5t2yJsZsbH6u2LWdG1kPenPJxuO2DFESIpIs2s9eXNOXiPZ9ceErCcv7KOi9N5kq+u6yOuysLCwg9aT5ty5haWoSQH5vMYimLzRRiQhIgGOyCQgsgngiQQch++eJm/ueFyVH86Krx2lcBTloDw3FchPR3leKpC3DyjOB8r9e1bSf1RY2vXHmawn90p4eLhPVBoT9u7da74X7Fpvz5495ueY3DN2DFlPfi/Y8ceuvLkiv2PtWEvY7dq1y7xm8bc6JFDusp68JpOqFDuG9Alu2rSpbevt2LHDvCkgvx/sGLKeVAjJ7z87hvy9LlLSrvVk52HJ6LXr+yEYhhRNwdBTOlZeVEszcHkn4sMPPzQvRC+55BLIu3XyTpb8YXHfffeZH+jyWeZv2rTJfC0GVebLVtfyTre8YypC6oUXXvDr2TXm0rmDd53biHuGXWfKma4dfBv27tqOZyfdj2M6nWj6+Bw6JCtFMp66nHKGyW6ShuCSAbNi6Qc+RZOUb/383UrTV+jKv91iyuRkbP99E6Y9dCdO7H4mrhsywjQFf33O01j1xVIjmqS303NPPmQycqTkSvpCSd+hN55/xkiMHr0uxFMP/htnnHs+Lrv+ZtO8XBqHS6aOZO9M/M9//bo3jsTJNTUDr/48axNNa9eswotPT8TFVw4w/ZRqGjJn3qwnTGbUrm2/o1PX03Bhv/41iqbK47dsXGd6e0kz95tG3GdEk2S1PfTMPJM9JtfuuScewjWD/2myn2T8vqFCXEk55i13PhgUZpbOHcDH0rmgbqXDDmbpnB5Pls7psZRIjbF0bu6KXVj6azqKSgLrjCj5RIceKUlG0huptKgAEeFeRIZ5jVRqEuVGcqwXKXFeNIuVjzAkRXsgJXAaQ9pFSAZ/9+7dNcL5jMHSOZ+I/JrA0jm/cNU5maVzeiwl0tChQ80O7Ha9qcPSudqvH0WT7r1tOZq8Q7x+/XrzTri82y9poSKQXnnlFcg7uv/617/MY1JHK+8S3nzzzZA0VdmhTt4lkV/QYoflcXlXQf5dsp6WLFlijKoc78+gaKrYdS4nKwP/ffFZLF20EE/P/9hkKEnD5+WfvG8afFcOKa1KTmmN9NTdeGLcKLRs0840CBcB8trsJ5G+L9WnaJJd0p559G5TptX/5pEmtPRbkvvgmUfuRuu2HdD3iutNb6ZXZ09FbnamEU0is9565T9GZo16cKrZEe3zj97GN198igsuu84c8/a858zjg0feZ3ZLk4blC1+aid6XXm0kWn0fgYomKXF84/npJuusujiUsrjKXf0kO+n9N16EZCHJNb75jrFIaXP0QaJJSulysrKMiJQh2UnSx0uymvr85RrTM2vp+wtwwz9Go3nL1iZL7bX/PGX6bf39XxXlsiK0pD+UCMpTepwb1CWhaKJoCuoGquNgiiY9shRNeiwbi2g6vlMn9DizJ4rLylFSWo4XV+wyzbmDGbKpRrh7f4aSy4GoMBeSY7zY+ONKdOvUDmeceIwRS5Fel98Nt/15XhRN/tDyPVfKhaSEu1OnTr4nK8ygaFKAuD8ERZMeS4lE0aTLM5hoFE3B0AviWEnXl/pfSe8TMSQ14yKZKoeIH5FHMiStWITStddei5KSEpO5JLXY0iBchoiq5557DjNnzjTlIhLH37riP1o0efL2ot2n1vpDBYEdRdHN8ds5402IosJCrP7yM9P8e9T4qWiSlGyyg3754Vuzo9sNw/6NE7qdYbajf/+NuVj89mtVS8vOY5KFIgLil+9XmebgMuKaJOK0s/+Mtd+vwshxT+Cjt+Zhx5bNuPWeR43c+OitV7Fj62bcevejpo/QuBE3HnQ6Ka3bYvjdj5pd56Y9PNo8JqKo25nnmWwkae4tQ3Ywe+6JB7Hx159Mid/p5/ZBdEycyZ4RkZS2d9f+LKhPzfyYuCam1K8hSCY5HyklXPreAsPkjvGHNzeX3lofLHjJNFS//IahBzGu6I30DL5f+UXVvx9z/In4+7/Hmesn98Wq5Uvx0ozJOLXnn0x/Jhly3T5c+Iopb7zoyhvwzf8+wZynJlTFOOGU083OgDI2r19rjv994zqTeTbkjvvN7oIvT5+M3zetM3NatDrK9NEKVjJJLIqmA5eYGU3B/IQ8/FiKJj2eFE16LCVSQ8lokmbcIpFKyiqacstn+f9X5r2G5q2PxlHHdkFqTjH25RTj55152JVZBDmmriG9kDz7S9+81aSSNOhumxSOtkkRaBbjQYv4MMRHVjTgrr7rnO6VqjkaRZMuZYomPZ6yC/iwYcPQpk0bvaB1RKJo0sVM0aTLM5hoFE3B0GtAx/7RoqkBoeSpkIDtBCiaKJpCddNRNOmRpWjSY3mkiCbpmZRdUIrywwrSrJ9rflEZ0nKKK2RSbjHS5COnBHuyClBQXI7a0oqcDgfc+3soiSiSr+WzlL3FhFdkKUnpW4s4L5rHVnwd7qm9ZwlFk/VrZmXmhAkTTBsM2VnajkHRpEeZokmPpUQaPnw4xo0bZ1vvTIom3esXTDSKpmDoNaBjKZoa0MXkqTQ6AhRNFE2huukpmvTIUjTpsTxSRNMrX+3Gx2ulZ5J/jbArSTgcQF3JSXXJJCl5S4z2mL5JCVEe83WifI5yB1T2RtGke39SNOnxlF22brzxRtt21KNo0rt2FE26LCXawIEDTRUTm4Hrs2XEEBGgaAoRWIYlARsIUDRRNIXqNqNo0iNL0aTH8o8WTVK4VlpWjjnLd2LZuow6ZZGvsz5UJklGkmQnZabvQ1JcFNo0izcSSUMm1fVcKJp8XSn/Hqdo8o9XXbMpmvRYSiRpxzJmzBgkJyfrBq4lGjOadDFTNOnyZDQbCFA02QCZS5BAiAhQNFE0hejWAkWTHlmKJj2Wdoom6YckvZPmvDAXKa2Owmk9zkRhcRnS80rwydp9+GF7rumpVNeoKTNJhJL0UarMTDpYJrmx4OXncWrXE3B2z5664GqJRtGki5miSY8nRZMeS4omXZYSjbvO1c6UpXP691u9jEjRVC8vG580CRgCFE0UTaH6VqBo0iNL0aTHMhSiSUrYpBG3lMGJWCoqLUNRSbnpwbQnuwhLV6xGHiLgiU3Gnqwi5BcfXi4npXDSJ6myAbfX5YTX7UD0IWVuCdXK3CK8Ljgdh7OZMWMGOnfujLPPPlsXHEWTLTwpmvQwUzTpsaRo0mVJ0VQ3T4om/futXkakaKqXl41PmgQomg65B7jrnO43BUWTHk+KJj2WtYkmac6dVVASUClbcWkZMvJKsSuzELuyiszubvJZRJOUyR06XNV2dfPub8od6XWhSZQbLeLC0Gx/I275LM25Zb4/g6LJH1q+506aNAm9e/dG165dfU9WmEHRpABxfwiKJj2WFE26LCmaKJr076gGGJGiqQFeVJ5SoyHAjKYDl5qiSfe2p2jS40nRpMeyNtH02so9+OinfSgMsDl3Tc9Q/JDb5URpcSEivG5ERYSZnd2aRLrNTm7N9+/qJkJJyt/C3LXv7OYPAYomf2j5nkvR5JuRPzPGjh2L/v37o2PHjv4cFtBciqaAsNV6EHs06fJk6VztPJnRpHuv1dtoFE319tLxiZMAS+eq3QMUTbrfEBRNejwpmvRYVoqmlJSW6PXn3qbUTT7mr9yDz9dnoO6OSXU/j3CPE/IhMklK3yLDnEiO8WLz2tXodHQL9OzWyWQrSfaSn0lKfgGgaPILl8/JFE0+Efk1gaLJL1x1Th41ahRGjhyJlJQUvaB1RKJo0sVM0UTRpHtHNcBoFE0N8KLylBoNAWY0HbjUFE26tz1Fkx5PiqbAWEozbmm2XSmTpI+SfP3fhW8iKi4Rx3Q5FWk5xdiXW4xfduVhR0YR5Ji6hlP6KO0vd5N+ShVfO01/pdaJYTg6KQLNYjxoHhdmMpdkF7hZs2ahQ4cO6NWrV2An4udRFE1+AvMxnaJJlydFkx5PiiY9lhJp6NChmDhxImJjY3UD1xKNoomiyZYbrT4vQtFUn68en3tjJ0DRRNEUqu8BiiY9so1RNEnPpMz8EtTQ4sgy2ILiUuzLLUHqfpkkQiktpwR7swuQX1QOSAfuGobs9CZZSSKJzA5v8rXpq+REdLgLyTEek6kkpW+SoSRlcBGe2sveKJosXzJLE6dMmYKePXuie/fuluYHO4miKViCBx9P0aTHk6JJjyVFky7LYKOxdC5Ygg3keIqmBnIheRqNkgBFE0VTqG58iiY9so1RNC1YtRfv/5Cm2jOp+hWpSyZFhbmQEOVGUrQHCVEeVOz05kZilAe17fRW19WmaNL7XpBIFE26PMePH48rrrgCnTp10g1cSzSKJj3MFE16LCmadFkGG42iKViCDeR4iqYGciF5Go2SAEUTRVOobnyKJj2yjUE0JSQkovcFF5rSNil3E9H06a/pQfVMqpRJB2cnOZGZvg9NosPRNiXByCMRSSKURCbJZ+0eShRNet8LFE26LCUaRZMe09GjR2PYsGFo06aNXtA6IlE06WJm6Zwuz2CiUTQFQ68BHUvR1IAuJk+l0RGgaKJoCtVNT9GkR7ahiCbpf1TVL6mqd1IZ3nrnPXgionH8yadXlbmt25WP7RmFvnsm7S9zO1QmeZwOVGYmyY5u1TOT3l0wD8e0bY0+fXrrXaQ6IlE06WJmRpMuT4omPZ4UTXosJdLw4cMxbtw4JCQk6AauJRpFky2YbbBjHwAAIABJREFULS1C0WQJU8OfRNHU8K8xz7DhEqBoomgK1d1N0aRH9kgQTQd6JgW+L1tBcVlVz6R06Ze0v2dSanYh8orKfPZMOlQmSd8kkUmmrO0QmVRXZtKcOXPQqlUr9OnTR+8iUTShR48etvCkaNLFTNGkx5OiSY8lRZMuS4k2cOBAzJw5E16vVz+4ckSKJmWg9TUcRVN9vXJ83iQAUDRRNIXq+4CiSY/skSCa3ly9F+98H/qeSYdlJrkciPK6kBBd0SNJo8yNoknv3pRI06ZNQ7du3SialLBOmDABl1xyCbp06aIUse4wFE16mCma9FhSNOmypGjS58mINhCgaLIBMpcggRARoGiiaArRrQWKJj2yf6Rokvyl0rJyzF+5B4t+TEN54AlNqK1nUlbGPsRFheHolMQKmVStAXcoeiZRNOndmxRNuiwlGkWTHtN77rkHN954I9q1a6cXtI5IFE26mFk6p8uTGU26PBnNBgIUTTZA5hIkECICFE0UTSG6tSiaFMHaJZqkh1JRSTnmL/gvPN4InPun3pByt4z8EvxvfSZWb8k2PZbqGtVlkmQneVxOVHx2IHL/bm5VZW77G3B/8ObraN2iKfr2vVCRWu2hKJp0MTOjSZcnRZMeT4omPZYS6fbbb8eYMWOQnJysG7iWaBRNupgpmnR5MpoNBCiabIDMJUggRAQomiiaQnRrUTQpgtUWTZKVVFImUqnMiKXCUvlchpyCUuzJLsbyb39CWl45IhNSzP/nFZUedjYOByA9krxuJ8LcFZ+9LmdFzyQ/y9zmzp2LpKQk9O3bV5EaRdPZZ59tC0+KJl3MFE16PCma9FhSNOmylGiDBw/G1KlTERkZqR+8hogUTbZg5iKaBCiaNGkyFgnYS4CiiaIpVHccS+f0yNYkmqQ5d3peMcoCKGUrKS1HZn4JdmcVmY9d5nMxsvNLjIA6dLiMUHIYkRQmQsntQITXhSaRbjSP9aKZfMRVfI4JdxkB5c+gaPKHlu+5M2bMQOfOnUHR5JuVlRmTJk1C79690bVrVyvTg55D0RQ0wqoAFE16LCmadFlSNNXNk83A9e+3ehmRoqleXjY+aRIwBCiaKJpC9a1A0aRHtibR9O73qXjzu1RT2qY1JEtJZFJpcSHCPU7EREcgzOVEXIQbTWM9VVIpOcZrdnmTORqDokmD4oEYFE26PCmadHmOHTsW/fv3R8eOHXUD1xCNokkXMUvndHkyo6l2nhRNuvdavY1G0VRvLx2fOAlQNFW7B5YtW4aff/4ZQ4cOteXOWLp0KTZs2IAhQ4bYst7ixYuxbds2DBo0yJb1KJr0MNckmv777V68uToV0lcp0BHmcSLSIxlKFVlKkV4XkqI92LHhR7RKisafzzzFZClJOZyfSUp+PSWKJr9w+ZxM0eQTkV8TKJr8wuVzMkWTT0SWJ4waNQojR45ESkqK5WOCmUjRFAy9w4+laKJo0r2jGmA0iqYGeFF5So2GADOaDlxqiibd256iSY+niCan04WL/nIZCovLkF9chqW/pGPJL+k+M5qkObcpe6vspeSqkErSpLtFnBftmkYgOcZjhFKTKI9p2j1v3jxER0fj0ksv1TuJOiJRNOlipmjS5UnRpMuTokmPJ0WTHkuJJG80Tpw4EbGxsbqBa4lG0UTRZMuNVp8XoWiqz1ePz72xE6BoomgK1fcARVPgZCVHSfooSVmcfLy76EPkFgPHn3IWtqUXYlt6AbanFyG7sATVE5oqG3RLSVvlR2y424ikprHeqtK3pjEek71U26BoCvza1XTkrFmz0KFDB/Tq1Us3cC3RKJp0MVM06fKkaNLjSdGkx5KiSZdlsNEaZOlcQUEBcnNzkZiYGCyfRnM8RVOjudQ80QZIgKKJoilUtzVFk3WyUv5WWHJALMkub2k5xdieUYit+wqxcVeW+X+4PAcFrWzSLVIpQsrg9pe+tWwSjlZNwtC6SZjppSRZSv4MiiZ/aPmeS9Hkm5E/M6ZMmYKePXuie/fu/hwW8FyKpoDR1XggRZMeT4omPZYUTbosg43W4ERTWVkZ1q5dCymfuOWWW4Ll02iOp2hqNJeaJ9oACVA0UTSF6rZujKJJdoLbl1uMUj/bJknW0p6sIp/ZSh6nA9JXqUIsuRAb4UKLuLAKqZQQZr6ODnNBMpuCGRRNwdA7/FiKJl2eFE26PMePH48rrrgCnTp10g1cSzSKJj3MFE16LCmadFkGG61eiqacnBysWbOmxnMX0fTdd99h/vz5eOSRR+BwONC0aVOT7sxROwGKJt4dJFB/CVA0UTSF6u5tjKJp0Q9pWPDtXp99k6wwr8xWkkylgtxsI5DatWyKlk32i6UAs5WsrE3RZIWS9TkUTdZZWZlJ0WSFkvU5FE3WWfmaOXr0aAwbNgxt2rTxNVXlcYomFYxVQdijSZdnMNHqnWgSkfTVV1/hzDPPRHh4uPk4dBQXF6OwsNA0wXS73bj66qvx9NNPB8OpwR/rr2gqKinDD9tzA+Yi10h2Tjr66KMDjuHPgUVFRdixYwfatm3rz2EBz5X7b9euXTjqqKMCjuHPgVIuumfPHlt+KeYX5CN1bypat27tz1MMeG5+fh7S0vahVatWAcfw58C8vDykp6ejZcuW/hwW8Fwp883MzAxqt5H4SDfaN42w9BxWrlyJ5cuXQ3YdsWOsWLECq1atwvDhw+1YzmSzctc5PdSNUTS9/V0q3li1N+Cd4CQTKSbcjfgIN+Ii3Gge5zXZSj9+tQStEyPR75K+QWcrWbnCFE1WKFmfQ9FknZWVmRRNVihZn0PRZJ2Vr5kUTb4I+fe4vP4bN24cEhIS/DswwNkUTQGCC8Fh9VY0XXzxxYiPj8dpp5120B9oIqK2bt2K1atX47LLLoPT6TT139dcc00I8DWckP6KpmDPXKTIww8/jCeeeCLYUJaOF8n0+OOPY/LkyZbmBztpy5YteOaZZ0xWnR1j06ZNeO655/Dggw+GfLl169bhlVdegaRN2zFEGixYsAD33nuvHcvhhx9+wLvvvou77rrLlvXkZ9Unn3wCeUfLjkHRpEt56dKl2LBhA4YMGaIbuJZoixcvNpJ+0KBBtqzX2ERTSVk5Pv01A++vSUN6XjGK66ifO7i3kgthbgfcTgfcLgdOaBmN046ORVK13kqy65y8+dWvXz9brh1Fky5miiZdnhRNujwpmvR4UjTpsZRIFE26PAcOHIiZM2fC6/XqBg5BtHonmsrLyyFSRH6gyjvlZ511FgYMGGAyY0Q8lZaWmne0n3zySbz55pshQNYwQ1I06V5XiiY9nhRNeiwlEkWTLk+KJl2e77zzDqQ8/rrrrtMNXEu0hQvfRF5hEfpe2g+5hWVIzSnC5rQCbNyTbz5n5h/YEU4ylbwuadbtRFSYC5JJ6E9vJYom3Us6Z84ck+nap08f3cC1RKNo0sVM0aTLk6JJjydFkx5LiiZdlhKNokmf6WERRSjJO7uSoZKfn48rr7wSF154oSlVktI6iib/LgJFk3+8fM2maPJFyPrjFE3WWVmZSdFkhZL1ORRN1llZmWmHaJKspfyiMuQWleKDT5Zha1oeUo7rbuTSrqwiSGl45ZCsJbMTXJgLMWEuUwYnZaodkiOREu81Db2tDoomq6SszaNossbJ6qxp06ahW7du6NGjh9VDgppH0RQUvsMOpmjS40nRpMeSokmXJUWTPs9aI0p2k/RSefXVV/H8888jOTkZN9xwA0pKSkwzcGY0Wb8YFE3WWVmZSdFkhZK1ORRN1jhZnUXRZJWUtXkUTdY4WZ0VCtFUXg4UlpQhr6j0QNZSagE27M3H5tR8k7UEVGzxdmjWUkKUB0clhqNDcgTaJoajSZQHzgB3g6NosnoXWJtH0WSNk9VZFE1WSVmbN2HCBFxyySXo0qWLtQOCnEXRFCTAaodTNOmxpGjSZUnRpM/TZ0QRTvKHvbw7Ir1OJKtJ+iBQNPlEVzWBosk6KyszKZqsULI2h6LJGiersyiarJKyNo+iyRonq7O0RFNV1lJhKbILSrAjo8iIpbqylqQcLibchWaxgWct1XWeFE1W7wJr8yiarHGyOouiySopa/MomqxxsjLrnnvuwY033oh27dpZmR70HIqmoBEeFIA9mnR5snROl6flaNIIXHZTmj59utldTJpNc1gjQNFkjZPVWRRNVkn5nkfR5JuRPzMomvyh5XsuRZNvRv7MqEk0ZeSVYG9OMcrKyi2HyiksxRbptbQ3H7+nFSCjpl5LYU4U52ahSZQbJ3dIUclaomhKQt++fS1fp2AmUjQFQ+/wYymadHlSNOnxpGjSYymRZNfhMWPGmEogOwZFky5liiZdnkFFk/5Nsn14UlJSUHEa+sEUTbpXmKJJjydFkx5LiUTRpMuTokmXZ02i6aOf9mH+N3tQUHygd5K/q1b2WqrMWpJeS+2SIrB+1adIjnbhqsv/z9+Qfs9nRpPfyOo8gKJJlydFky5PiiY9nhRNeiwpmnRZSrTBgwdj6tSpiIyM1A9eQ0SKJhswFxUVYePGjUhNTYXD4UCTJk3QrFmzg4SSZDjJH6myC92wYcNseFb+LVFcXIwvv/zSHOR0OpGYmIjjjjvO/L889t1336GgoMA8lpKSYnbWkyboct67d+822xqefvrpZr6c6969e03PqsoY/jwbiiZ/aPmeS9Hkm5HVGRRNVklZm0fRZI2T1VkUTVZJWZtXk2h6b02aEU2lfmQ0VV9Neiq1TgjHia2i0aFpBNomHei1tHDhQtPX8aqrrrL2BIOYRdEUBLwaDqVo0uVJ0aTLk6JJjydFkx5LicSMJl2eFE2183SIpJH+l+XS6KieDJEqS5YswUMPPYTvv//eiJgTTzwRvXr1wtVXX4327dubHk0iZT777DM89dRTkBeTR9KQ5ya74/3tb38zEklGbGws5IVTfHw8vv76a/ODICIiwoi0Nm3a4PHHHzdC6dZbb8X27duNhHr77bfRokULpKWlGZsq533ffff5faoUTX4jq/MAiiY9nhRNeiwlEkWTLk+KJl2eNYmmVb9nY8kv6cjKL0FWgfRcKj1oZ7jKZ1A9aynK64LH7TAtvr1uJ84+Jg492scd9mQpmvSu39y5c82bfSyd02E6Y8YMdO7cGWeffbZOQB9RKJp0MVM06fGkaNJjSdGky1KiUTQ1MNEkUqVnz56IiYnBueeea+TLtm3bTAbQMcccgzvvvBOnnHIKwsPDj1jRlJmZad5BvfLKK3HzzTebTKQLLrgAd9xxB84//3z83//9H6644grcdtttRiLJef7jH/9A165dIU3q3n//fcyaNcuIJbnB33jjDbPz3uLFiwP6DqJoCghbrQdRNOnxpGjSY0nRpMtSolE06TI9VDRJFlNeURky8oqxdV8h1mzPwdqdediXWwx5e0zeK4vwuBAX4ULTGK/fO8RRNOldP4omPZYSiaJJl+ekSZPQu3dv8zrajkHRpEeZokmPJUWTLkuKprp51ruMJpFKkgkkEuZ///tf1Q4EkiEku8xJ9pKU1UnjMdlW9JtvvjkiM5pENF177bVGIA0dOhQ7duzAyJEjMWTIEJx88sk444wz8OOPP5pywLy8PMg7TVICKHMkc2nevHnmIycnx2RyiXyaPHkyjj/++IC+gyiaAsJG0aSLrcZoFE26kJnRpMuTokmXZ6Vouvyqa5CZX4o9WUVYtzsPa7blYMu+wqpMJo/LgdhwNxKi3WjfNAInt45Gu6YRiPS6/HpCFE1+4apzMkWTHkuKJl2WEo2iSZfp2LFj0b9/f3Ts2FE3cA3RKJp0EbN0TpcnM5pq51kvRZMIJimb+/DDDw86M5FQv/76Kx555BGTyTR+/HjTmOull1464krnpAfTokWL8MADD2DAgAGml5QIMslS+uCDD0yWkvRhkiElcnIOzz77LF544QUj0UQsSfaS7K63c+dOU34nKdbSt0nerZFsLn8GRZM/tHzPZUaTb0ZWZ1A0WSVlbR5FkzVOVmdRNFkl5XueZC+9vWgxtu/Nwkln9TFyae3OXMiuczKcDgcivU7ERbjRskkYTmgZhc4pUSaTSfowBTIomgKhVvMxFE16LCmadFlSNOnzpGjSYzpq1CiTSFDZSkUvcs2RKJp0CVM0NSDRJK2k1q5da3oxffHFF6avUfUhj0upmXzTSgbQmWeeaXadO9J6NEnz0TVr1uDzzz83z036MElp3KmnnooffvihRtE0e/Zs05tKMppEMrVu3dpIJcmGkuNXrFhhZJX0curRo4df30UimmSry3/+859+HRfo5IyMDLz88svmnO0Yck/Mnz8ft9xyix3LYc+ePSbDTsoi7RgiG6Wc8qabbgr5clKm+vHHH0N2PbBj/P777+Z7WYSsHWPTpk2mSb+8U2fH2LBhA1atWoVrrrnGjuWMjJefMVK2a8cQUShr9uvXz47lzM/VzZs34y9/+Yst661evdr8DL744ottWU+ydGUTjAsvvNCW9aRfoGTg9unTJzTrORxwuLyANxp55V4s/2krVv2WAUdUU5RUNv8uKwGKcuEty0frOCdOah2NtokRCPcEaJeqnYm8cSUZ0ZJdHOohb4C5XC5T+m/HkNcL0ufR39cDgT43eV0SFxeH0047LdAQfh0nb8pJTyh53WTHeO+998wfgnaVXkkPTtkEpkuXLnacnnkteuyxx6JTp062rCctH+TcZE07xmuvvYZu3bqhQ4cOdiyHV155xVQntGvXzpb1RPSec845OOqoo2xZT9p1SCliq1atQr7ef/7zH1x00UWmJ60dY+bMmbjsssuQnJxsx3KYPn26+btWNoWyYzz99NP461//anoC2zHk79ZBgwaZljd2jClTpuDvf/+7bbvASUWR9E8OCwuz4/Tw6KOPmsQUSS450ke9y2gSoCJTpHROJEVNL7YrZdPDDz9sehfJix75fKQMeX6SrSQ9mq6//npTLid/iMkfttKbSV4Uyh/VkhUjmUmS0SRNwt966y2T7SRDRJWIJcmIkh/A5513nhFw8kJB/jCQbzJ/hoimESNG2PYLWDK65PykcbsdQ+6ZrVu32rZeYWGhadhu1wsMuUdENsmL0lCP/Px8c/9KNp0dQ0pHZUdFu148iZgWMSkN+O0YUv4qPdpEHNsxsrOzjTiw48WhnE9WVhZkzZYtW9pxeubc5Bra9c6gSHP5nrDrBbDcK/LzpXnz5rbwlN8N8vNayrg1h0iknMJSZBaUo8AdBzRpB8S1ArxRZhmn04EorxPxEW5EIg+OjM0o37cZKMyEac6kNETaye/kpk2bKkWsPYz8HJM3hUSO2DHkDQ8RW3b98SK/FzweDxISEuw4Pezatcu8sJddh+0Y8jtWxJ1df5yJwI6KijLyzo4hr1nkD8FD38AN1dryppWcm11/fMprQLlXoqOjQ3VKB8WV17jyvSfX0I4hb8rJzzG7tliXN3Tk94J8T4R6/Pbbb+Z3rL/VGoE+L3nDUV6z2CUOZDdxeQ1olziQ9eQ1rvy8tmPIG6ryN4P0FbZjrF+/3vz9Jb//7Bjr1q0zfz/L5mR2DHEGzz33nG33SzDnVC9FU2WfJvklVdeWxPLiWHobyYtyKTU7Uoa8eyqNy6X5t/wwk1/qIgrETookkmbm8m68lMtJRpb8kfbvf//b/BCSrCM5/pdffjElgnJewuOGG24wWRhSTiiZNHID+jNYOucPLd9zWTrnm5HVGSyds0rK2jyWzlnjZHUWS+eskqrwQwXFZcjIL8HOzEL8uisPP2zLxfaMQkjZnMlPKitGTLgLrZJi0LGZ9F6KQZuEMLNzXCgGS+f0qLJ0To+lRGIzcF2e7NGky5Olc3o8WTqnx1IiSe/jiRMn2ibNWTpX+/Wrl6LJ1+0o0sYu6+3rudT0uIghsZ+StiilTtLAW56zpNlKSr38+/3332/KMaT0SkST/ECX1MOzzjrL/LuUxx133HEmG0reJRVpJTtcSDmhvFsqKXz+DIomf2j5nkvR5JuR1RkUTVZJWZtH0WSNk9VZFE2+SRWXliO7oARpucXYnFqA77fmYP2efOQWlpqDXZK9FOZCQqQbeXs349imXlx1/hlIiAr9u58UTb6vn9UZFE1WSVmbR9FkjZPVWRRNVklZm0fRZI2TlVkUTVYoWZ9D0WSdVahnNijRJOnvUlYg/U5C1k9C6YpIttVHH32Exx57zESUdLtjjjnG1OnKkHKMyy+/3HwtaakilKReWErm5PxefPFFSI2tjEpJJRlQktItMfwtc6BoUrqw+8NQNOnxpGjSYymRKJp0eTZG0STNuXdnFaHUYglbVn4pft2Vix+355rjpPWSZC+FeSoaezeL9ZrspRNbReO75YtRmJ+L6667TvdC1RKNokkPM0WTHkuJRNGky5OiSZcnRZMeT4omPZYSiaJJl2cw0RqUaJKSMmka/OSTT5ryMQ7rBCiarLOyMpOiyQola3MomqxxsjqLoskqKWvzGqNoWrI2Ha98vduUwQU6mkZ70LllFE5qHYNjm0UgNqIie+mdd96B9C2jaAqU7IHj5s2bZ/rRXHrppcEHsxCBoskCJD+mUDT5AcvCVIomC5D8mELR5AcsH1MpmvRYUjTpsgw2GkVTsAQbyPEUTboXkqJJjydFkx5LiUTRpMuzMYqmD3/ah1e+2m36KgUynA4HLuqSgKtOTTZlc9UHRVMgRGs+hqJJj6VEkj6a0vC1V69euoFriUbRpIuZokmXJ0WTHk+KJj2WFE26LIONRtEULMEGcjxFk+6FpGjS40nRpMeSokmXpURrjKJJeiwt+SUdmfkl5kNK4wpLDs9u8rgciAl3m53jwr3OimbfUjLndqJH+1j0aH/4bloUTXr3KEWTHkuKJl2WEk12R5a+pN27d9cPXkNEiiZdzBRNejwpmvRYUjTpsgw2WoMSTdJk+5tvvsGrr75qmmVzWCdA0WSdlZWZFE1WKFmbQ9FkjZPVWcxoskrK2rzGJpoki0maeKfnlWDrvkL8uCMHv+zMM42+pWWTJChFeFyIj3SjRbwXx7eIwgkto9AiLsw85mtQNPkiZP1xiibrrKzMZEaTFUrW51A0WWdlZeb48eNxxRVXoFOnTlamBz2HoilohFUBKJr0WFI06bIMNlqDEk3SDDwrKwsiTY4++uhg2TSq4ymadC83RZMeT4omPZYSiaJJl2djEU1XX/dXVDYB37AnH2u25WLLvgIU7c9kkuwlaeydGO1Bu6Rw09i7fXIEIr0uv4BTNPmFq87JFE16LCUSRZMuT4omXZ4UTXo8R48ejWHDhqFNmzZ6QeuIRNGki5nNwHV5BhOt3oomkUqyM9vu3buNXJIPGQ6Hw+zSFhsbi+TkZPPB4ZsARZNvRv7MoGjyh1bdcyma9FhSNOmylGgNWTRJ9tL7i5di47a96Hr2BWbXuF925ppsJhnSaynS60STKDdaxoehU0oUOqdEoWmM11L2Uk1Xg6JJ7x6laNJjSdGky1KiUTTpMqVo0uNJ0aTHUiINHz4c48aNQ0JCgm7gWqJRNNmC2dIi9VI0iWTasWMHXnvtNfMiPzU1FevXr68STSkpKWjdujVOPfVUXHXVVejcubMlGI15EkWT7tWnaNLjSdGkx5KiSZdlQxRNUv4mu8ll5JdgT1YRlq35Dd9sTIcjuilK9jf/9rqdiItwoWm012QtndgqCkcnRSDc4wwaMEVT0AirAlA06bGkaNJlSdGkz5OiSY8pRZMeS4omXZYSbeDAgZg5cya8Xq9+cOWI9VI05efn46GHHsLrr7+OVq1a4fTTTz8Ii/RqEhH1yy+/oFmzZpg9e7b5zFE7AYom3buDokmPJ0WTHkuKJl2WDUk0lZSWI7uwFGk5xdicVoAftuVASuSk2bcMp9OBaK8TCVEetGxSkb3UqUUkkqK9cFjovWSVPEWTVVK+51E0+WbkzwyWzvlDy/dcZjT5ZuTPDIomf2jVPZeiSY8lRZMuS4omfZ4HRZRspg0bNuD888/H5MmTzeeYmJjDVhXZtHr1aowYMcJkNd16660hfmb1OzxFk+71o2jS40nRpMeSokmXZX0XTZK9lF9canov7cwswq+78kx53PaMQkjZnPFHZcWICXOiTXIsjkmOwEmtY9AmIQyS1RSKQdGkR5WiSY+lRKJo0uVJ0aTLk6JJjydFkx5LiiZdlhRN+jwPiigC6bPPPoP8QF2yZEmdq5WUlGDhwoV45ZVXzGeO2glQNOneHRRNejwpmvRYUjTpsqyvoqm4tBxZ+SVIzS3G76kFWLMtB+v35Jvd5GS4JHspzGWylwpSf8fR8Q5c2/csJES59QEeEpGiSQ8xRZMeS4omXZYSjaJJlylFkx5PiiY9lhRNuiwpmvR5HiaavvnmG4wcORIffPABoqOja11RRJNIpkWLFkFecHFQNEkWnB2DokmPMkWTHkuKJl2WR4pokubcOzMlC8na+WUXlGD97orspd1ZRZDWS5K9FOZxokmkG81ivTimWSROaBmFH79ciqyMNAwYMMBa8CBnUTQFCbDa4RRNeiwpmnRZUjTp86Ro0mNK0aTHkqJJlyVFkz7PwyLu3bsX5513Hm677Tb06NHDlM6JcHK73ZDSuszMTBQXF2Pr1q2ml1Pfvn0hW0dyUDRRNAX/XbBu3TojcMeOHRt8MAsRKJosQPJjysqVK7F8+XLcfvvtfhwV+NQVK1Zg1apVZtcRO8ayZcsg94zsOmLHOBJ2nfvs1wzM/XKXaeId6Gga7cEJraJxYqtodGwWgbiIiuwleaNGNtygaAqU7IHjpK+kvE7p169f8MEsRKBosgDJjyksnfMDloWpzGiyAMmPKRRNfsDyMZWiSY+lROKuc7o82Qxcl+dh0UpLS82OcxMnTkTLli0hu8wdddRRiIyMhJTWSRPw7OxsrF27Fk2aNMELL7yAtm3bhvhZ1e/wLJ3TvX7MaNLjSdGkx1IiUTTp8jwSRNMna9Px4opdpq9ViKcpAAAgAElEQVRSIMPpcOD8zgm47rRkUzZXfVA0BUK05mMomvRYSqQ5c+aYDWH69OmjG7iWaBRNupgpmnR5UjTp8aRo0mNJ0aTLUqJRNOkzPSyiCCV5gT937lxs2rQJhYWFVXMcDofJcjrzzDNx7bXX4vjjj7fhGdXvJSiadK8fRZMeT4omPZYUTbosJdqRIJqkBO6T/2fvPMC0qM73/Wxle6X3siCyoiIgoqBiwIomxhJLNKhosCQxRmOJRmI0KhpRRP8IMWpi1Ghs0VhQlI6IFCnSliawS1nY3tv/eo9ZImV359vv2fmxy3Ouywtkz7wzc5/Z75u55z3vWZPj6i5ZYW9bKe5Q2U0RYSGIjwp30+NiIkNRu1xcq7AQDO6RgFPSEg8CJNHEu2YkmngsJZq4LC3a5MmTMXDgQDdTwI8m0cSlLNHE4ynRxGMp0cRlKdHE51lvRJsqt2PHDpgoqW0mmrp06eJkU3l5uZNQh1qZzudDPax3J9HEHR6JJh5PiSYeS4kmLsvDQTRZFlNhWRX2FlVi295SrMwscqvH7SmqgK0qZwlK0ZFhSIkJR4ekVujbPgbpHWPd3w9IXjokHIkm3jUj0cRjKdHEZSnRxOf58MMPY/To0ejfvz8/+CEiSjTxMEs08VhKNHFZSjTxeR4yogkmq8G0a9cumFhKTU1Fu3btEB0dva+/9dm8eTOWLl2KH//4xz4dWfPcjUQTd9wkmng8JZp4LCWauCz/L0XT5T/9mctesmLeGbtKXGHvLXtLUV75XZ2myLAQJMaEo3VcBHq0jkb/zrHo2Toasa3CAoIg0RQQrno7SzTxWEo0cVlKNPF5SjTxmN5777249tpr0bNnT17QeiJJNHExq0YTl6emznF5HhTNps2tWLECU6dOxcKFCxEaGorjjjsOw4cPxxlnnOHm7FuzWk6zZs3C008/jbfffruJj6p5h5do4o6fRBOPp0QTj6VEE5el36LJspc+/mwOvtm4DYNOOxerMouwJqsYOcUV7sSs1lJsq1Akx0agU1Ir9OsQg6M7xqJtfKSn7KVD0ZFo4l0zEk08lhJNXJYSTXyeEk08phJNPJYWyRaDueeee9C2bVtu4DqiSTRxMUs0cXkeFC03NxdXXnkl7GHepshZ5lJxcbGr1XTJJZfg+uuvR1pamhNQEk3eBkOiyRsnr70kmrySarifRFPDjALpoWLggdBquG9T12iy6W9Wb8lkkmUvzVv5LRZlZCMkri0q/1v8OzI8FEnR4WibEIGebaLRv1MsureORnREaMMn0EAPiaagEe4LINHEYynRxGUp0cTnKdHEYyrRxGMp0cRladHGjh2LSZMmuUXJ/GgSTU1I2aTS119/jTPPPNMVAj/rrLOcaNq+fTtefPFFvPXWW+jVqxduuOEGl+E0f/58ZTR5GA+JJg+QAugi0RQArAa6SjTxWFokiSYuz6YSTZVVNSgorUJ2YQU27/luapxNkbNC39ZsdbjYyFCkxkWgU3LUd9lLHWLQOi6ytsY35UQlmigYXRCJJh5LiSYuS4kmPk+JJh5TiSYeS4kmLkuJpvp5hlh9IwAhNWZrmkGzaXOWpfT73/8ec+bM2e+Ibaqc3fQ//vjj2LlzJ+xD3vrbkrSaOlf/4Eo0cS9+iSYeT4kmHkuJJi5Li8YUTfYtXFLxXWHvrLwyrNtZ4qbHbc8pg02bc9/W1RWIbxWK7u0SkdY2Gsd2jkPXlFawrKamaBJNPKoSTTyWEk1clhJNfJ4STTymEk08lhJNXJYSTS1QNFlGk6WpzZ07d7/i33aq5svWrl3r5p9mZma6jKeMjAyJpgZ+rySauB88Ek08nhJNPJYSTVyWLNFUUVXjMpWyC8uxZU8ZVmwrdNlLtpqcNcteimsV5gp7l+75Fp3jqnDlecOREhvBP6EDIko08RBLNPFYSjRxWUo08XlKNPGYSjTxWEo0cVlKNLUw0WSnU1ZWhhEjRuChhx5yfx7YTDatW7cOv/3tb52MOvXUUyWaJJrwxBNPuGw3P5pEE4+yRBOPpUQTl2VdoimnuBLb/puF5GWPJpQydha77CWrw2Sllyx7qVVEqJNJ7RMiXfZSeqdYrPlqNnbtyMQ111zjJXTQfSSagka4L4BEE4+lRBOXpUQTn6dEE4+pRBOPpUQTl6VEUwsUTTZFzqbCWRaO1WI6VDPZtGfPHtx///1ISkpyUkqtbgLKaOJeHRJNPJ4STTyWEk1clnWJprkZeXhpXhZKKqobvcM2cRE4tkscjukUhz7topEYHe5iffLJJ9i2bZtEU6PJ7r+h3UtUVla6hUSaukk0cQm/8MILbpXhUaNGcQPXEc3KMNhCM4d6wdkUBzBlyhSkp6e7eqN+tMmTJ2PgwIEYOnSoH7vDxIkTMWzYMAwePNiX/T322GMYOXIkBgwY4Mv+JJp4mCWaeCwtklad4/JUMfC6eTa7Gk2BXBommwoKClBSUoJ27doFsukR11eiiTvkEk08nhJNPJYSTVyWdYmmWety8cLcrH2rwgW619CQEJxxdDKuOqmdmzb3/SbRFCjN+vtLNPF42gItrVu3xjnnnMMLWk8kiSYuZokmLk+JJh5PiSYeS4kmLkuLJtF0hIom/qXUciNKNHHHVqKJx1OiicdSoonLsi7RtCarGDPW5KC0ogpV1UB+aSV2F1SguKwK3191IyIsBAnR4W56nK0g993aHEBEWChO6BaPYWmJBx2wRBN3DCWaeDwlmngsLZIymrg8ldHE5Tl+/HhcccUV6NOnDzfwIaJJNHERK6OJy1OiSaKJe0W1wGgSTdxBlWji8ZRo4rGUaOKyrEs02b/bKnEFpVWuVpPVXlrybQEyc8tgK8vZCnGpseHokhKFvu1jkN4xFh2SWuGA5KVDHqxEE3cMJZp4PCWaeCwlmrgsLZpEE5epRBOP5+23347bbrsNHTt25AWtJ5JEExezRJNEE/eKaoHRJJq4gyrRxOMp0cRjKdHEZXko0eRFMPVoHe0ylkwwxUeFBXRQEk0B4Wqws0RTg4g8d5Bo8ozKU0dlNHnC5LmTRJNnVJ46SjR5wuSpk0STJ0yeO40bNw4TJkxAQkKC522C6SjRJNEUzPVzRGwr0cQdZokmHk+JJh5LiSYuy++LpmuvG9tgBlMwgqn2yCWauGMo0cTjKdHEY2mRJJq4PCWauDwlmng8JZp4LC2SRBOXZzDRWkwx8KKiIuzevdutNGcryFhByjZt2vhmM4MZhMNhW4km7ihINPF4SjTxWEo0cVk60TRzFpZ9sw6jfnjFd1PkthQgM+97U+TiItCzdRQGdG1cBtOBRyzRxB1DiSYeT4kmHkuJJi5LiybRxGUq0cTjKdHEYynRxGUZbLRmL5psZbmcnBy88847WLRoEVauXOlWmTv22GPdMq22lOlRRx0VLKcWv71EE3eIJZp4PCWaeCwlmngsbYpcfmkVZiz4GjO/3ozYbsfvX4MpLgI9WkfhBJJgqj1yiSbeGFokiSYeT4kmHkuJJi5LiSY+T4kmHlOJJh5LiSYuy2CjNXvRZNlL06ZNw6RJk9ClSxfExMQ4JiagsrKykJ6ejj//+c9ISUkJllWL3l6iiTu8Ek08nhJNPJYSTcGzrBVM+4p8b8l3ggkIcUW+W/9XMLEymA48Yomm4Mfw+xEkmng8JZp4LCWauCwlmvg8JZp4TCWaeCwlmrgsg43WrEWTyaRdu3bhtNNOw89//nNceeWVaNu2rWNSVVWFmTNn4v7774dV17/44ouDZdWit5do4g6vRBOPp0QTj6VEU+NZfl8wfXOIVeSaWjDVHrlEU+PH8FBbSjTxeEo08VhKNHFZSjTxeUo08ZhKNPFYSjRxWQYbrVmLpurqaixcuNCJJPvzwFZRUYG//vWvWLJkCZ577rlgWbXo7SWauMMr0cTjKdHEYynRFDjLhgRTWEUhOsQB5w7p06hV5AI9IommQInV31+iicdToonHUqKJy1Kiic9ToonHVKKJx1Kiicsy2GjNXjR98cUXuPvuu2E335GRkfvxsKymjz/+GC+88ALeeOONYFm16O0lmrjDK9HE4ynRxGMp0eSd5f8EUym+ySzGkm8L9qvBVJvBVLp9JeIqsnH9mCu9Bw+ip0RTEPAOsalEE4+nRBOPpUQTl6VEE5+nRBOPqUQTj6VEE5dlsNGatWiyqXP2QH/GGWe4zKXBgwfvV6Np8+bNmDp1qqvX9MgjjwTLira9HU9eXp6b2vf9Fhoaig4dOrjzKC8vdz8vLi5GWFgYevbs6epNWU2q5cuXu/OOiorC2Wef7UKYVNu+fbubSjho0KCAj1WiKWBk9W4g0cTjKdHEYynR1DBLr4KptgbTVwtmIyMjA9dff33DwQk9JJoIEL8XQqKJx1OiicdSoonLUqKJz1OiicdUoonHUqKJyzLYaM1aNNnJm5C5+eabYVLJ6jDV1miyaXVz5szB559/jilTpmDo0KHBsqJtb8e2adMm3HHHHfti2jS/r7/+GpdccomTYnbcDzzwgDsfE1OWrTVx4kSEhITgF7/4hTtvW23vpZdeQo8ePZxgevzxx52ouu222wI+VommgJFJNI0fz4VWRzSJJi5mW51z3rx5bsqxH23BggVYvHgxbrnlFj92h9mzZ8OumXHjxu3bX05xJbbsKUVlVU2Dx1BeVY1v95Ri6beFyMwrQ02NlfkGkmMj0K9DDEww9esYi/ioMBfLPqslmhrE6rnDe++9h8LCQlx++eWetwmmo0RTMPT231aiicfSItm9q71gHD58ODdwHdEmT57sVmv2637Z7mmHDRvmXq760R577DG3EvWAAQP82B0efvhhjB49Gv379/dlf3/84x9x0UUXoV+/fr7sT6KJh1miicfSItn934QJE5CQkMANXEe0sWPHukXJahcka+qdjhkzxiXSHDiTq6n325j4zV40mYSxm/zf/e53WLduHfLz810WUFJSkpM0Jm5MzBzOzcSTiTK7cOyLsHfv3u7L6eqrr3a/LCaBzjrrLFfsfMiQIe5c33//fTz//POwLKhrr70WdoP30Ucf4a233mrUqUo0NQpbnRspo4nHU6KJx9IiHYmi6YuN+Xh+TiZKKqobBTM0JAQn9UzAVUPb7xNMtYEkmhqFtM6NJJp4PF999VXExcXh/PPP5wWtJ5JEExezRBOXp0QTl6dEE4+nRBOPpUQTl2Ww0Zq9aDIAZWVl2LNnD1asWOGEze7du9GrVy/07dvX/emX0WzsYNjx2w2aFSy3oubr1693b3nsAbtNmzYoKSnBM888gxkzZuC3v/2ty2z65z//iX/84x9Oqp188sn405/+hEcffdRJqsY0iabGUKt7G4kmHk+JJh7LI1U0zcvIw7TZmaisbjij6VC0TTSN6JuEa07pcNCPJZq416dEE4+nRBOPpUWaNm0a0tLSMGLECG7gOqJJNHExSzRxeUo08XhKNPFYSjRxWQYbrdmLJqtNZDUroqOjcdppp+3Ho6ioyAmcSy+9FCkpKcGyapLtLSNrx44d+PnPf45zzz0X1113nctMsjS8nTt3un2Wlpbi5Zdfdmlydj42BcX6zZ8/36VV2zS8rl27on379mjVqpW7CQo0fU+iiTu8Ek08nhJNPJZHqmhav6sEn63OQWlFlYNpvim/pBKZeeUoKvvu36xFhofCinzbf63CbcLcdy0iLBTHdo7DsN6JBw2GRBP3+pRo4vGUaOKxtEgSTVyemjrH5ampczyed911F2666Sb3bOVHk2jiUtbUOS7PYKI1e9FkgsTSwu2iuuqqq/axMIGTnZ2Nn/zkJ7jxxhvdFLrDsVltpunTp8M+ZKy2iE35q0s0/eUvf3H1QGzK3KxZs5xYsv+sQLjVa7JsroKCAtx33304/fTTAzpd42gfrH4VtLVi6G+++aab9udHs/OzB5if/exnfuzOXXsffvjhftdkU+7YpKRlvF1xxRVNuRsXOzMz09U/s98tP9q2bdtgdX78+h3esmWLqyn04x//2I/Tw8aNG1025g9/+ENf9mdTjdesWeOm5/rR1q5diw0bNjiR7kczMbl161Y33fiQLSwCVa2S8W1xFBZuKsDO/HK4QkzlhYirzkN62zCkd4xBfFS4p8O1sbPfP6v94UezWn6WwWuLYPjRlixZ4r5XDnyR01T7tqmd9nLFr7o0lkVsL6wsM7ipm70cssU9bAq8H80+p23REL9q4Nh9SXx8PE444QQ/Tg+fffYZUlNTcdxxx/myv08//RTt2rXzreaOrZrcpUsX32rufPDBB24WwFFHHeULT7snO/roo12WmB/tnXfewbHHHusW1/GjWSkLq3nVrVs3P3bnVte2+lqdO3f2ZX82s8I+pzt27Njk+3vllVfwgx/8wP3++dHspf4555yD1q1b+7E7V2/XnmX9SoqwBbSsnldi4sEvz5rihE3SX3bZZe77wY9mM4TMCQSadNHYY3v22WddAogle/jRnn76aZgTUI2mJqZttY3sptsupi+++MLVIvh+MwHz2muvuYdiu+gOx2Y38JahZDcTDz74oJNGJpOsHpOJI/slsZtuk0smLqw2kzUrBm43WXZeTzzxhHvIWbVqFd59912X6fTUU08FdLomYqyI+PHHHx/Qdo3tbNMF7WHXrxtEm35oUxLtJsOPZlMaTSAcc8wxfuwOlr1n14tluDV1s0K9lrHlV8FJq7tmKyraDakfzSSoZRn6dbOdm5vrivn36dPHj9NzUtpEaGOn2QZ6kCZF7BztAcaPZudm18yBDxO2mlxucSWySiJQktALIcndgdAwREWEol1cGFKxF6HZa4CSnIAO06Zq2++ELcrgRzOpZZ9n3bt392N37nfBvm/8erOblZXlvgftO9GPZuLc7iX8eDgzaW51Ff14MDN2JlzDw8PdIiF+NPtesBtfewHmR7PvPMtm9+vh07LH7T7TShr40ewewko/+PWway8E7GWnyTs/mt2T2bklJyf7sTtXx9Vqt9o5+tHsJYv9Lvj1ML969Wp06tTJt3Ih9lLHvhcOfPZqCrb2fGPfebGxsU0R/qCYK1eudPcQfokKW03c7sns88yPZs/OVl7GLzGybNky98zglxhZunSpe/6KiIjwA6d7OW3Ps/Z960f76quvYLLQL57BnFOzzmiym0N7G3nnnXfC3jQdCNxuVk28mHV//fXXg+HUJNva8duH2XnnneekkX3I2L/Zl5NlN5hEsmlw9tD0q1/9yj1oW40me/tqv7RW4f6ee+5xN+W2Qo+9CbZsKHtLZKYzkKapc4HQarivps41zMhrD02d80rKW78jsRh4cXkVtu4tw1dbCvDlxnzsKapAWGgIkmLC3UpyJ/dKxNEdYhEe9r/pct5oatU5r5y89tPUOa+kGu6nqXMNMwqkh6bOBUKr4b6aOtcwo0B6aOpcILTq76upczyWFskSKmwldb8ytjR1jjt+wURr1qLJpsfZA/3ZZ5/tljG0JUstTdxabe0jK/5nht+WGT3cmmW92C+evUWylNfaZtkpdj5mnH/605+6bBW7wbHMpUGDBrlz/vOf/4yTTjrJZT7ZG/wLLrjAra5nVtUyMQKdAifRxL06JJp4PCWaeCwt0pEkmqz4957CCqzMLML8jDxk7CqBZTbFRIaha2orDO6egBN7xCM5pvFvvVSjiXt9SjTxeEo08VhaJIkmLk+JJi5PiSYeT4kmHkuJJi5Li2ar1FvdZmU08dkeFNFqHP3hD39wNYusDkGtLa3NDLJ0S1u5w6TM4dZsusXvf/97jBo1ys0F/n6z6TtWENyayTMTSibULHvJUiz/9a9/uZXmrNk0tLffftvVPLI060ceeSTg1G6JJu7VIdHE4ynRxGN5pIgm+9y/+tobsDG7BIs2FWDxlgLklVQiPDQEqXEROKZTLE7plYi0djEIDTyJab8BkWjiXp8STTyeEk08lhJNXJYWTaKJy1SiicdToonHUqKJy1Kiic+zwYhWc2Ty5MmumLYJE5MxNifa5n1bRpBfRYQbPNDDuINEE3dwJJp4PCWaeCyPCNE0dz7mfLUCA0degvkb8rApuwSoAWJbhaFnm2iXwXRCt3gkeCz23RB9iaaGCAX2c4mmwHjV11uiicdSoonLUqKJz1OiicdUoonHUqKJy1Kiic/TU0SbKmeFIW1FJSuUagXqrOCmFf5Ta5iARFPDjALpIdEUCK36+0o08Vi2ZNFkC8cVlFVixpdr8N7CDES0PxpFZVWICAtB2/hIHNs5FienJaJ7ajRCgsxi+v6ISDRxr0+JJh5PiSYeS4kmLkuJJj5PiSYeU4kmHkuJJi5LiSY+z/0i2jQxE0qWsWSrOdj0M1uRqr5mqxT4saJME596k4aXaOLilWji8ZRo4rFsqaKpvLIaWXnl+HprIRZszMfWvaVOJsVHhaN322gM6ZmA4zrHuawmdpNo4hKVaOLxlGjisZRo4rKUaOLzlGjiMZVo4rGUaOKylGji89wX0bKWLGPJPkyHDBmCG2+8EStWrIAV/K6r2VLCtuTgb37zmyY8suYfWqKJO4YSTTyeEk08li1NNFXXAPkllVizoxgLN+ZhxfYilFZUIzI8FB0SI3F8lzgM7ZWIzsmtuBC/F02iiYtWoonHU6KJx1KiictSoonPU6KJx1SiicdSoonLUqKJz3M/0bRy5Ur8+te/xrBhw1whbSv6+uCDD9YrmgYOHIjbb7+9CY+s+YeWaOKOoUQTj6dEE49lSxJNJpS255RhybcF+GJjPnbml7vC3iEVxeiaGIIfDu3jin5HRYRyAR4QTaKJi1eiicdToonHUqKJy1Kiic9ToonHVKKJx1KiictSoonPc7+IltW0bt06V+i7tv5SUVERbHqcWuMJSDQ1nt2htpRo4vGUaOKxbAmiqaq6BrnFlfgmqwjzM/KxOqsIldU1TihZ5lJYzga0wR6M+9lPuODqiCbRxMUs0cTjKdHEYynRxGUp0cTnKdHEYyrRxGMp0cRlKdHE51lnRJNOu3btwrx583DeeeehoKAAERERrn6TtdoC4V9++SVsCl2/fv2Qnp7u4xE2n11JNHHHSqKJx1OiiceyuYum4vIqbNlThsVbCvDlpnzsLapAWGgIkmPC0a9jLIb2SsDu9Yuxbs1qjBs3jgtOoskXnhJNPMwSTTyWEk1clhJNfJ4STTymEk08lhJNXJYSTXyedUasrq7GzJkz8bvf/Q7XXnstMjMzXWaT1W+y/0w03XnnnXj77beRkJCAAQMG4IknnkDr1q19PMrmsSuJJu44STTxeEo08Vg2V9FkGUt7CitcDaYFG/KQsasEltkUExmGbqlRGNw9HoN7xCM5JgKzZ8+GXTMSTZzr5sMPP0R2djauuuoqTsAGokg08TBLNPFYSjRxWUo08XlKNPGYSjTxWEo0cVlKNPF51iuabNrCj370I3To0AFdu3ZFcXGxy1565pln0KZNG5x00km444473FS7v/zlL7jppptw6aWX+niUzWNXEk3ccZJo4vGUaOKxbG6iqQZAcVkVNuwuwaLNBViypQB5JZUIDw1B6/gI9O8Ui6E9E5HWLsbVZ7Im0cS9XiSaeDzfeOMNhIeH48ILL+QFrSeSRBMX87Rp05CWloYRI0ZwA9cRbcqUKS4Lf/jw4b7sb/LkybCapkOHDvVlfxMnTnT1VgcPHuzL/mzhoJEjR7qXzn60hx9+GKNHj0b//v392J1bKOmiiy5yszf8aOPHj8cVV1yBPn36NPnu7r33XpdQ0LNnzybfl+1AoomL+ZZbbsEDDzyAlJQUbuA6otmLxgkTJrgkEz/a2LFjMWnSJMTExPixO4wZMwZTp05FZGSkL/sLZichIbYGNBBSY+k/zaxZRpOJpiuvvBKPPPKIk0o7d+7E448/jkGDBrkvFJNM8+fPR0VFBV588UV89dVXeO6555rZmTb94Uo0cRlLNPF4SjTxWFqkRYsWuenGt956KzdwHdEWLFiAxYsXw240altOUaWTR5apVF+rrqlBdkEFvtpSgE3ZJaj9lrJMplPSEnHhCa2REBW+XwiJJu6wSjTxeEo08VhapBdeeAGdO3fGqFGjuIHriCbRxMUs0cTlKdHE4ynRxGNpkSSauDwlmrg864xWO3Xu/vvvx5w5c1y/qqoqvP/++y57yVane/rpp93UOfv3WbNm7ft/nw6x2exGook7VBJNPJ4STTyWh4toWrQ5H8/NyoStHNeYFhEWgtP6JGHMKR0O2lyiqTFE695GoonHU6KJx1KiicvSoimjictUGU08nspo4rG0SPai8Z577tm3qBY3+sHRJJq4hCWauDzrFU0rV67E1Vdfjddeew2pqakoKSnBK6+8gs2bN7uU1SeffBIffPCBm05nN3n297///e8+HWHz2Y1EE3esJJp4PCWaeCwPF9G0cGM+pszajoqqxiXSWgHw4b0TMXZ4R4km7uVxUDSJJh5giSYeS4kmLkuJJj5PiSYeU4kmHkuJJi5Li6apc3UzbdZT5+y0ysrK3Jxkq8dkNZqKiopcdpPNiba5i1Ys3AqCWw0nm+9uU+rM4qrtT0CiiXtFSDTxeEo08VgeLqJpU3YpPl+Tsy+jyabI5ZVUYeveUhSWVe074cjwULRPiET7xEhXl6m2hYeFIL1jrJs+d2BTRhP3epFo4vGUaOKxlGjispRo4vOUaOIxlWjisZRo4rKUaKqfZ7MXTTZ9bsmSJa4I144dO5xcOvbYY10dksLCQpx44onu51agKy8vz/Wzf1OTaGrKa0CiiUdXoonH8nARTd8/I5s+ty2nzBX6XrgpHzvzy11h78TocPTtEIuTeibgmI6xaBUR6gmERJMnTJ47STR5RtVgR4mmBhEF1EE1mgLC1WBnTZ1rEFFAHSSaAsJVb2eJJh5LiSYuS4mmFi6aak+voKAAWVlZiI6ORqdOnbBu3TpXGPyUU05x0+XWrl3rspzOPvts/hXWAiIqo4k7iBJNPGuY6qwAACAASURBVJ4STTyWh5NoqqquQU5xJb7JLMKCDflYnVXkioNHRYSiS0oUBnaNw4k9EtA2IbBVNSSauNeLRBOPp0QTj6VFkmji8pRo4vKUaOLxlGjisZRo4rKUaDoCRFNpaSlWr16NjIwMVFZWonv37m4FOpNPW7Zs8W1pUf6l619EiSYua4kmHk+JJh7Lw0U0FZdXYfOeUpfF9OWmAuwtqoDVXUqOCUd6J8tiSsTRHWL2my7nlYJEk1dS3vpJNHnj5KWXRJMXSt77SDR5Z+Wlp0STF0re+0g0eWfVUE+JpoYIBfZzFQMPjFdDvVWjqW5CzWrqXE1NDXJycrBr1y707dvXnZWtJmc3wi+++CI2bNjgioGfcMIJ+Mc//oHt27djwoQJuP322139JrW6CUg0ca8OiSYeT4kmHsv/a9FkGUvZhRVYua0QCzbmI2NXCSyzKSYyDN1bR2FQt3gM7hGP5JiIRp+0RFOj0R1yQ4kmHk+JJh5LiyTRxOUp0cTlKdHE4ynRxGNpkSSauDwlmlqIaLJ6TEuXLsUzzzzjVpobOnSoy1q64IILXBbTqFGjXJ2mhQsX4p133nGFwu+66y706dMHN954I/eqamHRJJq4AyrRxOMp0cRj+X8lmr76ajGuueFGbNhdgkWb8rH020LklVS6jKXW8RHo3ykOQ3slIK1tjKvPFEyTaAqG3sHbSjTxeEo08VhKNHFZWjSJJi5TiSYeT4kmHkuJJi5LiybR1EJEk2U0bdy4Eb///e9d5tI111yDjh074pJLLsGsWbPc3+0h46mnnnKiybKdpk+fjrfeegvTpk3jX1ktKKJEE3cwJZp4PCWaeCz/T0TTwkWYPmcRBp/1E3yxMR+bskuAGiC2VRjS2kZjcPcEDOgWh4SocMqJSjRRMO4LItHE4ynRxGMp0cRlKdHE5ynRxGMq0cRjKdHEZSnRVD/PZjV1zk7FZJNlLb355pvYs2cPzjjjDIwfPx4zZsxwYun7osnqNb3//vt45ZVX8Prrr/OvrBYUUaKJO5gSTTyeEk08ln6KppoaoKC0Ep8vWY935q1FZIejUVRWhYiwELRLiMRxXeIwtGciuqVGISTILKbvE5Jo4l4vEk08nhJNPJYSTVyWEk18nhJNPKYSTTyWEk1clhJNLUw01Z6OCafdu3cjLy/PZTTZdDpbVW7x4sUuo+ntt992NZoeeughpKam4sEHH+RfWS0ookQTdzAlmng8JZp4LP0STeWV1cjMLceyrQVYuKkAW/eWOplkWUt92sW41eSO7RzrsprYTaKJS1SiicdToonHUqKJy1Kiic9ToonHVKKJx1KiictSoqmFiqba0yovL8dvfvMbrF+/HiNHjnRZTjZd7pe//CXWrFmDmTNnYtKkSRg8eDD/ympBESWauIMp0cTjKdHEY9nUoqm6Bq720uqsIny5MR8rMotQVlGNVuGh6JgUieO7xmNIjwR0Tm7FPanvRZNo4qKVaOLxlGjisZRo4rKUaOLzlGjiMZVo4rGUaOKylGhq4aLJMps2bdqEJ554AsuXL0dRUZE745CQEHTo0AGXX345rrjiCv5V1cIiSjRxB1SiicdToonHsilFU2lFNbbuLcOSby2LKR+78stdYe+QymJ0iavGhcOOxjEdY9EqIpR7QgdEk2ji4pVo4vGUaOKxlGjispRo4vOUaOIxlWjisZRo4rKUaGrhoslWlisuLkZYWBhWrVoFEybWQkNDkZaW5mSTtbi4OP6V1YIiSjRxB1OiicdToonHsilEU1V1DXKKK7EqswhfbMh32UyV1TWIighF15QoRORtQnxZJm657kruidQRTaKJi1miicdToonHUqKJy1Kiic9ToonHVKKJx1KiictSoqkFiybLZsrIyMCCBQtw9dVXH3Sm1dXVWLZsGeyh/0c/+hH/ympBESWauIMp0cTjKdHEY8kWTcXlVdiUXYolWwqwaHMB9hZVICw0BCmx4UjvGIuTeiYiZ9PX+HrZEtxyyy3cE5Fo8oWnRBMPs0QTj6VEE5elRBOfp0QTj6lEE4+lRBOXpURTCxZNJpJmzZqFJ598Eu++++5BZ2qrztmN3XvvvedWnlOrm4BEE/fqkGji8ZRo4rFkiSbLWMouqMCK7YX4YmM+MnaVwDKbYiLD0KN1FAZ1j3f/JcdEuBcBtkiDRBNnHD/55BNs27YN11xzDSdgA1EkmniYJZp4LCWauCwlmvg8JZp4TCWaeCwlmrgsJZpaoGiyTCYr+m0PL1aX6a233sIDDzyw35lan507d2LGjBmIiorClClT+FdWC4oo0cQdTIkmHk+JJh7LYEVTDYCisionlr7anI+l3xa64t/hoSFoEx+B/p3jcFLPBKS1jXH1maxJNHHHT6KJy9NWqLWXUrZ6bVM3iSYu4RdeeAGdO3fGqFGjuIHriDZt2jRXkmHEiBG+7M/uW9PT0zF8+HBf9jd58mQMHDgQQ4cO9WV/EydOxLBhw3xbrOexxx5ziwYNGDDAl/OTaOJhlmjisZRo4rKUaGqBoskymZYsWYLf/e53Tjht3rwZgwYNOkg0ZWZmIjU1Fffccw/OPPNM/pXVgiJKNHEHU6KJx1OiiceyLtFkU97W7SxBeWV1vTsz0WR9TTBtyi5Bjf0DgOjIUAztlYiLB7ZBQlT4fjEkmrjjJ9HE5SnRxOP597//Ha1bt8Y555zDC1pPJIkmLmaJJi5PiSYeT4kmHkuJJi5LiaYWKJosW8nk0ptvvulqNFnx17Fjxx50plYA/Oijj/btbRD/0vUvokQTl7VEE4+nRBOPZV2iyVaKe/bz7bCV4xrTwsNCMCwtEWOHdzxoc4mmxhCtexuJJi5PiSYeT4kmHkuLpIwmLk9lNHF5jh8/3q3q3adPH27gQ0STaOIivvXWW10SRtu2bbmB64hmpRNs5lFKSoov+xs3bhwmTJiAhIQEX/ZnDmLSpEmIiYnxZX9jxozB1KlTERkZ6cv+gtlJSEiIm98QUmP2ppk1O+Q1a9bAbhTtF0at8QQkmhrP7lBbSjTxeEo08VjWJZoWbynA5M+2oaKqcV8DVgD85F6J+PlpEk3c0To4mkQTl7BEE4+nRBOPpUQTl6VFk2jiMpVo4vG8/fbbcdttt6Fjx4PvoXh7+V8kiSYuVYmmunk2a9Fkp2WyKTs7G6WlpcjNzT3oTE2kWWZT9+7duVdVC4sm0cQdUIkmHk+JJh7LukTT1r2l+Hxt7n4ZTZVVNdhVUI4te0r3CajI8FB0SIxEp6RWsCym2mY1mo5qH4NT0hIPOlhlNHHHT6KJy1OiicdToonHUqKJy1Kiic9ToonHVKKJx9IiKaOJyzOYaM1eNFm9pnnz5rlpdFaT6cAWHR3tps4dampdMOBa2rYSTdwRlWji8ZRo4rGsSzQduAebQrdhdwnmrMuFZTuVVFQjPioM6R1jXeaS/dkqItTTgUk0ecLkuZNEk2dUnjpKNHnC5KmTRJMnTJ47aeqcZ1SeOiqjyRMmz50kmjyjarCjRFODiALqINEUEK4m7dysRVPt6nOXXnopysvL0a1bN+Tk5GDVqlX4wQ9+4DKdvvzySzz66KP42c9+1qQgm3twiSbuCEo08XhKNPFYehFNBaWVWL6tCLPX5WJ1VpHNrEZqXDgGd0/AqX2S0Dm5VUAHJNEUEK4GO0s0NYgooA4STQHhqrezRBOPpUWSaOLylGji8pRo4vGUaOKxtEgSTVyewURr1qLJspmWLl0KE00vvvgijjvuOCxevBhPPfWUq9u0YcMG2C/vVVddhYsuuigYTi1+W4km7hBLNPF4SjTxWNYnmqptGnJhBb7cmI/Z6/OQmVuGiLAQdE6OclPihvZKQGL0/ivKeTkyiSYvlLz3kWjyzspLT4kmL5S89ZFo8sbJay+JJq+kvPWTaPLGyWsviSavpBruJ9HUMKNAekg0BUKrafs2e9E0f/58PPjgg/joo49QO43OPvxmzJiByspKvPfee/jPf/6Dv/zlL01LshHR7Xi3b9+O6dOnu62tevypp57qMrPKysrw7rvvoqCgAOHh4ejXrx8GDx6MiooK2IPb+vXrXXX7yy+/3G1bVVXlxJpNHzz99NMDPhqJpoCR1buBRBOPp0QTj2Vdoqm8qgbb9pZiXkYeFmzIR35pJaIjQ3FUuxiXxXR8lzhYfabGNImmxlCrexuJJi5PiSYeT4kmHkuLJNHE5SnRxOUp0cTjKdHEY2mRJJq4PIOJ1qxFk02dM7liy2uaWLKi3xkZGTj33HOdYIqPj8e//vUvfPXVV7AboMOpmWSqlRE23c9aVFQUrr32WqSnp+P999/HM888g549ezqJtGfPHpepZdLpF7/4BRITE52ksn87+uijkZWVhYceegjHH388rr/++oBPVaIpYGQSTePHc6HVEU2iiYt50aJFrq6drTpirbi8Gmt3FLupcl9vK0RFVbXLXDquSxxO65OE3m1j8N3ipI1rEk2N41bXVhJNXJ4STTyeEk08lhJNXJYWTaKJy1SiicdToonHUqKJyzLYaM1aNNnJW22mG264ARdffDFGjx7tVp+75JJLkJKSgrZt22L27NkYM2YMbrzxxmBZUbe34zSRZA98b7311n6xTfqcddZZuPnmm92xm4i64IILcP755+OUU06BfbhbttMLL7zgtrvmmmvw3HPPYdmyZXjppZcadZwSTY3CVudGymji8ZRo4rG0SLWi6Ve/uhV5JZVYurXQSaaMXcUIDQlB2/gInNQz0U2Xa58YGfTOJZqCRrhfAIkmLk+JJh5PiSYeS4kmLkuJJj5PiSYeU4kmHkuJJi7LYKM1e9FkmUErVqzA6tWrcdlll7npc/Zg8+c//9lNnevYsSPuu+8+dOrUKVhW1O3z8vKcGDv22GMxYMAAF9tWyLOpcHYuNv1tzZo1SE1NRUlJCZ599lk3xe6ee+5xb2XeeOMNvPzyyyguLsagQYMwefJk/OlPf0KPHj0adZwSTY3CJtHExXbIaBJNXMgmmmbPmYvLr70JX2zMx9yMPOzKL3dT47qlRmF470QM6ZGA2FZhlB1LNFEw7gsi0cTlKdHE4ynRxGMp0cRlKdHE5ynRxGMq0cRjKdHEZRlstGYtmmzqXH5+visI/v26RPbv27Ztc3WOkpKS0Lp162A50bc3sXPMMce4/7p37+4ys+wBcOrUqbCfjR07Fjt37nT7tewnk0r2s1deeQW33HKLy3Bavny5k0wmpGyKXUREhJNVP/rRj9w0wkCaRFMgtBruq4ymhhl57SHR5JWUt36LFi/Dvz6ei97Df4xFmwtQVFblpFK/DrGuHlP/zrEIDw1irtwBhyHR5G1cvPaSaPJKyls/iSZvnLz0kmjyQsl7H9Vo8s7KS09NnfNCyXsfiSbvrBrqKdHUEKHAfq4aTYHxasrezVo0WfbS119/jUcffRSvvfZaU3Kix87OzkavXr3w+uuvu2lyhYWFuOuuu5wcM4l0KNFkBc1nzpyJV199FQsXLnTTA02qmUhbu3aty+CyuDfddBPOPvvsgI7ZRNOdd97p6l350UwQfvDBBy4LzY+Wm5sLe0CzaZV+NKupZWPl12qHu3fvxty5c3HhhRc2+emZALXrz65TP5oVuF+yZInLAPSjmaQ2iWu13vxoJiUti9E+B5q8hUdhc14NPlu9F6GpvVBVVQ2UFyK5aheObx+Gnm2i6YdgdfS2bNmCM844gx77UAHXrVvX6EURGnOAJvrt92/48OGN2TzgbVatWgX7PLNp1H40yxi276ehQ4f6sTv3nW7fgyeeeKIv+7PPFruXsJc2Td2sXmRoaChOOOGEpt6Vi//ll1+iVatWbkVeP5pJZXvJ1b9/fz9250oP2MtEq2vpR5szZw7atGmDvn37+rE7dw9h2fi9e/f2ZX+fffaZW4zG7k39aHZPlpaW1uhM/ECP8eOPP3Y1Tbt27Rropo3qb/e4Nmuhc+fOjdo+0I2stqt9tthMDj/av//9bwwZMgTt2rVr8t3ZC4Fhw4a53z8/2ptvvukSGGxWiR/NZqmMGjXKfZ750eyZ2e5xExIS/NidS5L44Q9/iNjYWF/2Z8kZ9vxlyRd+NCtbY8+z9n3rR7PSOeYEbBGxw701e9FkdYluu+02/PWvf3VZPc2lmYiwmz97AzhixAiXtfT888/DvuhNFNkUuo0bN7qbNps6Zz+zguf2YWvNbsTtS8VqNd1///0455xz3MOxFUGfNWuWm0oXSDPR9Jvf/Ma3hxc7Jxs7vx5ebIqh8TnppJMCwdLovvZgZpk4fj0s2eqE9sBrKxM2dbNpn1Z0f+DAgU29KxffHqo3bdq0b4ppU+/UfhdM/lhhfT+ayWGTaXZD2lStugbIKa7ExvwwFMX1BOI7uKyldgkR6B5ThMi9a1FTmt8kuzcxaefo18Pgjh07XF07e6Dwo9nYmTj36+HTRKh9nvXp08eP08PWrVvd95NfD7smJe2liV8Pu5s3b3aiyY/7B/tON9FkWcx+NJO8toCIyQM/mq2Ga4uadOnSxY/dwaSyrb7r14O8fcfag5lfD/L2AiI5ORnt27f3hadJbHtx6Yc4sBMyiW3n5pc8sHtAGzu/ZjnYPa5JLXsp7Eez2R1WPsMvWbF48WInCm1xoqZuNuPDvmNtkSc/mkl6W+070NkhjT22L774wt0D2ueZH81eCtg9rl8ixl4K2Mscv0SMvXi35y+/RIzVgz755JPd960fzZ7zzQv4dX7BnFOzFk2WzWMPFSaarPC3yZYOHTrsxyMkJMR9MDW2dlEwcOvb1h7WrYC5ZTFYyqSJgl/96lfuC96Ke9v0N6szZedkfX/+85+7Xxo7V7sJt4wSu8h+97vfoaKiwsWyD317g/Lhhx+6aXaBNE2dC4RWw301da5hRl57aOqcV1KH7ldZVYPMvDLMz8jD/A152FtUiaiIUPRqE43hvZMwsHs8oiNCg9tJPVtr6hwXrabOcXlq6hyPp6bO8VhaJE2d4/LU1DkuT02d4/HU1DkeS4ukqXNcnsFEa/aiyaaM2dQ5Szs0mXTgW97aNPW77747GE70bS0j6R//+IfLaLJ0O6vRZAbWjvOoo45yGUmffvopfvzjH7u3yZa9ZF+SZrztraj93abH2VQpy44y0WRpgvZQbllCV111VUDHLNEUEK4GO0s0NYjIcweJJs+oDupYWlGNjF0lmLM+F0u2FKCkohohlSXonlCNy07vh77tYxBGrMd0qCOVaGr8+B1qS4kmLk+JJh5PiSYeS4kmLkuLJtHEZSrRxOMp0cRjKdHEZRlstBYhmp588sk6OZhosnoBN954Y7Cs6Nvb9IeHHnrIiSJLfzNpZNPorFmG0x133OH+bqmG9jObL1xVVeXqufznP/9xNZWsmbSyueeWzWRpnrYyXaCpuhJN3OGVaOLxlGhqHMv80kos31qI2evzsCarCEAIUuMikFiWiaSyrbj1+isbFzjArSSaAgTWQHeJJi5PiSYeT4kmHkuJJi5LiSY+T4kmHlOJJh5LiSYuy2CjNWvRFOzJa/v/EZBo4l4NEk08nhJNgbGsrqlBdkEFFm7Kx5z1ecjMLUNEWAg6J0fhlLREhO9di5VLFuLWW28NLHAje0s0NRJcHZtJNHF5SjTxeEo08VhKNHFZSjTxeUo08ZhKNPFYSjRxWQYbrVmLJqvRlJWV5Yo8H2qVNSvwacUwbUUgK9KlVjcBiSbu1SHRxOMp0eSdZXlVDbbuLcW89XlYsDEfBaWViI4MdVPkTu2dhOO6xOHrpYvdak0STd651tfz888/d8Xxr7/+ek7ABqJINHExSzTxeEo08VhKNHFZSjTxeUo08ZhKNPFYSjRxWQYbrVmLJhNJVnndps7Z6msHNiua/dZbb2H69OluGUA1iabHH3/cl8tAoomHWaLJG8vi8mqs2VGE2evysHxbISqqqpEYHY7ju8Th1D5J6N02BiEhgK3eItHkjamXXhJNXih572Mrp9qqnbbyqh9NoolHWaKJx1KiictSoonPU6KJx1SiicdSoonLMthozVY02Upslq1kK629/PLLeOqpp/ZjYdlOtqy21S6yGkh/+9vfgmXVordXRhN3eCWaeDwlmupnWVMD5JVUYsm3BW6qXMauYoSGhKBdQiRO6pmAk9MS0T4hcl8QiSbetWmRJJq4PCWaeDxfffVVV7fx/PPP5wWtJ5JEExezVp3j8lQxcC5PiSYeT4kmHkuJJi7LYKM1S9FkmUzLli3DH//4R2RnZ2P9+vUHTY0z0bRr1y5XKNumiPz0pz8NllWL3l6iiTu8Ek08nhJNdbOsqq7BzvxyLNiQj3kZedhVUI7I8FB0T43C8N6JOLFHAmJbhe0XQKKJd21KNHFZWjSJJh5TiSYeS4s0bdo0pKWl7Vu0hRv94GgSTVzCEk1cnhJNPJ4STTyWEk1clsFGa5aiySTS2rVrXRZTZmamq9F07rnnHsQiNjYW6enpuPjii2F/V6ubgEQT9+qQaOLxPBJF096iCqzcXgSruVRfs+lx3+4pxZJvC1FUVuW6Wk2mfh1iMbJfMvp3ijtoc4km3rUp0cRlKdHE5SnRxOUp0cTlOXHiRAwbNgyDBw/mBq4jmkQTF7NEE4+nRBOPpUQTl2Ww0ZqlaKo9actsWrFiBV5//XU89NBDwbI4oreXaOIOv0QTj+eRKJqsxtKkGdtQWlHdKJDhoSFu2ty40ztJNDWKoPeNNHXOOysvPZXR5IWStz4STd44ee0l0eSVlLd+Ek3eOHntZbM8LrroIvTr18/rJkH1k2gKCt9+G0s08VhKNHFZBhutWYsmO/mCggIsXboUnTp1Qq9evVA7Ze7TTz9FeXk5+vfvj0GDBgXLqcVvL9HEHWKJJh7PI1E0fb21EE99urXBjKa6KIeFhmBIjwTcNEKiiXclHjqSRBOXsEQTj6dEE4+lRZJo4vKUaOLylGji8bzrrrtw0003oWvXrryg9USSaOJiHjduHCZMmICEhARu4DqijR07FpMmTUJMTIwv+xszZgymTp2KyMj/1V/1ZceN2EmzF00VFRV45JFHMHToUIwcORL2/w888ABee+01pKamug+Jhx9+2EkotboJSDRxrw6JJh7PI1E0ZeWVY/a63P0ymiqra7ArvxwZu0pQVvldplOr8FB0SWmFrilRMLlU28JCgV5tojG0V+JBA6Gpc7xr0yJJNHF5SjTxeEo08VhKNHFZWjSJJi5TiSYeT4kmHkuLdMstt7hn85SUFG7gOqJJNPmC2dNOmrVosuylzZs348ILL8QHH3yA9u3bY+XKlRg+fDiuv/56DBgwAG+99ZaTUGaL1SSaHn/8cV8uA4kmHuYjUTQdSK+8shqbsksxa10uFm3OR0l5NWIjw3BMp1icflQS+nWM3U801Udfool3bUo0cVlaNIkmHlOJJh5LiSYuS4kmPk+JJh5TiSYeS4kmLkuLpowmPtNDRrQaTfPnz8d9993n3irbVDkzpv/+97/d/ycmJrqbVqvhZDdcahJNEk3B/xasW7cOr7zyCmx+vh/tSBdNxeVVWJVZjFlrc7BiexGqa2qQGB2Ogd3icfpRyejROiqgYZBoCghXg52V0dQgooA6SDQFhKvezhJNPJYSTVyWEk18nhJNPKYSTTyWEk1clhJNfJ51RrSMpo0bN2L06NH4wx/+4KbNPfroo7jqqqtwxx13oLKyEv/6178wY8YMN7deTaJJoin43wKJpuAZfj+C1Zizz6gDsy5tvbn8kkos3lKAmWtzsSm7BCEIQduECJzcKxGnpCWiXULg87MlmrjjJ9HE5SnRxOMp0cRjKdHEZSnRxOcp0cRjKtHEYynRxGUp0cTnWW9Ey2K67bbbsGbNGpfRlJycjCeffBLdu3dHdnY27rzzTpx11ln4yU9+4vORNa/dqUYTd7w0dY7H80jMaLKspeyCCszfkI+563OxI78cEWEh6JIShVP7JOGkHgmIiwprFGSJpkZhq3MjiSYuT4kmHk+JJh5LiSYuS4kmPk+JJh5TiSYeS4kmLkuJJj7PeiNaVtPWrVtdRoCJpiFDhuD44493q8/t2LEDL774Im644QZXGFytbgISTdyrQ6KJx/NIE00VVTXYnlPmioEv2JiPgtJKREWEok+7GIzom4TjOschMjy00YAlmhqN7pAbSjRxeUo08XhKNPFYSjRxWUo08XlKNPGYSjTxWEo0cVlKNPF5HhSxpKQExcXFnuRRIH19OPTDdhcSTdyhkWji8TySRFNpRbVbVe7ztTlY+m0hrAh4fFQYju0c54p+920fi5D/LS7XKMgSTY3CVudGEk1cnhJNPJ4STTyWEk1clhJNfJ4STTymEk08lhJNXJYSTXye+0W0TCWrETNr1iyXqWTN/i0vL89NlUtLS9vX34qFW985c+a4VejU6iYg0cS9OiSaeDyPFNE07he/xoptha4e0+qsIliNppTYCAzpkYDhfZLQJbkVBapEEwXjviASTVyeEk08nhJNPJYSTVyWEk18nhJNPKYSTTyWEk1clhJNfJ77RTR5NHv2bEycOBHvvvuu+5n92/Lly/H+++/j3nvv3de/qqrKCamnn34ab7/9dhMfWfMOL9HEHT+JJh7PI0E0vfn+Jzjlwuswd30etuwpRVhoCDokRmJYWpIr+p0cG04DKtFEQ+kCSTRxeUo08XhKNPFYSjRxWUo08XlKNPGYSjTxWEo0cVlKNPF5ehJNJpSeeuopvPPOOxJNjRgDiaZGQKtnE4kmHs+WLJqqqmuwaGUGpr23ELE9h2BvUYWrv9SjdZSbKjewWzxiIhtX9LuuEZBo4l2bEk1clhZNoonHVKKJx1KiictSoonPU6KJx1SiicdSoonLUqKJz1OiqYmZWniJJi5kiSYez5YqmsqrarAluxSfrtqNeeuygfAoJ5X6dYzBaX2SXF0my2xiN4kmLlFlNHF5SjTxeEo08VhKNHFZSjTxeUo0kG4QswAAIABJREFU8ZhKNPFYSjRxWUo08XkeJJose+nhhx92K8pZs6lzCxcuxNSpU/HCCy/s629T5+zf//GPf2jqXAPjItHEvXAlmng8W6JoKimvdnWYrB7T8m2FsMymhOhwl8F02lFJ6Nk6Ouii33WNgEQT79q0SBJNXJ4STTyeEk08lhJNXJYSTXyeEk08phJNPJYSTVyWEk18ngeJppkzZ+K6667DBRdc4H5mxcAzMzOxZMkSnH/++fv627/v2LEDFRUVEk0STXjiiSfw+OOPN/EV+l14iSYe5pYmmvJLKrHk20LMWpuLjN3FqKmuRnJMGE7rm+pqMrVPjOTBO0QkiSYuXokmLk+JJh5PiSYeS4kmLkuJJj5PiSYeU4kmHkuJJi5LiSY+z/0imjyywt933303CgoKGtxbWFgYzj33XPz2t79tsO+R3EEZTdzRl2ji8Wwpoqm6pgZ7CiuwYGM+5qzLRVZeOcLDQhBZnoce0fm4+ZIzXFZTUzeJJi5hiSYuT4kmHk+JJh5LiSYuS4kmPk+JJh5TiSYeS4kmLkuJJj7PgyIWFhZi3bp1yM3NbXBvoaGhOOqoo9ChQ4cG+x7JHSSauKMv0cTj2RJEU2V1DbbnlGH2ulx8sTEfeSWViIoIRVrbaCSXfouCzUtw+69/xYNWTySJJi5miSYuT4kmHk+JJh5LiSYuS4kmPk+JJh5TiSYeS4kmLkuJJj5PRfSBgEQTF7JEE49ncxdNZZXV2LCrxNVjWrylAPb/ca3C0L9znFtZriRrLWZ+/hluv/12HjSJJowbN84XnhJNXMwSTTyeEk08lhJNXJYSTXyeEk08phJNPJYSTVyWEk18noroAwGJJi5kiSYez+YsmorKq7BimxX9zsHqrGLY9LnkmAgM6ZGAYb0T0S01CkuXLsWMGTMkmkiXzOzZs2HXjEQTB+iHH36I7OxsXHXVVZyADUSRaOJhlmjisZRo4rKUaOLzlGjiMZVo4rGUaOKylGji81REHwhINHEhSzTxeDZH0VRTA+SWVGLRpnzMXp+LzdmlCAsNQbuESCeYTumViNS4CAdJool3rVgkiSYuT4kmHs833ngD4eHhuPDCC3lB64kk0cTFPG3aNKSlpWHEiBHcwHVEmzJlCtLT0zF8+HBf9jd58mQMHDgQQ4cO9WV/EydOxLBhwzB48GBf9vfYY49h5MiRGDBggC/7s9WxR48ejf79+/uyP4kmHmaJJh5LiSYuS4kmPk9F9IGARBMXskQTj2dzE01V1TXYVVCBeetzMTcjD9mFFYgMD0G31Gic1icJg7vHI7ZV2D5AEk28a0WiicvSokk08ZhKNPFYWqQXXngBnTt3xqhRo7iB64gm0cTFLNHE5SnRxOMp0cRjKdHEZSnRxOfpOaKtSGcp/hUVFejYsaPn7dQRkGjiXgUSTTyezUk0VVTVYMueUlf0+8tN+Sgsq0J0RCiO7hCL0/smoX+nOESEhewHR6KJd61INHFZSjRxeUo0cXlKNHF5KqOJy1MZTTye9957L6699lr07NmTF7SeSBJNXMy33HILHnjgAaSkpHAD1xHNSidMmDABCQkJvuxv7NixmDRpEmJiYnzZ35gxYzB16lRERkb6sr9gdhISEuIeekJqzNI001ZdXY25c+di+fLl2LRpkxNNPXr0QN++fXHyyScjMTGxmZ6Zf4ct0cRlLdHE43k4iKa9RRVY+m2hK+RdXyuvrMam7FKs2F4E+7s1y146pmMsTu2ThOO6xB20uUQT71qRaOKylGji8pRo4vKUaOLylGji8pRo4vGUaOKxtEi33nor7rnnHrRt25YbuI5oEk1czBJNXJ71RjPJNGvWLDz44IMoKSlBRMR3dU+sWS0Em4/961//GlFRUT4eVfPblUQTd8wkmng8DwfR9E1mEZ74ZCtKK+oXTXWdtdVnsilzt5zRWaKJd2kcMpJqNHEBa+ocj6dEE4+lRZJo4vKUaOLylGji8ZRo4rGUaOKytGjKaKqbabPPaMrNzcUll1yCLl264Pzzz0dSUpI7WxNQ8+fPx9tvvw0rqHjiiSfyr6wWFFGiiTuYEk08noeDaFplomn61gYzmuoTTQO7xeOXP5Bo4l0Zh44k0cQlLNHE4ynRxGMp0cRladEkmrhMJZp4PCWaeCwlmrgsJZrq59msRZPN9lu5ciUuvfRSfPbZZ+jQocN+Z1teXo7x48fDpgc+9NBD/CurBUWUaOIOpkQTj+fhIJp2FZRj3vo8lB4wda64rBrrdhVje06ZO+FW4aHomhqFXm2iERb6PwaW0dQtJQpDeh48X1xT53jXikWSaOLylGji8ZRo4rGUaOKylGji85Ro4jGVaOKxlGjispRoasGiqXba3COPPIKPP/74oDOtqqrC9OnTXcEsy2xSq5uARBP36pBo4vE8HETToc6mpLway7YW4oMVe7Apu8RJpr4dYnBWegrSO8bC5JKXJtHkhZL3PhJN3ll56SnR5IWStz4STd44ee2lqXNeSXnrp4wmb5y89pJo8kqq4X4STQ0zCqSHajQFQqvhvpo6VzejZp/RtHbtWjdlzuo0HbjSnBUFf+aZZ7B69Wo899xzDV8pR3APiSbu4Es08XgejqLJJNPX2wrx0co9yNhV4laS69MuBucf19pJpu/WWPDWJJq8cfLaS6LJKylv/SSavHHy0kuiyQsl730kmryz8tJToskLJe99JJq8s2qop0RTQ4QC+7lEU2C8Guot0dRCRZOdVmlpKc4991ykp6fjggsu2LfCnGU7LVmyBK+++qqrrn/RRRc1dJ34+nOTYJ9++ilWrFixb7+2LKJV5rdmhc3/9re/IS8vzxU4P+GEE3DaaafBpgPOmDHDbRcbG4ubb77Z9a+srHRCbfPmzU68BdokmgIlVn9/iSYez8NNNB1KMtlUuXP7p2JA1/iAJJNRkmjiXSsWSaKJy1OiicdToonH0iJJNHF5SjRxeUo08XhKNPFYWiSJJi5PiaYWLJpMKJl4sRpMoaGhiI6Odmdr9Zu2bduGYcOGuZ8lJydzr6ogoxUWFuK2227D119/jdNPP91FM3H0+9//HmVlZfjnP//pJNmxxx7r5JJJpEmTJqFVq1b4xS9+gV69eiEjIwMPPPAAjj/+eGzduhX3338/Ro0ahSuuuCLgo5NoChhZvRtINPF4Hk6iqayyGlYY/L1le7B+V7HLZOrZJhrnHGOSKc7zdLnv05Fo4l0rEk1clhZNoonHVKKJx1KiicvSokk0cZlKNPF4SjTxWEo0cVlaNImmFiya7NRMNs2cOdO9yc7KykJRURFat26No446ymU7devWjX9VBRnRRNNvf/tbxMXFYcKECftF27NnD0aOHIk777wTl112GWxlPSt4Pnz4cIwYMQJ//OMfXc2pl156yZ37mDFj8MQTT2Dnzp3uRqExTaKpMdTq3kaiicfzcBFNJpnWZBXjw5V7nGwKDw1xRb/PDkIyGSWJJt61ItHEZSnRxOUp0cTlqYwmLk+JJi5PiSYeT4kmHkuJJi5Liab6eTbrGk0HnpplMZkwMYnTpk0b2FS0w7XVZjStW7cO55xzDiIjI93UOMtOsmlxJprsZ5aJZdPopkyZgg8++AD33Xcf7MvrzTffxN///nf3M8t6sr9bdlOXLl0adcoSTY3CVudGEk08noeDaDpQMoWGhKBbahRGH5uKgd3iG5XJVEtIool3rUg0cVlKNHF5SjRxeUo0cXlKNHF5SjTxeEo08VhKNHFZSjQdAaLJMpjmzp3rMn9ycnLcn7XNptNZ/abzzjuPf2UFEdGmw/373//G4sWLXVaSHbf9N378eGzcuNGl4VmGkjWrQ/Xyyy+71fNsSp3VcRo6dCg2bNjg5JQ9qPbt29fVc7Lpdz/72c+QkHDwMur1Ha5EUxCDeYhNJZp4PP+vRVN5ZTXW7SzBe8uz8U1mEUwydUlp5TKZTuwRj8iw0KBOVqIpKHwHbawaTVyemjrH4ynRxGNpkSSauDwlmrg8JZp4PCWaeCwlmrgsJZpauGiyItj/7//9P7zyyitOrti0M5MmtS08PBw/+tGPDpqexr/MGh/RMrGsiPdPf/pTXHvttWjbtu0hRdNf/vIXt7qeCSp7OLXzzczMRL9+/TBv3jy0b9/e1Wqy6XZ2zoE0Y2ZT+ayguh/NMrpsuuPo0aP92B3y8/OdjLSplH40k51ffPEFzj77bD925675r776CmeeeWaT7y87OxvLli1zWXd+tF27dmHlypU444wz/NgdduzYgTVr1nxXOy00HOWtWmNjZVusyCxGTXUVwktz0BmZOL5zNCLDAlhero6jt99hk8Y2NdaPZrXrtmzZglNOOcWP3cGk6/bt250c96Nt2rQJds0MGTLEj925sbPfv8GDB/uyv/Xr17vPs4EDB/qyP1vZtbi4GAMGDPBlf1aP0F7EHHfccb7sb9WqVe5lT//+/Zt8f5atXPvyq8l3BrgakJYtffTRR/uxO3dfYpnkVrbAj2Yv6uw+qHfv3n7sDosWLUJKSoqrkelHW7hwIdq1a4fu3bv7sTssWLAAnTp1QteuXX3Zn92T2bl17tzZl/3ZS4i0tLSDVqhuqp3bPa69BLZ7cz/aZ599hmOOOcY9Q/jRbEEjm4VhpUqauk2fPh2DBg1yv39+tI8++ggnnXQSkpKS/Nidm7FiNYUDTRJo7MG9//777h7Xyrf40ey51WoI19ZRbup9vvPOO262kNU19qO99dZbbiEuW7zLj2YvrZ5//nn3/X64t2Y9dc4Ejd3kW7aSXcCHuvG2mzr7YvHroaqxA24PDpapZKvL2VQ4k0X2QJGYmOimx02bNs2Jktdff93twrKc7O92I2KrB9gFbjeV7733HuzL5tlnnw3oUOxB6Y477nAc/Wj24DJ//nzfZIWJrS+//NI3WWHjaase1hZ6b2qmls1m43/qqac29a5c5p09nNmXoh/N5LE97J588sl+7A67d+92hfYHnXgStuVVYXVhAqqTeyI0NAzt48NwbEoJInIyUFNVQTkey1w08XPiiSdS4jUUxOrYmWzyS4yYZDJ555cYMdluMtQvMWIizX4n/BIj9lKioKDAFzFi15Jl2Np3kGUG+9Hsd89Ek71A8aPZFHUTTfZA2NTNBLbdk/Tp06epd+XiWzao3YjaPZAfzb4X7EGiZ8+efuzOlRmIj4/3TcTYd6yVM/BLxJi4szIQfokYE3cmRUw2+dFM3Nm5dejQwY/duftlE1sm7/xoJu7sd8/G0I9m99QmeVNTU/3YnXsmse8FPxZbMklo37H2TORHM0loz2N+iR97brN7QL/Ej0lCu6f2q8TMJ5984l6mRkVF+TF8+Pjjj11NY79EjGV+2/OzJbf40f7zn/9INPkBurYIuAkS+6Xx48OOdV4mil577TVXyNvOw24Ir776ardCnt2EXnjhhfjDH/7g/rTsGJsO94Mf/AC//OUvUVFRgTlz5rhV6axmk8WyDCa7KbGLz8y/1XQKpGnqXCC0Gu6rqXMNM/La4/9i6tzb776Hn4y9FR+u2IOlWwtRUwO0T4zE2ekpGNYnMejpct8/d02d83oleOunqXPeOHntpalzXkk13E9T5xpmFEgPTZ0LhFbDfTV1rmFGgfTQ1LlAaNXfV1PneCwtkiUo3HPPPb5lv1kihdUR9isjbdy4cW4mk1+iUKvO1X19NvuMJsv6sQG24th+vTVg/LpbBsrll1/uDK+JJhMT9qbTvpjM+P71r3919Zhs6pW93bXsGPuZva2wN7CPPfaYW4nOfm6S6IorrnBZW5bhZdPD7GeBNImmQGg13FeiqWFGXnv4LppWrsK0V/+NniOuwtJvC5xkapcQiTPTk3FKWiJiIsO8HrqnfhJNnjB57iTR5BmVp44STZ4weeok0eQJk+dOEk2eUXnqKNHkCZPnThJNnlE12FGiqUFEAXWQaAoIV4OdJZpaqGiy0zIJY7WFLP3vuuuuOyhNLiQkxM3RPNwklB23TXMzgWTN5JJlN9WuGmcFzv/0pz+5n1nq31lnneXmC1dVVblpPZ9//jnM2NYysIcr+zcrBn7TTTcFPK9YoqnBz5GAOkg0BYSr3s5+iqaq6hosXvMtJr29EOEd+qP6v5lMo/o1jWSyE5do4l0rFkmiictToonHU6KJx9IiSTRxeUo0cXlKNPF4SjTxWFokiSYuT4mmFiqaaotoP/jgg65e0UUXXXRQ4S/LErLieDfffDP3qmph0SSauAMq0cTj6ZdoMsm0dW8ZPli+G/PX70VIeATaxEfizH4pOLUPP5OplpBEE+9akWjisrRoEk08phJNPJYSTVyWFk2iictUoonHU6KJx1KiicvSokk0tVDRZFPOrPjk448/XucZmmiy4tq//vWv+VdWC4oo0cQdTIkmHk8/RJNJpm05ZfhgxR4s2lSAiupqtI6LwBl9kzHiqGTERXGny32fjkQT71qRaOKylGji8pRo4vJURhOXp0QTl6dEE4+nRBOPpUQTl6VEU/08m3WNJjs1m2JmKwzV12xaml+rTPAvX38iSjRxOUs08Xg2tWiqrqlBVl45PlyxF/Mz8lBeVYWUmDCMTG+N0/okITG6aVeRkGjiXSsSTVyWEk1cnhJNXJ4STVyeEk1cnhJNPJ4STTyWEk1clhJNLVw08S+XIzOiRBN33CWaeDybUjSZZNqZX4Hpq/ZiXkYeSsqrgPIC9IktxC8vPa3JJZNRkmjiXSsSTVyWEk1cnhJNXJ4STVyeEk1cnhJNPJ4STTyWEk1clhJNLVw0WZ2mrKwsV0fC/jyw2dS53r1745JLLuFfWS0ookQTdzAlmng8m0o0fSeZyjF9VY6TTMXlVUiKCUf7mh0I27EMd//ml7yTqCeSRBMXs4qBc3mqRhOPp0QTj6VFkmji8pRo4vKUaOLxlGjisZRo4rKUaGrhoqmiogJ33nknPvnkEyQmJqK4uBj2kG91mXbs2IHt27fjD3/4g6uwr1Y3AYkm7tUh0cTj2RSiqaYG2FVQjo9X7cXc9f+TTMN7J6FNxVYsnDUdd999N+8kJJpwyy23+MJToomLWaKJx1OiicdSoonL0qJJNHGZSjTxeEo08VhKNHFZSjS1YNFk2UwZGRkYOXIkbrzxRpxwwglYs2aNW4HOPuC3bNmCZ599Fvfffz/OOuss/pXVgiJKNHEHU6KJx5Mtmkwy7SmqwKff7MVna3L3ZTKZZPrB0cnI2rQG77//vkQTaQgXLFiAxYsXSzSReNpLlW3btuGaa64hRaw/jEQTD7NEE4+lRBOXpUQTn6dEE4+pRBOPpUQTl6VEUwsWTbbq3MyZM51Imj59OiIjI2Fvs5966im88847sGynJ598Env27MEjjzzCv7JaUESJJu5gSjTxeDJFU61k+mx1Dmaty0VeSSUSosIxvHciRqWnuJXmVqxYIdHEGz5INBFhAi57V6KJx/Ttt99GZWWlL9PrJZp44ybRxGUp0cTnKdHEYyrRxGMp0cRlKdHUwkXTypUrMXbsWHz55Zcw8bR8+XJcffXVWLhwoRNPlpnw4osvwm4m1eomINHEvTokmng8WaKpVjLN+K9kyi+pRFyrMAztlYizj0lBu4RId9ASTbyxs0gSTVyeEk1cnhJNPJ5///vf0bp1a5xzzjm8oPVEUo0mLmZNnePylGji8ZRo4rGUaOKylGhqwaLJTi0nJwcXX3wxHn/8cQwYMMBlL51yyim47rrr0K5dO/znP/9B9+7d8eijj/KvrBYUUaKJO5gSTTyeLNGUU1yJz9fk4NPVOaiVTEN6JuDM9BR0Smq174AlmnhjJ9HEZWnRJJq4TCWaeDwlmngsLdKUKVOQnp6O4cOHcwPXEU2iiYtZoonHU6KJx1KiictSoqmFi6aqqiq8+eabCAkJcanvlgL/3HPP4Z///Ceio6NhP58wYYKr36RWNwGJJu7VIdHE48kQTbnFlZi9PheWzbSnsMJlMh1KMtlRSzTxxk6iictSoonPU6KJx1SiicdSoonL0qI99thjrqarvZT2o0k08ShLNPFYSjRxWUo0tXDRZKdXVFSErKwspKWlubMtKCjARx99hLKyMnTu3Bmnn346/6pqYRElmrgDKtHE4xmsaKqVTFaXKbuwAjGRYRjULR7nHZe6XyZT7RFLNPHGTqKJy1Kiic9ToonHVKKJx1KiictSoonPc/z48bjiiivQp08ffvADIko0cRHbSuz33HMP2rZtyw1cRzRbdfiBBx5ASkqKL/sbN26cSzJJSEjwZX9WwmfSpEmIiYnxZX9jxozB1KlTXYmgw72FWCYQgJAaW8JN7YglINHEHXqJJh7PYESTTZGbvS7XTZczyRQdGYoBXeJxTv9U9GgddciDlGjijZ1EE5elRBOfp0QTj6lEE4+lRBOXpUQTn6dEE4/p7bffjttuuw0dO3bkBa0nkkQTF7NEU908m5VoMhe2efNm/O1vf/N8hZhIM9t+2WWXed7mSOwo0cQddYkmHs9Diaa9RRVYsCEfZZXV9e7IRNPX2wqxu6DC9YuJDEWf9jHo3TYGHZMiMbj7wW87JJp4YyfRxGUp0cTnKdHEYyrRxGMp0cRlKdHE5ynRxGMq0cRjaZGU0cTlGUy0ZiWabFW5JUuW4O677/Z8zmFhYTjxxBNdyp5a3QQkmrhXh0QTj+ehRNPaHcWY8NG3DYqmuo4iLDQEA7rE4dZRXQ7qItHEGzuJJi5LiSY+T4kmHlOJJh5LiSYuS4kmPk+JJh5TiSYeS4kmLstgozUr0WQZTbbK3OrVqz2ft2U0JSUloV+/fp63ORI7SjRxR12iicezLtH02MfforSi/owmiaaDCSxatAjz5s2DpU770RYsWIDFixfD5uj70WbPng27ZuyNlh/t888/R0ZGBq6//no/dqdV58iUJZp4QCWaeCwlmrgsJZr4PCWaeEwlmngsJZq4LION1qxE04Ena+Jp69atbsW5Ll0OzkwIFs6RtL1EE3e0JZp4POuaOvfFxnyUfU80WZG5vUWVWL6tEDa1zlpURCjS2kajT7sYuGp0/22hoSGuEPig7vEHHagymnhjZ5Ekmrg8P/nkE2zbtg3XXHMNN3Ad0T788ENkZ2fjqquu8mV/7733HgoLC3H55Zf7sj+JJh5miSYeS4kmLkuJJj5PiSYeU4kmHkuJJi7LYKM1S9FkgikzMxOvv/66W4rcRFPfvn1x3nnnKXOpkVeERFMjwdWxmUQTj6eXYuDVNTWuDtPMtbmYl5HnRFNsZBiO7xqHHxyd7GoyfbfuQcNNoqlhRoH0kGgKhFbDfSWaGmYUSA+JpkBo1d9XoonHUqKJy1Kiic9ToonHVKKJx1Kiicsy2GjNUjRVVlbisccew1//+lf07NkTJp527tyJ9PR0PPPMM0hOTg6WyxG3vUQTd8glmng8GxJNVdU1yMwrx2erc/DFxjwUlFYhISocJ/aIx4i+yeiWeujV5eo6Qokm3thZJIkmLk+JJi5PiSYeT4kmHkuJJi5LiSY+T4kmHlOJJh5LiSYuy2CjNTvRVCuVTj/9dJfKP2LECCearEbGpEmTcO+99+LCCy8MlssRt71EE3fIJZp4POsTTZVVNdiytxSffJODxVsKUFpRheSYCJyclojT+iSiQ2KrgA9EoilgZPVuINHE5SnRxOUp0cTjKdHEYynRxGUp0cTnKdHEYyrRxGMp0cRlGWy0ZieabOU5Kyx77bXXYs6cOa7QtzXLcnrqqaewfv16TJkyJVguR9z2Ek3cIZdo4vGsSzSVV1YjY1cJpn+zF19vLYRlNrWJj8RpfZJwSloiUuMiGnUQEk2NwlbnRhJNXJ4STVyeEk08nhJNPJYSTVyWEk18nhJNPKYSTTyWEk1clsFGa5aiyVYVmjhxIt599919528CatasWU42vfPOO8FyOeK2l2jiDrlEE4/noUSTrTa3OqsI01fl4JusItTUAB0SIzGyXzKG9EhAQnR4ow9AoqnR6A65oUQTl6dEE5enRBOPp0QTj6VEE5elRBOfp0QTj6lEE4+lRBOXZbDRmqVoMqFkU+QeeeSR/UTTsmXL8MYbb+Dhhx/e9+9WKLx9+/ZIS0sLllWL3l6iiTu8Ek08ngeKpuLyKiz7thCfrs7B+l3FCLNVJ1Na4cz0FAzqFo/oyLCgdi7RFBS+gzaWaOLylGji8pRo4vGUaOKxlGjispRo4vOUaOIxlWjisZRo4rIMNlqzFE0zZ87EpZdeiuOOO26/88/JyYE94H//38PCwjB8+HDcd999wbJq0dtLNHGHV6KJx/P7oim/tBKLNhXgszU52LKnFBFhIejVJtpJpgFd493/B9skmoIluP/2Ek1cnhJNXJ4STTyeEk08lhJNXJYSTXyeEk08phJNPJYSTVyWwUZrdqLJCn9v3rwZTz/9NAoLCxs8fxNNAwYMwA033NBg3yO5g0QTd/Qlmng8a0XTLb+5G3PX52L2ulxk5ZWjVXgo+naIwVnpKUjvGIuw0OAlkx21RBNv7CySRBOXp0QTl6dEE4+nRBOPpUQTl6VEE5+nRBOPqUQTj6VEE5dlsNGanWiyEzbZlJub60k02dS5uLi4fUXDgwXWUreXaOKOrEQTj+c3q1fj+ZffwEkXjsPcjDzsKaxAdGQojusch5H9UnBUuxiEcByTO2iJJt7YSTRxWVo0iSYuU4kmHk+JJh5LiSYuS4kmPk+JJh5TiSYeS4kmLstgozVL0RTsSWv7gwlINHGvCokmDs/qmhosX78NT74xBzHdByG/pBJxrcJwYo8EjOibhB6tozk7+l4UiSYuUmU0cXlKNHF5SjTxeEo08VhKNHFZSjTxeUo08ZhKNPFYSjRxWQYbTaIpWIItZHuJJu5ASjQFz7OqugZb95bhg+W7MX9dNhDeCkkx4RiWlohT+ySjY1Jk8Ds5RASJJi5WiSYuT4kmLk+JJh5PiSYeS4kmLkuJJj5PiSYeU4kmHktXzuxfAAAgAElEQVSJJi7LYKNJNAVLsIVsL9HEHUiJpuB4VlTVYOPuEny8ai+WfluAyuoapMZG4PSjkjC8dxJS4yKC20E9W0s0cdFKNHF5SjRxeUo08XhKNPFYSjRxWUo08XlKNPGYSjTxWEo0cVkGG02iKViCLWR7iSbuQEo0NZ5nWWU11mQVO8m0KrMIVVVVSIkJxXnHt8fQnglIiA5vfHAPW0o0eYAUQBeJpgBgeegq0eQBUgBdJJoCgNVAV4kmHkuJJi5LiSY+T4kmHlOJJh5LiSYuy2CjtRjRZAXCs7KysHXrVpSXl6Nbt27o2rVrsHyOmO0lmrhDLdHUOJ4l5dX4elshPv1mL9buLEZoSAhaVeajU00W7rjmAsREhjYucABbSTQFAMtDV4kmD5AC6CLRFAAsD10lmjxA8thFoskjKI/dpkyZgvT0dAwfPtzjFsF1mzx5MgYOHIihQ4cGF8jj1hMnTsSwYcMwePBgj1sE1+2xxx7DyJEj3UrUfrSHH34Yo0ePRv/+/f3YHf74xz/ioosuQr9+/XzZn0QTD7NEE4+lRBOXZbDRWoRoys/Px0svvYSlS5c62WSiqXPnzujbty8uvvhi9O7dO1hOLX57iSbuEEs0Bc6zsKwKizbl47M1udiUXYKIsBD0aBONrqG7sHXZZ7jvnrsCD9qILSSaGgGtnk0kmrg8JZq4PCWaeDwlmngsLZJEE5enRBOXp0QTj6dEE4+lRBOXZbDRmr1oqqysxDPPPIPnn38exxxzDBITEx2T6upqrF+/Hp06dcKkSZOQnJwcLKsWvb1EE3d4JZoC45lXUom5GXn4/+ydCXgUVfa3f9k3shII+74jIAIqCgrK4o6MMogIooIyM6jIpzPi6IyDigo4KuKGisso/hXFDRVFFBAQZZcdwiY7BLLvneR7zp0JCiTpW90nJQm/+zw+zphTp7rfqu6ueuvccxdtScO+tHyEBQeiTd1I9GmbgKCM3fjko9l46KGHnCX1MZqiyUdw5WxG0aTLk6JJlydFkx5PiiY9lhRNuiwlG0WTLlOKJj2eFE16LCmadFn6m61Ki6bS6XKXX345brvtNvTt2xfR0dHHRdPPP/+MSZMm4e677zblpBzlE6Bo0j07KJrseJaUAMeyC/HdljQs3paGlKxCRIQEomODGujTLgGtkiKwZfMmfPjhhxRNdki9Ri1fvhxLlizB2LFjvcZqBFA0aVD8NQdFky5PiiY9nhRNeiwpmnRZUjTp86Ro0mNK0aTHkqJJl6W/2aq0aJKqpRUrVuDOO+/EwoULER4efgKPwsJCvPrqq1izZg1efvllf1lVyvbS6Hjr1q14++23zVz8G2+80ewnJycHzz33HFJTUxEcHIwLL7wQItTy8/Px6aefYuXKlahRowYefPBBEy+VXfI+pYpryJAhjl8rRZNjZBVuQNHknWdxSQkOZxTim02pWLo9HRm5HkSFBaFrk2hc2iYeTRMjEBAAbNy4kaLJO07rCIoma1RWgd999x2Sk5MxatQoq3h/gyia/CV44vYUTXo8KZr0WFI06bKkaNLnSdGkx5SiSY8lRZMuS3+zVXnRJE/L77//fnz//fensBCJ8/XXX2P69OmQi8nTcWRlZeG+++4zokwaBr733nvIy8vDjBkz8NVXX+GCCy4wcunbb7814knk0pgxY0yzxrVr12LcuHE477zzsHv3bowfPx5Dhw7F1Vdf7fitUjQ5RkbR9PDDPkMrKi7B3tR8zNt4DMt3ZSI7vwixEcHo3jwWvVrHoUF82PHcFE0+Yy5zQ4omXZ4UTbo8P/vsM8jvoi8PTHx5JRRNvlArexuKJj2WFE26LCma9HlSNOkxpWjSY0nRpMvS32xVWjTJ1DlZZe7iiy/GW2+9dcLKHPK3Q4cO4cknn0RERAQmTpzoLyv17aUK6ccff8QTTzxhmpeL7BHRdPToUfTq1cusIHHttdciLS0NN998sxFR/fr1g6xkIVOJ5KJOcgwfPhyPPfYYAgICzN98GRRNvlArfxtWNJXPprCoBDuO5BrJtHpPFgo8xUiICsHFreLQo2UsakeHnrAxRZPuuUnRpMuTokmXJ0WTHs93333XPJzy5eGTL6+CoskXauVvw2bgujzZo0mXJ0WTHk+KJj2WFE26LP3NVqVFk7x5WWFOejDJ9LP+/fujZs2aholUM/30009mJboXXnjBVP2cbkNWy5PeUgMHDsTOnTshPaVmzpxppsDJNDmZjhETE4Pc3FxTlSVT5v71r38ZASVPYWWlPal+ktX1PvnkE/zzn/9E3bp1fXqbFE0+YSt3I4qmstHke4qx5WAOvt5wDBv2Z6OoGKgdHYJL2sbjguaxiIsMPmVDiibdc5OiSZcnRZMuT4omPZ4UTXosJdMrr7yCFi1aoHfv3rqJy8lG0aSLmaJJlydFkx5PiiY9lhRNuiz9zVblRZNULolkevrpp7F582ZTci99jWS1OenZNGDAACNzTu7f5C84f7cXQSZVSSKInnnmGbNqnogm6dU0d+5cjBw50lRkyRCZJP9dZNOsWbNMT6qWLVvi4MGDuOyyy7Bs2TKz4t6uXbsQFRVl/u50lT2KJn+P6Inbn2miSRp6L9qahrzC4gpBFhSV4Jdjedh2KBcyfS4wAKaaSZp/t64TiQtb/HfVyN8Oiibdc5OiSZcnRZMuT4omPZ4UTXosKZp0WUo2uW7v0aMHunXrpp+8jIwUTbqYKZr0eFI06bGkaNJl6W+2Ki+aBIDIpr1795rqJZEz6enpprKnadOmOOecc047ySSvV3oq3XXXXZAvaqlIkh9cb6JJGpsvWrQI8+fPNw2SRZ5JU3B5uvbxxx+ja9euphm4TK+74YYbHJ0bIprki65Pnz6OtvM1WJqdiyC75JJLfE3haDsRkNI4XqYkujGkWk0q0y666CI3dmemV65bt+6E6aOVtWMRuXL+SYP60pFeEoUVha0hFUu+jMCAACSFZqNz0NZTNpeppCKTpS+ZG+PIkSPYsWOHa1WQ8p0lYtKti20R1Pv27UOXLl3cwIn9+/cbKS7fxW4M+S1ISUnB2Wef7cbuzLGTz1/Hjh1d2Z88UJDvM3m44MaQz4JU1cpiFW6M7du3m0rltm3burE785spC4u0bt260ve3ZcsWBAYGmgdFboxNmzYhNDQUzZs3d2N32LBhg2lV0KxZM1f2t379ejM1sEmTJq7sT67R4uLi0KhRI1f2J9cQiYmJprWCG2PVqlWoU6cO6tWr58buzDWZvDfZpxtDHrLIsUtKSnJjd6Y1hnwWatWq5cr+pGdtq1atjs/sqOydyuq17dq1c/xg25fXJX14pX2IfP7cGHKvJdcQMqvEjbFgwQJzDyffZ24M6ft7/vnnIzIy0o3d4ZtvvjFS2a2iD1k0Re6/wsJ+7fdamW9UeirL/WxISEhl7uZ47i+//NIUqMjv++k+qoVoOt0hn/z6ZDU8qVq6/fbbMWzYMMj/lx9cucEdNGgQLr30UvNvubmWyqTSqXPyoyVT62TIf3vjjTdMFdOtt95qpt+JaPv8889NA3QpuXYyRDT99a9/NT2h3BhyoyRfdNdcc40bu4OIH/nhuOqqq1zZn9x4Ll26FFdccYUr+5PjJ1NFpcKtsofcxMsFqQjN0nHME4FF6fW9VjSV99qCAgNQPyIfF0TvPSXk8OHDRqLJ58KNceDAAVMd6db0CJE+Mk1Wes25MaSvnXxv9OzZ043dGaku8ue3YrIydyzTkEVsuSUmRYyIDD333HMr820dzy2/C/J9Jhelbgz5LMiDAbdEoUhsEU1uiUKRFSKa3BCFIipENLklCUVUyIWo3Ay6MeR3QW5c5OGZG0Oum+RGUG6u3RjyGyvtGdwSdyIORMLIQ1M3hogDET+NGzd2Y3dmER+RhA0bNnRlf7Lojkx9lBkPbgypdpXPgq8tLZy+RnkILTKmdu3aTjf1KV7uNeR3QWRoZQ+5Z5Lf2ISEhMrelcn/xRdfmMWY3BJbc+bMMWLELbElrVhEjLgltqQYQu4Z3BJbs2fPNvdfbomtDz74wNzPuiV+3n//fUjxiVv78+dDV6VEk1QCyQ2ZTCGzHdIgWy6yRowYYbtJpcdJ/yh58idf0jJENIkEkRtcWSJbPhzXXXedWY1OVt6RCpLBgwcbCfTnP//ZXISLHZYvin/84x/mJuDKK680FVEy7UB+3J5//nlH74NT5xzh8hp8pk2dS8/1YMWuzBMqmkpKAJlSt2J3Jo5mFRpm4SGBZopc27pRZtpc6TAVTTEh6Nwo+hS2nDrn9XRzFMCpc45weQ3m1DmviBwFcOqcI1wVBnPqnB5LycQeTbo8OXVOl6f0b5V7B7fEMqfO6R0/Tp3TYymZRo8ejUmTJrkm7qTdzdSpU10TaeI0xIVQNOmeN+apo1TtSNPr0lE6bU6eSkoZYGlvIomVp11Sfi+yRk6603WIKCqdOierzuXn55vV56ZNm2aqHGRlOXlCLz8i8mRLbrxlNT2piBIDLiLqlltuMX+T6oibbrrJcaUQRZPu2XGmiaaT6RWXlOBwRiHmb0rFDzvSkZbjQWRoELo0iUafNvFoVisCAb8RTRXRp2jSPTcpmnR5UjTp8qRo0uNJ0aTHkqJJl6Vko2jSZUrRpMfz/vvvNw/23ZomS9Gkd+womnRZ+putylU0yZQkqWoqHVINJFZdSmFFsJSWHYpokqlLixcvxvjx412bZuDLARGRJL2WZOpc6dQukU8vvviiSSfGUqa5yFQCeV8yFUVKqm+88Ubzd2EgJd3S80jKEocOHerY4lI0+XLkyt/mTBZN0uR7b2o+5m1MxfJdGcjOL0JMRDC6N4tBrzZxaBgf7gg2RZMjXF6DKZq8InIUQNHkCJfXYIomr4isAyiarFFZBbKiyQqTdRBFkzUqq0CKJitMVkEUTVaYrIPGjBmDCRMmuDb1kRVN1oem0gOrlGg6mYZUM0mvERFMr7/++inz9KWPhawyIVVO48aNq3SYVXkHFE26R+9MFU2FRSXYeSQXX288hjV7ssxUuoTIEPRsFYeeLWORFOO8cR1Fk+65SdGky5OiSZcnRZMeT4omPZaSiaJJlydFky5PiiY9nhRNeiwlE0WTLk9OndPlWW620qqlsWPHmmlyJw/phSQN1qSBtkxF4yifAEWT7tlxJoqmAk8xNh/MwdcbjmHD/mwUFQO1okNwSZt4XNA8FvFRwT5BpmjyCVu5G1E06fKkaNLlSdGkx5OiSY8lRZMuS8lG0aTLlKJJjydFkx5LiiZdlpKNokmfaZkZpaJJll6WzvmPP/64WXGrdEWC0h5N0pxLVu2YMmWKS6+qau6Gokn3uJ1poim3sBjr9maZ6XJbD+UYmPXiwtC3XTy6NYlBdHiQz4ApmnxGV+aGFE26PCmadHlSNOnxpGjSY0nRpMuSokmfJ0WTHlOKJj2WFE26LCma9HlWmFH6E/3tb3+DLFvauXNnxMbGmngRTVu2bIEs5S29jnr06OHyK6tau6No0j1eZ5Jokh5M0ovp201p2Hk0F0GBAWhSMxz92yfg7EbRiAgJ9AsuRZNf+E7ZmKJJlydFky5PiiY9nhRNeiwpmnRZUjTp86Ro0mNK0aTHkqJJlyVFkz7PCjNKVZPIJJkat27dOkizcBkBAQGoV68eevfubVZgCw931oDY5bfxu++Ookn3EJwpoikj14PFyelYuDUN+1LzERociFa1I9D/rJo4q34UQoIsl5arAD9Fk+65SdGky5OiSZcnRZMeT4omPZYUTbosKZr0eVI06TGlaNJjSdGky5KiSZ+nVUZZpU2EU2Zm5nHRlJiYiMaNG1ttf6YHUTTpngHVXTS98847uOu+B7FgSxoWJ6fhSGYhwkMCjVzq1y4BretEmsomjUHRpEHx1xwUTbo8KZp0eVI06fGkaNJjSdGky5KiSZ8nRZMeU4omPZYUTbosKZr0eTKjCwQomnQhV2fRtG1bMqa99ja6DvgTlu1IR3quB5GhQejaJBp92sajaWIEAnQckzkoFE265yZFky5PiiZdnhRNejwpmvRYUjTpsqRo0udJ0aTHlKJJjyVFky5LiiZ9nszoAgGKJl3I1VU0FRWX4OftB/DMrMUIb9gJ0p8pJiIY3ZvFoHebeDSID9MFSdGkzpOiSRcpRZMuT4omPZ4UTXosKZp0WVI06fOkaNJjStGkx5KiSZclRZM+T2Z0gQBFky7k6iiaCotKsONILuauS8HyHccQEByK+MgQXNwqDj1axiIpJlQX4v+ysaJJFytFky5PiiZdnhRNejwpmvRYUjTpsqRo0udJ0aTHlKJJjyVFky5LiiZ9nszoAgGKJl3I1U00FXiKsflgDr7acAwb92ejqBioHR2CS9rGo3vzWMRHBusC/E02iiZdtBRNujwpmnR5UjTp8aRo0mNJ0aTLkqJJnydFkx5TiiY9lhRNuiwpmvR5WmWU1ef27duH3bt3o6CgAE2aNEHTpk2ttmUQQNGkexZUJ9GUV1iMtXuzMG/jMWw7lIuioiLUjCjBtV0boGuTGESHB+nCOykbRZMuXoomXZ4UTbo8KZr0eFI06bGkaNJlSdGkz5OiSY8pRZMeS4omXZYUTfo8vWZMT0/Hyy+/jNWrV+PQoUMoLCxE3bp10bp1awwdOhRt2rTxmuNMD6Bo0j0Dqotoyi4owvKdGZi/KRW7juaZleQiizKRmLcD4+/4IyJCAnXBlZGNokkXMUWTLk+KJl2eFE16PCma9FhSNOmypGjS50nRpMeUokmPJUWTLkuKJn2eFWb0eDx4+umn8dZbb6Fr166IjY018cXFxdi0aRPi4+Px0ksvISEhweVXVrV2R9Gke7yqg2jKyPVgcXI6Fm5Jw760fIQGB6JVUgSah6Viw+I5ePgfD+pCKycbRZMuZoomXZ4UTbo8KZr0eFI06bGkaNJlSdGkz5OiSY8pRZMeS4omXZYUTfo8y80o0+X279+Pyy67DHfeeSd69+6NqKgoEy9/27BhA5544gnccccdGDx4sIuvrOrtiqJJ95hVZdFUUgIcyy7Ed1tSsSQ5HUcyCxEeEogO9WugX/t4BGTsw/+9OxMPP/ywLjSKJld4UjTpYqZo0uVJ0aTHk6JJjyVFky5LiiZ9nhRNekwpmvRYUjTpsqRo0udZbkapWpKbprFjx0Iu9sPDw0+IlSl0b7zxBn766Se88sorLr6yqrcriibdY1ZVRVNxSQkOZxSafkzLdmQgPdeDyNAgdGsSjUvbxqNpYgS2bduKmTMpmrTOGJnyO3/+fNx7771aKSvMQ9Gki5miSZcnRZMeT4omPZYUTbosKZr0eVI06TGlaNJjSdGky5KiSZ9nhaJp2bJluO+++7BkyZJT4qRp8ddff43p06fjo48+cvGVVb1dUTTpHrOqKJqKikuwNzUfX284hhW7M5GdX4SY8GBc0CIGvVrHo0F8mIG0dStFk+bZQtGkSRNYtGgRZLrl6NGjdROXk42iSRczRZMeT4omPZYUTbosKZr0eVI06TGlaNJjSdGky5KiSZ9nuRlLV5rr0aMHZsyYgUsuueR4rPztwIEDmDhxounTJF/AHOUToGjSPTuqmmgqLCrBjiO5+GrDMfy8Nwv5nmLER4agV+s49GgZi9rRoccBUTTpnisUTbo8KZp0eX755ZdISUnBsGHDdBOXk42iSQ8zRZMeS4omXZYUTfo8KZr0mFI06bGkaNJlSdGkz7PCjAUFBaaiSW7W+vTpg8TERBMv1Uw//vijaQguK9JJo3AOiqYpU6a4chpUJdFU4CnG5oM5mLv+GDYdyIZUNolYkqly5zePRXxk8AnMKJp0TyGKJl2eFE26PCma9HjOmjULwcHBGDhwoF7SCjJRNOlilhYMLVq0MP1A3RiykE379u3Rs2dPN3aHadOmoUuXLujevbsr+5OFfORBcbdu3VzZ3+TJk819QufOnV3Z3+OPP46rrroKHTp0cGV/FE16mCma9FhSNOmypGjS51lhRqlc2rFjh/mBXLt2LdLS0iDVOQ0bNjQr0MkF3dChQ0/p3+Tyyzztd8eKJt1DdDqIptRsj+m1lFtYXOGbKywqxv60Amw/kmskU0AAEBcRjLb1otC2TiR6t4mnaNI9PU7IRtGkC5eiSZcnRZMeT4omPZaS6fXXX0eDBg3Qt29f3cTlZKNo0sVM0aTLk6JJjydFkx5LiiZdlhRN+jy9ZixdfW79+vU4fPgwMjMzUbt2bTRu3Ng8STi5SbjXhGdgAEWT7kE/HUTTrpQ8PDJnl5kG58sIDADa1o3C+CsaUzT5AtByG4omS1CWYRRNlqAswyiaLEFZhFE0WUByEELR5ACWRSgrmiwgOQhhRZMDWF5CH3zwQdx6661o1qyZXtIKMlE06WIeM2YMJkyYgISEBN3E5WSTHp2TJk1CTEyMK/sbOXIkpk6disjISFf2N2LECNN/OjT017YmruzYh50EBEj5AhBQIramCo+srCwcOnSozHcQERGBevXqVeF3V/kvnaJJl/FpIZqO5uGxz3cht8A30RQUGID29aLw18sanQCHU+d0zxWKJl2eFE26PCma9HhSNOmxlEwUTbo8KZp0eVI06fGkaNJjKZlktfYHHnjAFGW4MSiadClTNOnyPJ5NXNiePXsgzUJr1Khh5j5Lo++ffvrJmD2ZNnfyCAwMNHPOx48fX0mvqnqkpWjSPY6ng2jKyivC6j2ZyPf86pA9RcXYcywfy3dlIOd/Aio8JNBULnVsEIX/iWcDQyqaEmuEoGODGhRNuqfHCdkomnThUjTp8qRo0uNJ0aTHkqJJl6Vko2jSZUrRpMeTokmPJUWTLkvJxoqm8plWqYomEU07d+7Ee++9h3Xr1pmGhdJ/afDgwUhPTzcNv0WYLF++HAMGDMDevXvxzTffQObVX3fddfpnVjXKSNGkezBPB9F08jvKKyzGhv3Z+HZzKjYfyDFT6qLDg9C9eSx6toxFk5oRpj+Tt8GKJm+EnP2doskZL2/RFE3eCDn7O0WTM14VRVM06bGkaNJlSdGkz5OiSY8pRZMeS4omXZYUTRXzrFKiSd5Kbm4u9u/fj4kTJ5rVW+644w7ccMMNePHFF9G8eXOsXLnSVDe98cYbZirdU089ZRqC/+EPf9A/s6pRRoom3YN5uommjFwPlm5Px5LkdOw+miezZVErOgSXtI1HtybRZpU520HRZEvKLo6iyY6TbRRFky0puziKJjtONlEUTTaU7GM4dc6elU0kK5psKNnHUDTZs/IWSdHkjZCzv3PqnDNe3qJZ0VQ+oSonmjweD2SJUpFNV155JcLCwvDkk09i7ty5KCoqwsKFCyFf7vPmzYPEfvDBB5g/f76pauIonwBFk+7ZcbqIpuKSEhzKKMC3m9KwYncGjmQWIiQoAM1qReDStvFmWlyNsCBHb56iyREur8EUTV4ROQqgaHKEy2swRZNXRNYBFE3WqKwCKZqsMFkHUTRZo7IKpGiywmQVRNFkhck6iKLJGpVVIEVTNRFNMnVu06ZNuPHGG/H888+b3ksHDx7EtddeiyVLlphu77t27UKvXr2wdOlS0+RMqpvkbzNnzrQ6Wc7UIIom3SN/OoimwqISJB/OxbebjuHnvdnILihCRGggOjeMRq/WcWiZFGmkk9NB0eSUWMXxFE26PCmadHlSNOnxpGjSYymZKJp0eVI06fKkaNLjSdGkx1IyUTTp8qRoqoai6cILL0S3bt0wZMgQ3HbbbWZ6nPRhysvLM9PkpFl4XFwc1q5di+HDh+Mvf/mL7llVzbJRNOke0N9bNMlKc6t+ycSCLWlIPpwDT3EJ4iKCcWGLWFzQIhYN48Ot+jGVRYWiSfdcoWjS5UnRpMuTokmPJ0WTHkuKJl2Wko2iSZcpRZMeT4omPZYUTbosJRtFUzURTfI2cnJy8MUXX5iG3x06dDDVTSKTDh8+jP79+6O4uBjLli0zFU/5+flo3Lgx7rnnHjRo0ED/zKpGGSmadA/m7yWaHnnkUaTleLBoWxqW7UjH3tR8BAYEoF5sKC5tl4DOjWqgZlSIX2+WoskvfKdsTNGky5OiSZcnRZMeT4omPZYUTbosKZr0eVI06TGlaNJjSdGky5KiqWKeVa5Hk7wdmUInjb5DQ0ORkJCArKwsHDlyBE2bNjXvVmTT5s2bUVBQYGTTeeedp39WVbOMFE26B/T3EE2vvPoa/nTvQ/h2UypW/pKJ1GwPQoMD0SopEn3axqN9/ShEhAT6/UYpmvxGeEICiiZdnhRNujwpmvR4UjTpsaRo0mVJ0aTPk6JJjylFkx5LiiZdlhRN1VA0/fYtFRYW4plnnkH9+vVNddNvh8iTv/3tbxg/fjyaNWumf2ZVo4wUTboH03XRtHsPnnxpJlpfciM27c9GbmGxafLdtUk0Lm4Vj2a1whEU6LwfU1lUKJp0zxWKJl2eFE26PCma9HhSNOmxpGjSZUnRpM+TokmPKUWTHkuKJl2WFE3VWDRJZdO+fftw+eWXm6lyF1100QnvNj09Hffee6+ZYnfDDTdAbpA7d+6MqKgo/bOsimekaNI9gG6Kpqz8IizadAgzv92AoLgGkJXmZHpcrzbxOLdJNOrFham+OYomVZygaNLlSdGky5OiSY8nRZMeS4omXZYUTfo8KZr0mFI06bGkaNJlSdFUjUWTTJH76aefMG7cOHz33XcICzvxhtrj8eCTTz7BpEmTzLQ66eN0yy23YNiwYfpnWRXPSNGkewDdEE3FJcDRrEIs2JKKn3Zl4EBaAYIDA9AwIRx928WjU8MaiI0I1n1jgBG2sorjww8/rJ67rIQbN27Ehx9+iIceesiV/a1btw5z5swxlZBuDIomXcoUTbo8KZr0eFI06bGkaNJlSdGkz5OiSY8pRZMeS4omXZYUTdVcNMlN2q233oqlS5eeUqkkokmWv3322WfNtLrU1FTT2+mtt97SP8uqeEaKJt0DWNmiSVaR2/p4KWwAACAASURBVH00D99sTMXaPZnIyCtCeEggzqofhd6t49GmbiTCgv3vx1QWFYom3XOFokmXJ0WTLk+KJj2eFE16LCmadFlSNOnzpGjSY0rRpMeSokmXJUVTNRZNMnUuJSUFV155pfnniiuuQHx8vHnHpQ3Bn3jiCfTr1w9jx441U1SkEuOVV17RP8uqeEaKJt0DWJmiKb+wGOv2ZWP+5mPYejAX+Z5iBHjyUCcgBX++7iI0SghT68dE0aR7XpSVjaJJlzFFky5PiiY9nhRNeiwpmnRZUjTp86Ro0mNK0aTHkqJJlyVFUzUWTfLWioqKIBdvL7/8MgIDAxEZGWnesUgoWYlOmoQ/9dRTaNKkCQ4ePIjdu3fj/PPP1z/LHGaU171hwwY899xzZsvw8HBTmSU9pGTISnqPPvoojh49ipCQEFx66aW47rrrkJeXh3fffddUcMXExJj3JkOaoss0QplmNGrUKIevBqBocoyswg0qSzRl5HmweFs6lm5Pxy9H88xrqBUdijbR2di9ch4effBe3TdSRjZWNOkipmjS5UnRpMuTokmPJ0WTHkvJJBXrDRo0QN++fXUTl5NNHlK2aNECvXv3dmV/L730Etq3b4+ePXu6sr9p06ahS5cu6N69uyv7e/rpp9GjRw9069bNlf1NnjwZffr0OX6dXdk7pWjSI0zRpMdSMknxxQMPPIDatWvrJi4n25gxYzBhwgSzUrwbY/To0aZtjtwnuzFGjhyJqVOnHncQlb3PESNGYPr06QgNDa3sXfmdPyAgwKxEFVAiZqaKjpycHCxYsADLli3Dzp07jYypWbMmmjdvbgTNOeecc9q9s+zsbDz22GOIjY01/6xYscLIntmzZ0Pej/zgL1++HP3790dubi7eeecd0/BcYuUDe80115j3Kz2nLr74Ymzfvh3/7//9P9xzzz0+XQRRNOmeItqiSRp8H8ooMFPlVu7OREpWIUKCAtC8VgQubZeAGvmH8N47bxo5WdmDokmXMEWTLk+KJl2eFE16PCma9FhSNOmylGwUTbpMKZr0eFI06bGkaNJlKdkomspnWi1Ek7w98WQiS6SKqaCgANHR0UhMTDT/Ph2HvMbvv/8e5513nmli/u2332Lo0KHYsmWLeS/yBEue9lx22WWQ1fNuv/12NG7c2EwRlKcycsH69ttvm/cqzc3lSzgpKQl///vffXq7FE0+YSt3I03RVFhUguTDuZi/6Rh+3puNnIIiRIQEonOjaPRuE48WtSOwZ/dOzJgxg6JJ4TCyGbgCxN+k+OGHH7By5UojyN0YFE26lCma9HhSNOmxpGjSZUnRpM+TokmPKUWTHkuKJl2WFE0V86zSokmEjKwkJxUBFY1atWqZcuDTdeTn55vpcK+99ppZ7WrTpk2mYmnHjh2oUaOGqWh69dVXzcpbUgX1z3/+E59++qkpG5dtmzVrZlbdky9iea++DIomX6iVv42WaMotLDYVTAs2p2L7kVxIE/C4iGD0aBmHC1rEokFcGKQoUc4ViiadY0jRpMOxNAtFky7PefPmYe/evaaa1Y1B0aRHmaJJjyVFky5LiiZ9nhRNekwpmvRYUjTpsqRoqsaiSRp+S1+iu+66q8x3KdMCpcpH5mSXF6N/utlllNe+Z88ePPLII5DV8aR31D/+8Q8zX33u3LmmDE9WyJMhUwGlekn6A4hsuvPOOxEXF2f6OA0cOBALFy7E2WefbaoGpIJLvpBl6qCTQdHkhJb3WH9Fk0xkTcv1YOHWNCzbno59afkIDAhAvdhQ9GmXgM6NaiAhKuT4C6Fo8n5MbCMommxJ2cVRNNlxso2iaLIlZRf30Ucfmd/gQYMG2W3gRxRFkx/wytiUPZp0eXLqnC5PiiY9nhRNeiwpmnRZUjRVY9EkFU0HDhwwYubkISJH+jZJtZM0CheBczoNee3S6Fsqk6QxeHJyMqRvk0gk6YFTlmiSqiaZbie9maQnU1BQED777DPccMMNpuJpwIABWL9+Pbp27Yqbb77Z0dulaHKEy2uwP6KpqLjEiCXpx7T6l0yk5ngQGhyI1kmR6NsuHm3rRZmpc78dFE1eD4l1AEWTNSqrQIomK0zWQRRN1qisAimarDBZBf3nP/8xLQsuv/xyq3h/gyia/CV44vYUTbo8KZr0eFI06bGkaNJlSdFUjUVTRW9NRJOs6iY/nFdffTWuuuoq/TNLKaO8VhFNN910k6m8atSokVlhbvPmzaYySabOyeoja9aswZtvvmn2KlLqxRdfNNVOEitPY6Wi6YsvvoBMdZBu9E6GiCZpJu7WaiPyntauXevaCoDSYF0k3LnnnusEi8+xUm0mUyBPWE0ltAYCGnUHgsMqzFss1Uw5haYvk0ydkxEcGICk6GA0ichE0P4Vp2yfmZlpBKUbU0SlZ5iITrea7KelpWHXrl2mas+NIZ8FqTbs1KmTG7szwnn//v3o0KGDK/uTPnYy5VhWM3JjyL5SUlLQrl07N3ZnVheVc6ZNmzau7E+OnXz+Wrdu7cr+9u3bZxaMaNmypSv7k8+CTNGW1bbcGCLppcJIpoS7MaSaWH6DmzZtWum7k8VKZHVc6bfoxpAHEMHBweaawo0h1zHSc7Jhw4Zu7A7btm0zq/zI6sJuDOmhKVXj9erVc2N35hpQqtfr1Knjyv5k1WIRhW6tRCXXZDLrwNeWD06hyEMkOXZOK/6d7qc0Xq5x5bPg1kpbco8gK2zLOePGWLVqlVl0SRYpquwh9zetWrVyre+uLMbUtm1b077EjSGzc8466yzXVi2TggW5xo2IiHDj7UEeOMo9g/w+uDGWLFli7r/cWpVt8eLF5n5Wfm/dGNKLVNqluPX+/HlPVbpHk7c3LhersoqbNNoWUXM6DRFFTz31lJkuVyqapC/TlClT0LFjR1x//fX405/+ZPpwpKammp5Nw4cPx6hRo8xF/+eff45vvvkGDz/8sJlCJ6vTyY+oVEhJ1dNzzz3n6O3KzfXf/vY3I7vcGBkZGeY9DBkyxI3dmRvPr776CoMHD3Zlf8JTzjs5jqXjWH4QPtwVDQT+OuXN0YspKUFiaB4GNsk6ZTORB3Lc//CHPzhK6UuwTOmUH41rr73Wl80dbyM38nKRIcLYjSH9b+QCURrvuzHkRlekpDT+d2PIza7coPXr18+N3RkpKaJQVgB1Y4hwFRnj1hLkcuzk83fRRRe58fbMAxT5TXCrSld+V+Q3xq2HEHKzJL9xslCGG0NulqSq2I0l1uXmRSqR3ZL0P/74o7mwd0vSy++C3Ji5Jc3l4j4+Pt41aS4X9yJF5AbUjSG9N0WiyQ22G2P+/PlGVIg8cGN8/fXXRpi7IXnl/cjsBzl2boleucaVm/kGDRq4gdPMcJCHjW6J0I8//tj8LogsrOwh93KySJJbUvKDDz7AJZdc4pokfO+998x9nFuSUPoCyzVuTExMZR86k1/av0irl6ioKFf299Zbb5kCDLdEmlTXyoJebokf6eksM5nc2p8/B63aiiaZmiY3qM8884y56Zg5c6Y/nNS3FdEi09vkIkleq4gnefJx//33m6cD0hRcJJJMg5O/S78p+f9y0SE3wU888QT++te/mr+LRLnjjjvMBaVUR9x9992ObyI5dU73EJc1dW5vaj4mfLbLrBrny5AeTW3rRmL8Fac+DefUOV+Ilr0Np87psZRMnDqny5NT53R5cuqcHk9OndNjKZnkAalUnsoNthuDU+d0KXPqnB5PTp3TYymZxo4diwceeMC16kVZdXjChAmuibvRo0dj0qRJrok0aXczdepU1yrSRowYYWYuUTTpfi5OySYCRp7OP/roo2X+TWSOlDrLF5T0MTqdhlRbSemiVBbIkJNFnlCXPmmRKXFinGWEhISYpxTyJEaqn0SgyVPf0umAkuvnn382Akrsrfx3p+WeFE26Z0dZokkE0897s1Hg+e90uNIhjb8PZxXg6w2pyC0oMv2YWiZF4LymMWbKXOmQ1eXiI0NwVv1TnwhQNOkdP4omPZYUTbosJRtFky5TiiY9nhRNeiwlE0WTLs/JkyebxYE6d+6sm7icbBRNepgpmvRYSiaKJl2eFE3l86zSFU0iXWSOt5Sr/XZIDwTpzyH/lidBMj1LKoc4yidA0aR7djhpBp6R58HnPx81okkagTdMCMOw8+ugVVIEAn8jmip6hRRNesePokmPJUWTLkuKJn2eFE16TCma9FhSNOmylGwUTbpMZZbFjTfe6MrUToom3WNH0aTLk6KpmoomeVvSmFiaqP12yDQzaZ4o/5YKIafVPbqnX9XIRtGke5xsRVO+pxirdmfinR8PIS3Hg7jIYAzsXAu9WschyFIyySunaNI7fhRNeiwpmnRZUjTp86Ro0mNK0aTHkqJJlyVFkz5PiiY9pvfeey/GjRvnWn8tiia9YyeZKJqqsWiS6XOyKo4Ip982oJT/LisByRQzt5q06p627majaNLlbSOaiotLsPtYPt5aehDbDucgIiQQ5zePwR+7JiE6PMjRC6JocoSrwmCKJj2WFE26LCma9HlSNOkxpWjSY0nRpMuSokmfJ0WTHlOKJj2Wkok9mnR5+pOtSk+dkzdeUFCAO++8E7169TplBTPp0SR/kyZkbqwo48+B+L23pWjSPQI2oulYdiE+WpWCRdvSzM6b14rAiAvroFFCuOMXQ9HkGFm5G1A06bGkaNJlSdGkz5OiSY8pRZMeS4omXZYUTfo8KZr0mFI06bGkaNJl6W+2Ki2apGopOTnZLLP+ySefoEWLFifwEAn1yCOPmFXbymoY7i+86rQ9RZPu0fQmmnILi7E0OR2zVhxGVn4REmuEYHC32ji/WSyk6bfTQdHklFj58RRNeiwpmnRZUjTp86Ro0mNK0aTHkqJJlyVFkz5PiiY9phRNeiwpmnRZ+putSosmaQa+ZMkS/POf/8S33357CouioiLMnTsXb775Jt5//31/WVXr7SmadA9vRaLJU1yC5MO5eGPJAexNzUdUWBB6t4nHgE6JiAgN9OmFUDT5hK3MjSia9FhSNOmypGjS50nRpMeUokmPJUWTLkuKJn2eFE16TCma9FhSNOmy9DdblRZNUqm0adMmXH311ViwYAEaNmx4Ag+paJJKpgMHDuCVV17xl1W13p6iSffwlieaSgCkZBbi3Z8OYfmuDAQHBqBdvSgM614HdWJCfX4RFE0+oztlQ4omPZYUTbosKZr0eVI06TGlaNJjSdGky5KiSZ8nRZMeU4omPZYUTbos/c1WpUWTvHnpwzRs2DBERUWhf//+SExMNEyk2kluGKWa6V//+hduuOEGf1lV6+0pmnQPb3miKTu/CPM3p+LTNSmQFefqxIThpvOT0LFBDZ+mzJW+aoomveNH0aTHkqJJlyVFkz5PiiY9phRNeiwpmnRZUjTp86Ro0mNK0aTHkqJJl6W/2aq8aBKhtHLlSkydOhUbNmxAwG8a3Mj/7tevH+655x7UqlXLX1bVenuKJt3DW5ZoKiwqwYb92Xhz6QEcySw0K8td0aEm+revidBgHxoz/eYlUzTpHT+KJj2WFE26LCma9HlSNOkxpWjSY0nRpMuSokmfJ0WTHlOKJj2WFE26LP3NVuVFkwAQ2bRx40YjmrZv3478/HzUq1fP/NO1a1fUrVvXX07VfnuKJt1DfLJoKikBDmbk462lh7BuXxZCgwPRuWEN3HR+HcRHBfu9c4omvxEeT0DRpMeSokmXJUWTPk+KJj2mFE16LCmadFlSNOnzpGjSY0rRpMeSokmXpb/ZqoVoEgjSr0lu7g8ePIjo6Gg0b94cYWFh/vI5Y7anaNI91CeLpoy8Inz+cwq+3nAMRcVAo4Qw3HxBHbRMilTZMUWTCkaThKJJjyVFky5LiiZ9nhRNekwpmvRYUjTpsqRo0udJ0aTHlKJJjyVFky5Lf7NVedEkgmnnzp147bXXsGbNGlPddMEFF+DBBx/E/v37MWPGDDN1rkaNGv6yqtbbUzTpHt7fiibpxbRydyZm/ngIaTkexEUG4w/n1MLFreIQFOjflLnSV03RpHf8KJr0WFI06bKkaNLnSdGkx5SiSY8lRZMuS4omfZ4UTXpMKZr0WFI06bL0N1uVF02ystzYsWNNn6Zu3bohJycHIk3k4lH+fffdd2P48OGmVxNH+QQomnTPjlLRNHHi49h9LN/0ZUo+nIuIkEB0bx6LQV1rmx5NWoOiSYskK5r0SP430w8//GC+n8eMGaOdusx8ixYtMlOpR48e7cr+vvvuOyQnJ2PUqFGu7G/evHnYu3cvbrnlFlf29+WXXyIlJcUsuuHG+Oyzz5CVlYUhQ4a4sTtzreDxeDBo0KBK39+sWbMQHByMgQMHVvq+ZAfvvvuuecgmK/O6MSiadCm/9NJLaN++PXr27KmbuJxs06ZNQ5cuXdC9e3dX9vf000+jR48e5trdjTF58mT06dMHnTt3dmN3ePzxx3HVVVehQ4cOruzvkUcewXXXXYd27dq5sj+KJj3MFE16LCWTXP9NmjQJMTExuonLyTZy5EjTKzoyUmeWircXPWLECEyfPh2hob6vVu5tH1p/r9KiSaqZtm3bhiuuuMKcUPLjsXbtWrzxxhv4+OOPzcXjzJkzsX79evN3jvIJUDTpnh0imp5/4QX87aFHMHtVCr7flmZ20LxWBG65sC4aJuhO6/QmmoqP7UXOty9av8mgmo0Q0fuOMuO3bt1qPldykeHGEGnw4Ycf4qGHHnJjd5w6p0yZokkXKEWTLk+KJj2eFE16LCUTRZMuT4omXZ4UTXo8KZr0WFI06bL0N1uVFk0yTW7JkiV44IEHMH/+fAQFBUGeZj/77LNGNBUVFWHhwoXmx/r999/3l1W13p6iSffwimh66plpuHrUeHyw4jCy8otQs0YIhpybhPOaxuA3iyOq7NibaPLs24CMl+0rEoIbdkTMqDcomlSOTsVJVq9ebb6/5ELDjbF8+XLzvSmVoG4MiiZdyhRNujwpmvR4UjTpsaRo0mUp2SiadJlSNOnxpGjSY0nRpMvS32xVXjRJX6abb77ZTM+IiIg4QTQVFhbixRdfNBVNUmLGUT4Biibds+OXvfvwjykvI6nnzdiXmo+osCD0bhOPAWcnmulz2oOiSY8oezTpsZRMFE26PCmadHlSNOnxpGjSY0nRpMuSokmfJ0WTHlOKJj2WFE26LP3NVqVFk7z5o0eP4vrrrzdzoAcPHgy54X799dfx/PPPmz4djz76KO6//37zNw6KpilTplT6aVACYPfBVPx9xrcITGqL4MAAtKsXheHd6yAppnLm01I06R1WiiY9lhRNuiwlG0WTLlOKJj2eFE16LCmadFlSNOnzpGjSY0rRpMeSokmXpb/Zqrxokulxc+fOxTPPPGMagefn52P37t3o1KkTpFH4ueeea0RTYmKiv6yq9fasaNI7vNn5RZi34Sg+WL4fAcGhqBMThmHdk9Chfg31KXOlr5qiSe/4UTTpsaRo0mVJ0aTPk6JJjylFkx5LiiZdlhRN+jwpmvSYUjTpsaRo0mXpb7YqL5oEQG5urlnVSP5JS/tv0+WAgAA0b94cF110ERo2bOgvp2q/PUWTziEuLCrB+n3ZZpW5lKxCs7LclR0T0a9dAkKDA3R2UkYWiiY9tBRNeiwpmnRZUjTp86Ro0mNK0aTHkqJJlyVFkz5PiiY9phRNeiwpmnRZ+putSosmWXVOqpd27tyJ3r17myWRRTqViiZZ1lduwDdt2mSW/OQonwBFk/9nR0kJcDAjH28uOYj1+7MRGhyIzo1q4Kbz6yA+Mtj/HVSQgaJJDy9Fkx5LiiZdlhRN+jwpmvSYUjTpsaRo0mVJ0aTPk6JJjylFkx5LiiZdlv5mq9KiSVadkyqmO++8E/3798dtt92GRo0aQQSUVDZJryaZVteyZUvTs4mDoqkyezRl5BVhztoUzNt4DIWeItSKBP7Stzla1I6o9FOPokkPMUWTHkuKJl2WFE36PCma9JhSNOmxpGjSZUnRpM+TokmPKUWTHkuKJl2W/mar0qJJhJI0A3/llVcgF4u1a9fGsGHDEBsbi7feesusdnTxxRdj+PDhuOSSS/xlVa23Z0WTf4c331OMlbsz8c6yQ0jP9QAFWWhQuAOP3TkYQYGVN2Wu9FVTNPl3/H67NUWTHkuKJl2WFE36PCma9JhSNOmxpGjSZUnRpM+TokmPKUWTHkuKJl2W/mar0qJJ3rzIptTUVPz000+YNWsWli1bhsjISISEhOCmm27CpZdeiqZNmyI0tHJW+/L3AJwu21M0+X4kiotLsPtYPt5YcgDbj+QiIiQQjcIzkb3+CzzxyD99T+xgS4omB7C8hFI06bGkaNJlSdGkz5OiSY8pRZMeS4omXZYUTfo8KZr0mFI06bGkaNJl6W+2Ki+aSmVTcnKyWV1u9uzZCAwMRNeuXfHSSy+hc+fO/jI6I7anaPL9MKdme/DBysNYnJxukrSoFYFLGxXi03dfwxNPPOF7YgdbUjQ5gEXRhCVLlmDs2LF60CrItHTpUqxatQpjxoxxZX+LFi3Cxo0bMXr0aFf2991330F+f0aNGuXK/ubNm4e9e/filltucWV/X375JVJSUky1sBvjs88+M/0WhwwZ4sbuTDW0x+PBoEGDKn1/8jAsODgYAwcOrPR9yQ7effddSK/Kq6++2pX9UTTpYpZr2Pbt26Nnz566icvJNm3aNHTp0gXdu3d3ZX9PP/00evTogW7durmyv8mTJ6NPnz6u3Rc8/vjjuOqqq9ChQwdX3t8jjzxi+tG2a9fOlf1RNOlhpmjSYymZ5Ppv0qRJiImJ0U1cTraRI0di6tSpptDFjTFixAhMnz69ShTRVHnRJL2Y5syZY6bKHThwwFxQyRS6Dz74wBzwAQMGmAtI+W8c5ROgaPLt7MgtLMaS5HTMWnEY2flFqFkjBDeel4Q6gWl48cUXKJp8w3rCViINPvzwQzz00EMK2bynYEWTd0ZOIiianNDyHkvR5J2RkwiKJie0Ko6laNJjKZkomnR5UjTp8qRo0uNJ0aTHkqJJl6W/2aq0aCptBi5mT576DB48GBdeeCGioqKwYsUKU920YMECY/jlC5GDokmzGbinuATJh3IxY8kB7E/LR1RYEC5pG48BnRJx+MBevPACRZPGZ46iSYPirzmWL1/uakWT9MqTRRtY0aRzHCmadDiWZqFo0uNJ0aTHkqJJl6Vko2jSZUrRpMeTokmPJUWTLkt/s1V50bR+/XrMnz8f/fr1M6vLlfZikt5Nu3fvxvfff48jR45g3Lhx/rKq1tuzosnZ4S0BkJJZiHd+PGiagAcHBqBdvSjcfEEd1I4OxS+//ELR5AxpudEUTUog/5eGokmXJ6fO6fLk1Dk9npw6p8dSMsnCMy1atEDv3r11E5eTjRVNupgpmnR5UjTp8aRo0mNJ0aTL0t9sVVI0ZWZmmgbgjRo1QnZ2tumvICvNnTxENklviW3btuGCCy7wl1W13p6iydnhlWly32xKxWdrUyArztWJCcPw7nVwVv0oBASAoskZzgqjKZoUYQKgaNLlSdGky5OiSY8nRZMeS4omXZaSjT2adJmyR5MeT+n5++c//9ncZ7oxKJp0KbNHky5Pf7JVOdEk0+XWrFljejBNnDjRvHcRSocOHcLOnTtPaGIosatXrzZT6B577DF/OFX7bSma7A9xYVEJ1u/LxhtLD+BoViGiw4NwZcdE9GuXgNDgAJOIFU32PL1FUjR5I+Ts7xRNznh5i6Zo8kbI2d8pmpzxqiiaokmPJUWTLkuKJn2eFE16TCma9FhKJmmdMGHCBCQkJOgmLicbRZMrmK12UiVFk6wqJE9CPvnkE/MmRSjJzdM777xjur6XjqKiIixcuBDPPfecWVmGo3wCFE12Z0dJCXAwIx9vLDmIDfuzERociM6NamDY+XUQFxl8PAlFkx1PmyiKJhtK9jEUTfasbCIpmmwo2cdQNNmz8hZJ0eSNkLO/c+qcM17eolnR5I2Qs79TNDnjVVE0RZMeS8lE0aTLk6vO6fI8IZtIpbJEkwilZ599Fh9//DFFkw/8KZrsoGXmFeHTNSn4ZtMxFBUDDRPCcGuPumheK+KEBBRNdjxtoiiabCjZx1A02bOyiaRosqFkH0PRZM/KWyRFkzdCzv5O0eSMl7doiiZvhJz9naLJGS+KpgdcW5Gdoknv3JRMFE26PCmaKpFnaWqKJu+QpRfTyl2ZePvHQ8jI9SA2IhiDutZGz5axCAr875S50kHR5J2nbQRFky0puziKJjtOtlEUTbak7OIomuw42URRNNlQso+haLJnZRNJ0WRDyT6GosmelbdIVjR5I+Ts7xRNznh5i6Zo8kbIj79LRZNUL8lcT1k+Xob8t1WrVuH111/H888/fzy7/HdZVlumzXHqXMXQKZoq5lNcXILdx/IxY/EB7EzJRXhIIC5sEWtEU42woFM2pmjy40N+0qYUTXosJRNFky5PiiZdnhRNejwpmvRYSiaKJl2eFE26PCma9HhSNOmxlEwUTbo8KZp0eZ6QTeTRggULMGjQIJx11lnH/5aeno69e/eiffv2J8RnZWWZVQMomiia/v3vf2PKlCk+nZ2p2R7MWnEYS7anm+1lqtxtPeuiflxYmflsRFNx6n7kfPVvq9cTGN8Akf3Hlhu7Y8cOzJgxA48++miZMZ59G5Dx8jCrfUlQcMOOiBn1RpnxW7duxcyZMyFL27oxKJp0KVM06fKkaNLlSdGkx5OiSY8lRZMuS8lG0aTLlKJJjydFkx5LiiZdlpKNokmf6fGMssLc9u3bTTVTSkqK1z0FBQXhsssuw+DBg73GuhkgwkxWyfvrX/9qdhsREYE777wT5513nvn/mZmZuO+++3DkyBGEhobiiiuuwLBhw5Cbm4vXXnsNcnMTFxdn/reMgoICLF68GGvXrsU999zj+K2woql8ZLmFxVi8LQ0frDyC7Pwi1KwRofLMaQAAIABJREFUgqHnJaFbkxgEnDhj7ngSG9FUdHAL0l8YYnWsguu1Rczod8qNpWiywmgVtG7dOsyZMwfjx4+3ivc3SFbGnD9/PmR5WzeG26Jp6dKlpuJUnmi5MaSHn8hJWXXEjUHRpEuZokmPJ0WTHkvJxIomXZ4UTbo8KZr0eFI06bGUTKxo0uVJ0aTL85Rs+fn5RsCIdPE2AgICTLOzmJgYb6Gu/j07OxuPPfYYmjRpYpZ7XL9+PZYsWWIqRSIjI/Hkk09C5MF1110HqcqSahyRaxIrH9jbbrsN3377LQYOHIj+/ftDqkzkvz/++OPo1q2b4/dC0VQ2Mk9xCZIP5+K1xQdwIC0fUWFBuLRtPK7plGimz5U3KJocn4LlbsCKJj2WkomiSZcnRZMuT4omPZ4UTXosKZp0WUo2iiZdphRNejwpmvRYUjTpspRsFE36TKtdxsLCQvOUv0OHDggPD0dycjLOP/98I48aNGiA7t27Y/r06ejduzcyMjJMtVN8fDwGDBhgfpzfe+89I6Xy8vJw0003Ydy4cejUqRPuuusun1idiaIpLceDWSsPmyql8kZxCZCe48GOlFyUlAAhQQGoHx+GxBohCAwIQMP4MAw8p9Ypm1M0+XQalrkRRZMey99DNP3www+mVx4rmnSO47x588w08VtuuUUnoZcsX375pakelopaNwZFkx5liiY9lhRNuiwpmvR5UjTpMaVo0mNJ0aTLkqJJn2e1zyjT6DZv3owePXqY6W8iff7whz9g165dprpJZJJMkRO5JJVOf//7383UnldffRUirOrXr2+klUz1ERnlyzgTRdOB9AI8MHs7CotKfEFmps01TYzAhAFNKZp8Imi3EUWTHSfbKLcrmiiabI+MXRxFkx0n2yjp3+jxeEzfx8oes2bNQnBwsKlEdmNQNOlS5tQ5XZ6saNLlSdGkx5OiSY8lRZMuS4omfZ7VPqNMAZw6daqRRVLFJD1GRo4ciUOHDpn3LqLp7bffNv0BPv74Y1PdJIJJ+lVJNdNXX32Frl274uuvv0ZsbCwmT56MWrVOrbKpCOSZKJoOphfg4U93IquCiqaKmElFU6ukCDx4VROKpkr8lFI06cKlaNLlyalzujxZ0aTHk6JJj6VkomjS5UnRpMuTokmPJ0WTHkuKJl2WFE36PKt1RhFG0ghYejA988wzaNmyJebOnVumaJIKJql4kmbFe/bsgVRCiZi6++67TW+mv/zlL1ixYgWaNWuGO+64wxG3M1E05XuKsfVgDgp+U9Ek0+MOZxZg7vpjOJZdaBiGBQeiY4Ma6NEy9gSmUtEUHR6MlrUjKJocnW3OgimanPHyFk3R5I2Qs79TNDnj5S2aoskbIfu/UzTZs7KJpGiyoWQfQ9Fkz8omkqLJhpJdDEWTHSfbKDYDtyVlF8ceTXaczvgokUzffPONmQ43YcIEXHTRRSgqKoJMNZHSernBlsokqXh68cUXzf8X2SRDGoQ/9dRTZuW5Pn364MYbb8RPP/1kJNWnn356fDU6W8gimqTPk/SMcmNIQ/dt27bhrLPOcmN3pipMVits3759+fsLDAKikpBT+xzsTi9BXmEx4MlHYMpmJObvRP24MOvXKsdMVhVs165dudskFKViQNYXVjmPBiXg0xqXlxubk5OD3bt3o23btmXG1Co6iquy5lrtS4IOByXi8xr9y4yXRvbSI6Z169bW+fwJlBUYDxw4gFatWvmTxnpb6Ykm1YQifd0Y6enpZnGDFi1auLE7pKWlmem5IqTdGKmpqWafTZueOsW0MvZ/9OhRs2qnLLTgxpD+RfKZaNy4sRu7O74QRqNGjVzZ3+HDh82qptI70I1x8OBB8zsoU8LdGPLdItXB9erVq/Td7d+/H7JASd26dSt9X7KDffv2QVberVOnjiv7k98FWSVXFmBxY0gvRFmx12kFt6+vTX5jo6KikJiY6GsKR9tJ+4To6GjUrFnT0Xa+Bss1i1xT+tqCwel+5ZpM3pvs040hvVDlXJHKfzeGXOMmJSW5thiRLAok3y1yzrgxtmzZYn4X5DNR2WPTpk3mN1baibgx5H5Lrlnk+8WNsWHDBjRv3tz07HVjyAJUco0bFmZ/X+PP65ICiTZt2iAkJMSfNNbbygrscr8nU9XdGGvWrDH3z/J768aQ1apnzJhhfm9P9xEgFz0AAkrkSovDNQKllUxSiSS9lS677DKzbzkMcjEq/SKGDx9uluiWm0JZWe5Pf/oTbr31VoikmT17NmTZ8H/961+mWfill14K+aL65JNPzH9/9tlnHb0X2Ye8jttvv93Rdr4Gy8219KuQKYJuDHl/wqa8BroFnmJsPpiLhbsK4IlIAgKDTLVSr5bRaBGdC+SmOnqZIg6kia4cw/JGaPoe1F8wwSpvflxj7L/4wXJj5eZMpKVMpSxrhKXuRL1FE632JUH5Cc2wv+f4MuPl/Fy4cCGGDBlinc+fQKneE/n6xz/+0Z801tvKxb1UBl5//fXW2/gTKKtL/vzzz7j22mv9SWO9rVz8ykXbNddcY72NP4HSf05uKK688kp/0lhvK9+Dcs6Ufqdab+hjoBw7+fz169fPxwzONpMLGpFp8p3vxpBG7iLuevXq5cbuzAMTeTAgD17cGMuWLTNi68ILL6z03cnKsnIhKgt/uDFkGr7cuJx77rlu7A4LFiwwN7ldunRxZX9SDS6i4uyzz3Zlf9KeQKRdx44dXdmfPDgUoVzRAyvNF/L555+bm125IXRjyENReTjm1kMd6ccmi+a49ZDlgw8+MG0t3Hro8f7775uFhBo2bOjG4YNUTF588cWuSHppHyIP1d2S5m+99RYuv/xy1yT266+/bhZ7kpXF3RhStCD3mW5JV5l9I/cMbklQKc64+eabXROT06ZNw6hRo1wTd3KPL8eQosmNT0sV3YfIIbmRlRv20hsiOWHkZmzo0KGQ6RgyFU4uMEQGylODBx980DxJkwv/J554AhMnTjQ/0iJtZLU5ufmQJ+sPP/yw+fJ3Ms7EqXOlfKRyafmuDDNdbs+xfJSgBAlRIbiyY02c2yQGcZHOjThXnXNy9lUcy6lzeiwlE6fO6fLk1Dldnpw6p8eTU+f0WEomTp3T5cmpc7o8OXVOjyenzumxlEycOqfLk1PndHlWy2xS0SSSSaY8lQ550imlmiKXpGpJmnzLkNI/EUryN+nLJNUyUiLbs2dP83d5GitVCvLfpAxSngQ7Lfc8U0VTVl4RvtuSioVb03AoowABCEC9uFAMODvR9GWKCvOtDJKiSe9jS9Gkx5KiSZelZKNo0mVK0aTHk6JJjyVFky5LyUbRpMuUokmPJ0WTHkuKJl2Wko2iSZ8pM1YygTNNNMlE0dQcD75cdxTLdmYgNbsQwUEBaF4rwkim1nUiTRNwXwdFk6/kTt2OokmPJUWTLkuKJn2eFE16TCma9FhSNOmypGjS50nRpMeUokmPJUWTLkuKJn2ezOgCgTNJNBXLynIZBfh4zRGs2ZMFqWoKDQ5Eh/pRZrpcs1oRCA40vct8HhRNPqM7ZUOKJj2Wv4dokp5xq1atMqXTbgzpSyPnjPS3c2OwokmXMkWTHk+KJj2WFE26LCma9HlSNOkxpWjSY0nRpMuSokmfJzO6QOBMEU1PTpqMnSl5+Gj1EWw5mGNWlosICcQFLWLRt10C6sWFwU/HZI4WRZPeSUvRpMeSokmXpWSjaNJlStGkx5OiSY8lRZMuS4omfZ4UTXpMKZr0WFI06bKkaNLnyYwuEDgTRNOTk5/CLeP+hc/WpmD74Vx4ikvMynJ92sWjZ8s41I7WW3aToknvpKVo0mP5e4gmWTFQFjBgRZPOcZw3bx5kGfnyVtDU2cuvWWT1zJSUFAwbNkw7dZn5KJr0MFM06bGkaNJlSdGkz5OiSY8pRZMeS4omXZYUTfo8mdEFAtVeNB1Kwd+ffgv1zrsWe47loQRAfGQIru6UiG5Non1aWa6iw0LRpHfSUjTpsaRo0mUp2VjRpMuUokmPJ0WTHkuKJl2WFE36PCma9JhSNOmxpGjSZUnRpM+TGV0gUJ1Fk/Rg+nr9Ecz+IRkBEQkICPjvynLXdk5Eh/q+ryxH0fSwC2cmTL+dDz/8EA899JAr+1u3bh3mzJmD8ePHu7K/1atXY/78+bj33ntd2d/y5cuxZMkSjB071pX9saJJFzMrmnR5fvTRR/B4PBg0aJBu4jKyzZo1y6wiO3DgwErfl+yAokkX8yuvvIIWLVqgd+/euonLyfbSSy+hffv2x1cYruydTps2DV26dEH37t0re1cmP1ed08VM0aTHk6JJjyVFky5LiiZ9nszoAoHqKJpKV5b7Yt1R/Lgj3awyJ02+m9eOwLX/W1lOmoBXxmBFkx5ViiY9lpKJokmXJyuadHmyokmPJ0WTHkvJRNGky5OiSZcnRZMeT4omPZYUTbosKZr0eTKjCwSqm2gyK8tlFuCjVUewVlaWy/91ZbmrOiWiaWL4KSvLFacfRPZnE61oB8bWRdTV5Ve8UDRZYbQKomiywmQdRNFkjcoqkKLJCpN1EEWTNSqvgRRNXhE5CqBocoTLazBFk1dEjgIomhzhqjCYokmPJUWTLkuKJn2ezOgCgeokmoqKS7ArJQ+zf7OyHIoKkFh0EPcN6Y265awsV3RkB9Kfu96KdlDt5ogdM6vcWIomK4xWQRRNVpisgyiarFFZBVI0WWGyDqJoskblNZCiySsiRwEUTY5weQ2maPKKyFEARZMjXBRNDzyA2rVr60GrIJMsBjNhwgQkJCS4sr/Ro0dj0qRJiImJcWV/I0eOxNSpUxEZGenK/kaMGIHp06cjNDTUlf35s5MA6VcDIKCkRCYacZypBKqLaCosKsGG/Vn4dM1R7Djy68pynRILkbz4I0x59MFyDzFF069oght2RMyoN8pktXXrVsycORMPP8weTRrfF+zRpEHx1xyLFi0yfb3kQsONQdGkS5miSY8nRZMeS8lE0aTLk6JJlydFkx5PVjTpsZRMFE26PCmadHkymwsEqoNoyissxvJdGfhy3THsTf11ZblrOiWiflgmXntxKqZMmULRZHE+UTSxGbjFaWIVwmbgVpisg9gM3BqVVSCbgVthsgr6z3/+g8TERFx++eVW8f4Gvf7662jQoAH69u3rbyqr7SmarDBZB1E0WaOyCqRossJkFUTRZIXJOoiiyRqVVSBFkxUmBp1OBKq6aJIeTN9uSsXCrWk4nFFwfGW5gZ1r4awGUUhPOYR///vfFE2WJx1FE0WT5aniNYyiySsiRwEUTY5weQ2maPKKyDqAoskalVUgV52zwmQdNHnyZPTp0wedO3e23safwMcffxxXXXUVOnTo4E8a620pmqxReQ2kaPKKyFEARZMjXF6DKZq8ImLA6UagqoommfCZluPBnP+tLCf/u3RluYGdE9EqKRKystz+/fspml4eZn3aUTRRNFmfLF4Cly5dilWrVpnSaTcGp87pUv7yyy+RkpKCYcPsvz/8eQWcOucPvRO35dQ5PZaSiRVNujxZ0aTLk6JJjydFkx5LyUTRpMuTokmXJ7O5QKAqiqbSleVmrzqCn3+zslzH+lGQleWa/GZlOYqmDcigaLL6JK1btw5z5lA0WcGyCKJosoDkIIQVTQ5gWYSyoskCkmUIK5osQVmGsaLJEpRlGCuaLEFZhkmfzhtvvBGtWrWy3ML3sAcffBC33normjVr5nsSB1tSNDmAZRFK0WQByUEIRZMDWAw9PQhUNdEkK8vtlJXlVh3BloM5yPcUIzwkED1axKJf+wTUiQ1DoOlz/99B0UTRZPtJo2iyJWUXx6lzdpxsoyiabEnZxVE02XGyiaJosqFkH0PRZM/KJpKiyYaSfQxFkz0rb5H33nsvxo0bh3r16nkLVfn72LFj8QBXnVNhKUm46lz5KLnqnNppVrUTVSXRVLqy3CdrUrDzSB48xSWIDg9Cv3YJ6NkqDok1Qk45GBRNFE22n1CKJltSdnEUTXacbKMommxJ2cVRNNlxsomiaLKhZB9D0WTPyiaSosmGkn0MRZM9K2+RFE3eCDn7u6w6PGnSJMTExDjb0MdoiiaKJh9PnTNns9NBNGXkevCfZYeQleepELxMmUvL9eBAWj7kf8sICQpA/fgwtK8XhSHnJlE0nUTAs4+iyfbTTNFkS8oujqLJjpNtFEWTLSm7OIomO042URRNNpTsYyia7FnZRFI02VCyj6FosmflLZKiyRshZ3+naHLGqzKjWdFUmXSrUO7TQTQdzizA3z7YDqlY8mXITLmGCeGY+IdT53CzoomiyfacomiyJWUXR9Fkx8k2iqLJlpRdHEWTHSebKIomG0r2MRRN9qxsIimabCjZx1A02bPyFknR5I2Qs79TNDnjVZnRFE2VSbcK5T4dRFNKViEe+ngHMvOKfCIXGBCA5rXD8c+rm56yPUUTRZPtSUXRZEvKLo6iyY6TbRRFky0puziKJjtONlEUTTaU7GMomuxZ2URSNNlQso+haLJn5S2SoskbIWd/p2hyxqsyoymaKpNuFcp9OogmqWTafiQXnpMqmvIKi7E4OR0rdmUYoqFBATirQQ30bh2HkKDA45QDAoDI0CA0TQynaDqJAKfO2X8YKZrsWdlEUjTZULKPoWiyZ2UTSdFkQ8kuhqLJjpNtFEWTLSm7OIomO062URRNtqS8x1E0eWfkJIKiyQmtyo2laKpcvlUm++kgmsqClV9YjKXbM/DxmiM4mlVoJFOnhtG4rkst1Is7cWW5imCzookVTbYfRoomW1J2cRRNdpxsoyiabEnZxVE02XGyiaJosqFkH0PRZM/KJpKiyYaSfQxFkz0rb5EUTd4IOfs7RZMzXpUZTdFUmXSrUO7TUTSVSqZP1x7BkcxCBAcFoG2dKNx0fhLqxYdBejLZDoomiibbc0VE0+eff47777/fdhO/4lavXo358+dDLjTcGMuXL8eSJUsgy9u6MSiadClTNOnypGjS40nRpMdSMlE06fKkaNLlSdGkx5OiSY+lZKJo0uXpTzaKJn/oVaNtTzfRVJZkap0UiRvOTUKTxHBHkkkOE0UTRZPtx5WiyZaUXRxFkx0n2yiKJltSdnEUTXacbKIommwo2cdQNNmzsomkaLKhZB9D0WTPylskRZM3Qs7+TtHkjFdlRlM0VSbdKpT7dBJN0qtp9S+ZeG/5YRzKKEBwYABa1xHJVBuNa0Yg0Ekp0/+OAUUTRZPtx5GiyZaUXdzSpUuxatUqjBkzxm4DP6MWLVqEjRs3midabozvvvsOycnJGDVqlBu7A0WTLmaKJj2eFE16LCUTRZMuT4omXZ4UTXo8KZr0WEomiiZdnv5ko2jyh1412vZ0EU0imdbsycQHK45gf1o+ggID0KpOJIb4IZnkMFE0UTTZflwpmmxJ2cVRNNlxso2iaLIlZRdH0WTHySaKosmGkn0MRZM9K5tIiiYbSvYxFE32rLxFUjR5I+Ts7xRNznhVZjRFU2XSrUK5TwfRdLJkCgwMQKOEcAzrnoQWtSN9qmQqPQQUTRRNth9HNgO3JWUXx6lzdpxsoyiabEnZxVE02XGyiaJosqFkH0PRZM/KJpKiyYaSfQxFkz0rb5EUTd4IOfs7RZMzXpUZTdFUmXSrUO7fWzSJZNqwPxvv/njIVDKVSqYbz0tCq6QIU9nkz6BoomiyPX8ommxJ2cVRNNlxso2iaLIlZRdH0WTHySaKosmGkn0MRZM9K5tIiiYbSvYxFE32rLxFUjR5I+Ts7xRNznhVZjRFU2XSrUK5f0/R5CkuwdaDOXjnx0P45WieumSSw0DRRNFk+3GkaLIlZRdH0WTHyTaKosmWlF0cRZMdJ5soiiYbSvYxFE32rGwiKZpsKNnHUDTZs/IWSdHkjZCzv1M0OeNVmdEUTZVJtwrl/r1E05R/P20k07s/HcLuo3kAAlAvLhQjLqyL5uFZyPvoQSuKgTFJiLrukXJjKZoomqxOJAAUTbak7OIomuw42UZRNNmSsoujaLLjZBNF0WRDyT6GosmelU0kRZMNJfsYiiZ7Vt4iKZq8EXL2d4omZ7wqM5qiqTLpVqHcv4domvDoY/jz/RN/I5mA2jGhGHpeEjo2qAGk7UX6MwOsKAbVbIzYuz+iaHr00TIZePZRNFmdSBRNtpis4yiarFFZBVI0WWGyDqJoskblNZCiySsiRwEUTY5weQ2maPKKyFEARZMjXBUGUzTpsZRMFE26PP3JRtHkD71qtK3roulICu771xQ07nsHdqXkGpIimW48NwlnNYhCaFAgio7toWj63zkWXK8tYka/U+4Zt2PHDsyYMQOPUjT5/alkRZPfCE9IQNGky5OiSZcnRZMeT4omPZaSiaJJlydFky5PiiY9nhRNeiwpmnRZ+puNoslfgtVkezdFU1FxCZIPZmDCzB8QFN8YQMkpkkmwUjT9enJRNH2Ihx56yJVPG0WTLmaKJl2eFE26PCma9HhSNOmxpGjSZSnZKJp0mVI06fGkaNJjSdGky9LfbBRN/hKsJtu7JZpEMv1yLA/vLDuEzfszERAYhIQaIWa63NmNaphKptJB0UTRJAQ2btyIDz90VzR9/vnnuP/++135dK9evRrz58+HXGi4MZYvX44lS5Zg7NixbuwOFE26mCmadHlSNOnxpGjSY0nRpMuSokmfJ0WTHlOKJj2WFE26LP3NRtHkL8Fqsr0boqm4pAR7juXjPz8cxLbDuSguLkF8VAj+2K02ujWJRljwr5JJsFI0UTRRNOl/wVA06TL97rvvkJycjFGjRukmLicbRZMuZoomPZ4UTXosKZp0WVI06fOkaNJjStGkx5KiSZelv9komvwlWE22r2zRVFICHMoowNvLDmLdvmwUFRcjOhQY2r0BujaJRnjIiZKJounEE4tT59ytaJozZw7Gjx/vyqebFU26mBctWmSq4KQZpBuDokmX8meffYasrCwMGTJEN3E52Sia9DBTNOmxpGjSZUnRpM+TokmPKUWTHkuKJl2W/majaPKXoB/bFxcXY+vWrfjLX/6Cnj17Qr60S0dGRoZ5Qn7w4EGEhYXhuuuuwx133IGcnBw8++yzmDt3LhISEiAXyTIKCgrwzTffYMWKFfjHP/7h+FVVpmgykimzwEyXW78vC56iEgQW5SLu6Go8ed+tZUomiiaKplICv8fUOYomx18h5W7AqXN6LCUTK5p0eVI06fGkaNJjSdGky5KiSZ8nRZMeU4omPZYUTbos/c1G0eQvQR+3z8/Px7vvvgt5eluzZk2kp6fjvffeM9nkaa7IorS0NIwYMQIine677z6zAkmtWrUwZswY0z9G+sj06tULAwYMwKZNm4yYkpXH2rRp4/hVVZZoOlkyFRaVIDo8GD0alGD5Z6/hmacmlftaOXXuVzSsaGJFk+MPdTkbcOqcFsn/5mFFky5PVjTp8ZRrjBo1auDqq6/WS1pBJoomXcxcdU6XJ5uB6/KkaNLjSdGkx5KiSZelv9komvwl6OP2Us20d+9e84/cqPz888/HRVNKSgq6detmRNT555+PzMxMI5oCAgIwaNAgPPfcc5g5cyb+7//+z1Q4DR061FQ7XX755UZM+TIqQzSVADiWVYg3fziIdXuzUCqZru2ciFYx+Xj2qSfxzDPPUDRZHDCKJoomi9PEKoSiyQqTdRBFkzUqq0CKJitMVkEUTVaYrINeeeUVtGjRAr1797bexp9AiiZ/6J26LUWTLk+KJj2eFE16LCmadFn6m42iyV+Cfm4voujpp58+Lpo8Hg8WL16MP/7xj9izZ4+ZNpeXl2cqlUQuTZkyxVQzffHFF5g+fTqKioqQmJiI7du3GxkVHR3t0yvSFk0imdKyPfi/5YewfFcGCjxSyRSEazvXQo8WschOP4qJEydSNL1g14eEosld0cRV53z6GilzI06d02MpmTh1Tpcnp87p8WRFkx5LyUTRpMuTokmXJ0WTHk+KJj2WFE26LP3NRtHkL0E/tz9ZNBUWFpr+SyNHjsShQ4dMdhFNb7/9NuRpmjztvfPOO3HgwAFERkaa6XKffvopunfvbkRUXFyciUtKSnL0yjRFU6lkem/FIazYlYm8wmJEhgbhmk410btNPKLCgnD48GGKpoNbkE7R5PU8ZY8mr4gcBbCiyREur8GsaPKKyFEAK5oc4aowmBVNeiwlEyuadHnKQ9YePXqYCn43BkWTLmWKJj2eFE16LCmadFn6m42iyV+Cfm7vRDS9+uqrWLJkCXbs2GFEjfR5ki/6xx9/HOPGjTP//v77741suvvuux29MhFNY8eORfPmzR1tV2ZwWDQ8jXriQGG0kUzw5CPwwCrULthtqppkiFCTiq1mzZqVu7/YkmwML/7G6vWkoQb+E3RpubHSLH3fvn1o2rRpuTEJJZkYWvyt1f6OIgYzg8ovn5djIzKwSZMm5eZLLEnHkOIFVvs7HBCH9wIvLjdWZKSIycaNG5cZk1SSij8WL7LalwQdDEjArMCeZcbn5ubiyJEjaNSokXU+fwLlM3L06FE0bNjQnzTW22ZnZyM1NRUNGjSw3safQOnJJj3a6tev708a621lKq78U69ePett/AmUfcl7rFu3rj9prLcVlnLOuLk/+UzUqVPH+jX6Eyi9++T7xenDBF/3KZ8F+b6uXbu2rykcbSe/RVKpK/0I3Rjy3VJSUmIqgyt7yLR4mQIvfRndGPI9HRQUZBYOcWPIdUlISAji4+Pd2J35zZOqb7nmcWPI4iwRERGIjY11Y3fmGiIqKgoxMTGu7U96evlaGe/0Rco1mbw3N/cnx07eoxtDWmPIZ0GOoRtDrqnlu0UeQrsxfvnlF/M9LZ+Jyh67d+82v3nh4eGVvSuTf9euXeYaQr5f3Bg7d+4014ChoaFu7M7cR8o1tXxfuzFk1o3cnwQHB7uxOyQnJ5v7Pfn9c2Ns27bN3M+6uT+Z6eTW+eIPQ4omf+gpbHuyaJIL7GXcwcpcAAAgAElEQVTLluHaa6/FunXrzM2LxLzwwgtmetyLL75o9io3b4888ohp/C1Pg4YPH262+/rrrzF79my8/vrrjl6dXNw/8MADuOeeexxtd3JwZl4RPv05DTtyIoGgUESEBqJvmzh0quUBCrKPh8vNi5TZ33XXXeXuLyjzEBI+HWv1eopi6uLY1f8uN1Yu8KXZuqzwV94ITt+H+Dn3Wu3PE9cQqVeW38hcLoBlSkZFS6wHp+5G/Bf32+0voSlSL59Ybuz+/ftNc3ipcCtrhBzdjri5D1rtS4IKE1sirf+EMuPlYkam79x6663W+fwJlB/8hQsX4uabb/YnjfW28jmT6V433XST9Tb+BMrKkytXrnRtOXdZOEC+W2R6rhtj/fr12LJli1k5042xdu1ayEWbfIe6MVatWmUktlsNl6UiTQTCFVdc4cbbM78rIu/69+/vyv7kYYqIuz59+riyv0WLFhmx5UbfHal+kwvRiy66yJX3JivRyk3ghRde6Mr+vvrqKyNhpLekG0NaCMiNrlsVMVJtJzeD55xzjhtvDx9//LG5WerUqZMr+/vwww/RunVrnHXWWa7s7/3330eHDh3Qtm1bV/YnFX5dunRBq1atXNmfzESQ2QYqD3AtXvGbb76Jiy++uMIHnBZprEPkRrdv376uPASUasIrr7zStQdkMm114MCBrj3Qef755zF48GBXHnjIAZ46dSqGDRvm2kMBqV687bbbXJPm0mbmT3/6k2uS98knnzQFHm6JUGk9I58Jiibrr6szN/Bk0SRPVkVSyE2gfMmJ+JEnrnJhKr2Z5ItBqlfkB1NuqEQ2ibSRv2/evNnIDbkR+fe/y5cuZdHWmDonkumj1UeweFs6cgqKEBESiMvOqom+7eIRE3GixebUOaCIU+esPvicOmeFyTqIU+esUVkFcuqcFSbrIE6ds0blNZBT57wichTAqXOOcHkN5tQ5r4gcBcj9gDzQadeunaPtfA3m1DlfyZ26HafO6bGUTPKQf9KkSa6JLWl3I/LOrWpCWfhL+jRTNOmeN9UqmzyxlR/ZOXPmmKfhIpzkyc7111+P22+/HT/++KOx2zL1SkoNzz33XCOapMxYnjDLNDmpcpJSxIyMDMiXlFQOyJNZOdnPO+88R7z8FU1ZeUWYvfoIliSnIzu/CGHBgbioVRwGdk48RTLJC6NoomiyPUF/D9HEZuC2R8d7HJuBe2fkJILNwJ3Q8h7LZuDeGdlGsBm4LSm7ODYDt+NkG8UeTbak7OIomuw42URRNNlQso+haLJnVdmRnDpX2YTLyS9CSKZ3iHApHYGBgWZOsMgj6YkhlQcypNRe/ptMo5OKJ+nRIXO/RUzJkFwiq+S/yXzbjh07Op5X7I9okuql2auO4Pttv0qmHi1jMeDsRCRElT3/l6KJosn2o0fRZEvKLo4VTXacbKNY0WRLyi6OFU12nGyiWNFkQ8k+hhVN9qxsIlnRZEPJPoYVTfasvEXKg/0///nPrvUipWjydkSc/Z2iyRmvyoymaKpMulUod1miSabCvfr9fmTkFVX4ToqKS3Aoo8BUMskIDAhAfFQwEmuEoEF8GG658NQmwBRNFE22H4/fQzRJpeH48eNtX6JfcatXr8b8+fNNVaIbg6JJlzJFky5PiiY9nhRNeiwlE0WTLk+KJl2eFE16PCma9FhKpjFjxmDChAmuLUxB0aR7/PzJRtHkD71qtG1ZoulYdiHGvZcMT3GJT+80AECd2FBMHtTilO0pmiiabE8qiiZbUnZxFE12nGyjKJpsSdnFUTTZcbKJomiyoWQfQ9Fkz8omkqLJhpJ9DEWTPStvkRRN3gg5+ztFkzNe3qLZo8kbIf79tCNQlmhKzfHg/7N3H+D3XEX9+DchdAgdJIIoICKIiojCj2ILVVCKqJQgJSAKht4CwYSWkFADhIgCCoIivSgooDQBQUBpKlgQ6UV6T8j/ea3/gXW9937uPWfuDflkzvN8n/Dlu3dnz+yZmfe8Z87ZB73w3/bsaFo2mQMPGIYfuPA5h2N++QeKaFqgpDoMfD0zKKJpPT2te1URTetqar3rimhaT0/rXlVE07qa2vu6Ipr21tEmVxTRtIm29r62iKa9dbTJFUU0baKt1dcW0ZSnS3cqoilXn0U05eqz7rYDDSwimnQy/dd/f31pR9PXv/mt4U3/9vnhHf/5xeHK33ee4Wd/6ALDgdil/3/4X+c464Hj9rn5qI6m6mhad1kX0bSupta7roim9fS07lVFNK2rqfWuK6JpPT2tc1URTetoaf1rimhaX1frXFlE0zpaWv+aIprW19VeVxbRtJeGNvv3Ipo209deVxfRtJeG6t+/6zTQchj4t047bdD19IWvnjocfM6zjAd/f4dmWj3FIpqKaFrXCE4Poqm+Orfu29n7uje96U3DO97xjrGitYvx+te/frBm7NHfxSiiKVfLRTTl6bOIpjxdulMRTbn6LKIpV59FNOXps4imPF26UxFNufosoilXn3W3HWighWjqeawimopoWnf9nB5EUx0Gvu7b2fu6N7/5zcPb3/72Ipr2VtVaV7zqVa8avzB6+9vffq3rey96xSteMXz6058eDjvssN5brfX7IprWUtNaFxXRtJaa1r6oiKa1VbXWhUU0raWmtS8qomltVe15YRFNe6poowuKaNpIXXteXETTniqqC77bNFBE0zCc+ql/Hz7/xF9Z69Wc5aKXGc53t+ctvfZDH/rQcNJJJw3HHXfc0mvqjKa1VD12p7zgBS8YjjrqqPV+0HnVu9/97qGIpk4lTn5eRFOeLt2piKZcfb7oRS8aTjnllOEWt7hF7o0X3O15z3vecNBBBw03velNty6LgCKactVcRFOuPotoytVnEU15+iyiKU+X7lREU64+i2jK1WfdbQcaKKKpiKbpMjvokj86HHynP1y48t7//vcPz3nOc4ajjz56BytzKKIpWct1RlOuQmvrXK4+q6MpT59FNOXp0p2KaMrVZxFNufosoilPn0U05emyiKZcXbpbEU35Oq07blkDRTQV0VRE0/9ooDqacp1NdTTl6rM6mnL1WR1Nefp81rOeNVz4whcebnCDG+TddMWdnvGMZwyXuMQlhutc5zo7kVdEU66ai2jK1WcRTXn6LKIpT5dFNOXqsoimfH3WHXeggXWIpm996TPDl559j7We5sDzXmQ4z60eu/TaOqOpzmhaayENp09HUx0Gvu7b2fu6Ipr21tEmVxTRtIm29r62iKa9dbTuFUU0raup9a47+eSThyte8YrDta51rfV+0HnVk570pOEqV7nKcPWrX73zTuv9vIim9fS07lVFNK2rqb2vK6Jpbx1tckVtndtEW3tfWx1Ne+uorvgu08BaRNPnPz587jE3XOvJDzz/IcP57/XyIprqjKa11suqi06PM5qKaOp+bd++QX11Lk+X7lREU64+i2jK02cRTXm6dKcimnL1ecIJJwyHHnrocOUrXzn3xkvuduyxxw43utGNhitd6Uo7kVdEU56ai2jK06U7FdGUq88imnL1WXfbgQaKaKqtc9NlVmc0vXx44AMfuAPLG4Z3vvOdw2te85rhPve5z07k1RlNuWquM5py9VlnNOXps85oytOlO9XWuVx9VkdTrj6LaMrTZxFNebosoilXl+5WRFO+TuuOW9ZAEU1FNBXR9D8aqDOacp1NbZ3L1Wd1NOXqszqa8vRZHU15unSn6mjK1Wd1NOXq0wdhbnWrWw2Xu9zlcm+84G4PfvCDhzvc4Q7DpS996a3LIqCIplw1V0dTrj6LaMrVZ91tBxoooqmIpiKaimjahqspoilXq0U05eqziKY8fRbRlKfLIppydeluRTTl6rSIpjx96mi/173uNRxyyCF5N11xp3vc4x7DkUceOVz0ohfdibwimnLVXERTrj7rbjvQQBFNRTQV0fQdoqnOaMpzOkU05enSnYpoytVnEU15+iyiKU+XRTTl6rKIpnx9FtGUp9MimvJ06U53uctdhuOPP344+OCDc2+85G6HH374cOKJJw7nOte5diKviKadqLmEZGqgiKYimopoKqIp06fEveow8FytFtGUq88imvL0WURTni6LaMrVZRFN+fosoilPp0U05emyiKZcXfbe7YADDjjAPQ447bTTTuu9Wf3+jKuBIpqKaCqi6TtE08tfXoeBZ3mz6mjK0uT/3KeIplx9FtGUp88imvJ0WURTri6LaMrXZxFNeTotoilPl0U05eqy925FNPVqcJ/8voimIpqKaCqiaRvurIimXK0W0ZSrzyKa8vRZRFOeLotoytVlEU35+iyiKU+nRTTl6bKIplxd9t6tiKZeDe6T3xfRVERTEU1FNG3DnRXRlKvVIppy9VlEU54+i2jK02URTbm6LKIpX59FNOXptIimPF0W0ZSry967FdHUq8F98vsimopoKqKpiKZtuLMimnK1WkRTrj6LaMrTZxFNebosoilXl0U05euziKY8nRbRlKfLIppyddl7tyKaejW4T35fRFMRTUU0fYdoqq/O5Tm2IprydOlORTTl6rOIpjx9FtGUp8simnJ1WURTvj6LaMrTaRFNebosoilXl713K6KpV4P75PdFNBXRVERTEU3bcGf11blcrRbRlKvPIpry9FlEU54ui2jK1WURTfn6LKIpT6dFNOXpsoimXF323q2Ipl4N7pPfF9FURFMRTd8hmuqrc3mOrTqa8nTpTkU05eqziKY8fRbRlKfLIppydVlEU74+i2jK02kRTXm6LKIpV5e9dyuiqVeD++T3RTQV0VREUxFN23BnRTTlarWIplx9FtGUp88imvJ0WURTri6LaMrXZxFNeTotoilPl0U05eqy925FNPVqcJ/8voimIpqKaCqiaRvurIimXK0W0ZSrzyKa8vRZRFOeLotoytVlEU35+iyiKU+nRTTl6bKIplxd9t6tiKZeDe6T3xfRVERTEU3fIZrqMPA8x1ZEU54u3amIplx9FtGUp88imvJ0WURTri6LaMrXZxFNeTotoilPl0U05eqy925FNPVqcJ/8voimIpqKaCqiaRvurA4Dz9VqEU25+iyiKU+fRTTl6bKIplxdFtGUr88imvJ0WkRTni6LaMrVZe/dimjq1eA++X0RTUU0FdH0HaKpDgPPc2zV0ZSnS3cqoilXn0U05emziKY8XRbRlKvLIpry9VlEU55Oi2jK02URTbm67L1bEU29Gtwnvy+iqYimIpqKaNqGOyuiKVerRTTl6rOIpjx9FtGUp8simnJ1WURTvj6LaMrTaRFNebosoilXl713K6KpV4P75PdFNBXRVERTEU3bcGdFNOVqtYimXH0W0ZSnzyKa8nRZRFOuLotoytdnEU15Oi2iKU+XRTTl6rL3bkU09Wpwn/y+iKYimopoKqJpG+6siKZcrRbRlKvPIpry9FlEU54ui2jK1WURTfn6LKIpT6dFNOXpsoimXF323q2Ipl4N7pPfF9FURFMRTd8hmuqrc3mOrYimPF26UxFNufosoilPn0U05emyiKZcXRbRlK/PIprydFpEU54ui2jK1WXv3Ypo6tXgPvl9EU1FNBXRVETTNtxZfXUuV6tFNOXqs4imPH0W0ZSnyyKacnVZRFO+PotoytNpEU15uiyiKVeXvXcroqlXg/vk90U0FdFURNN3iKb66lyeY6uOpjxdulMRTbn6LKIpT59FNOXpsoimXF0W0ZSvzyKa8nRaRFOeLotoytVl792KaOrV4JZ+/8UvfnG4+93vPrz1rW8dznrWsw6HHnrocMIJJwxf/epXh6c97WnDySefPFzgAhcYnvvc5w6HHHLI8M1vfnPQOfDUpz51ePazn73xUxXRVERTEU1FNG3sONb4QRFNayhpg0uKaNpAWWtcWkTTGkpa85IimtZU1JqXwXlXvOIVh2td61pr/qLvsic96UnDVa5yleHqV796343W/PXjHve44ZrXvOZw1atedc1f9F0GQ8PSV77ylftutOavjz322OFGN7rRcKUrXWnNX/Rd9rCHPWy4+c1vPlzhClfou9Gavy6iaU1FrXFZEU1rKGmDS+5yl7sMxx9//HDwwQdv8Kv2Sw8//PDhxBNPHM51rnO132SDX97udrcb8/2zne1sG/zq9Lm0iKbTR+8rpX75y18eHvWoRw3ve9/7hmOOOWb4/Oc/PxxxxBHDve997zFIXvva1x7JpNe85jXDaaedNtzvfvcbPvWpTw3Xve51B0DhGte4xsazKqKpiKbpojnokj86HHynP1y4jt7//vcPz3nOcwYgYxeDHbzgBS8YjjrqqF2IG9797ncP1dGUp+oimvJ06U5FNOXqs4imPH0W0ZSnS3cqoilXn0U05eqziKY8fRbRlKdLdyqiKVefPXcroqlHe1v6LdLnxje+8fCgBz1ouOENbzh2MWFKX/3qVw+PecxjBkzmW97ylpFoet3rXjcceeSRwwMe8ICxaoJV1QG16SiiqYimIpr+RwOIpjoMfFMPsvz6IprydFlEU64u3a2IpjydFtGUp8simnJ16W5FNOXqtIimPH0W0ZSnyyKacnXZe7cimno1mPz7b33rW2Oie/3rX3944xvfOFzmMpcZvvGNb4yJr64mBNPVrna14QMf+MDwwhe+cHjb2942dji94Q1vGLufznve8zY9URFNRTQV0VREU5Pz2ONHdRh4rlaroylXn0U05emziKY8XRbRlKvLIpry9VlEU55Oi2jK02URTbm67L1bEU29Gkz+/amnnjq84x3vGG5wgxsMb3/724dLXepS4/lLr3jFK4Y73/nOI8Gkg0l300EHHTQ8/vGPH4477rjhjne842B/9vnPf/6x3XrTPeFFNBXRVERTEU3J7my8XRFNuVotoilXn0U05emziKY8XRbRlKvLIpry9VlEU55Oi2jK02URTbm67L1bEU29Gkz+/V5E00c/+tHhM5/5zPDpT396+MIXvjA84hGPGAmoJz/5yePh4f4dUeWspk3G1772teG1r33tcPnLX375z751ynDqZ/5rrdsecJaDhgMveMml15qnOVzsYhdbfr9Tvzmc+t8fXlPeWYcDL3iJpdeecsopAzLtohe9aI68g842HHiB7116L+TgZz/72dXyTvnGcOpnP7Le/A46+3DgBQ5ZKe9zn/vccJGLXGThNaed8vXhW5/96FqyXHTAWc8+HHj+xfJ02Fl7F77whde+X8+FX//61weH4+9S3pe+9KXhQhe6UM9jr/1btudctl3K+8pXvjJc8IIXXPsZey609dccfbxgF8PcrJldymMTSP5dDGuFPzvf+c63C3EDW+CvdylPZ++uDvHkW5x1uAt5/OYBBxzQ3Hm86Qsn78ADDxzOc57zbPrTpuudJ3mWs5xlp/IU3M597nM3Pe+mPxJjHb66qwNfYYizn/3sO5V3jnOcYzjnOc+5qWqarofJ6JLMXQzY2VrZpTy25x3uYsDUdjXsUh6/uYsDiZ1DK8a2HA3SovtPfvKTI4bYpTyYjD/bxfjEJz4xYmr+ehfj4x//+Jif7FKefE/828X42Mc+Nuazu5L33ve+d9z5tCt99uiwiKYe7W3ptx/5yEfGjiSVa18AkTT5utzzn//84aUvfekoFfjXzXTxi198uN71rjd+JcQhze9617vGw8Gd3bTJALQlg2eERbvJvOra0kBpoDRQGigNlAZKA6WB0kBpoDRQGigNnNE1oPi3q4JAr66KaOrV4BZ+rwrpxHzs/UknnTR2xtzkJjcZP5N63/vedySeXvaylw0veclLhqc85SnjYeG+OPfiF794JJt88vB5z3veFp6sblkaKA2UBkoDpYHSQGmgNFAaKA2UBkoDpYHSQGlguQaKaPouXB22DSCMbnazm40t/Vo3HfjtDCZtqu95z3uGww47bHjlK185HHLIIYOtIk984hNHgklb8PHHHz+21NUoDZQGSgOlgdJAaaA0UBooDZQGSgOlgdJAaaA0sEsNFNG0S21vIEtb3Ac/+MHxIHB7Pu0VjvN3bHH78Ic/PFz2spcd74iMcjaCPbC2vl3ykpfc2R70DaZUl5YGSgOlgdJAaaA0UBooDZQGSgOlgdJAaaA0sM81UETTPn/BNb3SQGmgNFAaKA2UBkoDpYHSQGmgNFAaKA2UBkoDu9JAEU270nTJKQ2UBkoDpYHSQGmgNFAaKA2UBkoDpYHSQGmgNLDPNVBE0z5/wTW90kBpoDRQGigNlAZKA6WB0kBpoDRQGigNlAZKA7vSQBFNu9J0ySkNlAZKA6WB0kBpoDRQGigNlAZKA6WB0kBpoDSwzzVQRNM+f8E1vdJAaaA0UBooDZQGSgOlgdJAaaA0UBooDZQGSgO70kARTbvSdMkpDZQGSgOlgdJAaaA0UBooDZQGSgOlgdJAaaA0sM81UETTPn/BNb3SQGmgNFAaKA2UBkoDpYHSQGmgNFAaKA2UBkoDu9JAEU270vQ+kXPqqacO//qv/zq86EUvGt71rncNb3vb28aZHXjggcMFL3jB4Sd+4ieG6173usPP/dzPDQcffPA+mfX2pvGVr3xleMtb3jK88pWvHN797nePujXOdrazDT/wAz8wXPnKVx71ea1rXSvlIb785S8Pb37zm4e//Mu/HOX927/927flXfrSl/72+7vGNa6RIu+///u/h7/4i78YXve61w3/9E//NHziE58Y73vuc597uNKVrjRc9apXHa53vesNP/RDP5Qibz/f5Jvf/Obw7//+7+O7e/3rXz984AMfGKwf40IXutBwtatdbfxz6KGHDhe+8IW7VUGe9WFtkud/hzz3J+v//b//N/z8z//8KL93fOMb3xjXf8yPvK9+9avjbS960YsOP/3TPz1Ylz/7sz+bIq/3ebf1+/e9730Du7nmNa+5LRFnmvt+4QtfGN7//vcP5z3veXfiYz760Y8O/nzv937vcPGLX3zrev7IRz4yfOxjHxsucYlLDN/zPd+zdXn7XYCYCONc9rKXHc5znvNsfbr/+I//OMogT0zc9vjrv/7r4fu+7/tGeftxiB2Xv/zlh0td6lL7cXo7ndMnP/nJ4b3vfe/wYz/2YyO23/aAD+HTH/7hH96JLYiz8MwVrnCF4VznOte2p7fv7/+a17xmzFnY3lnOcpatz/dVr3rV6Mf4s13Ie+Yznzn82q/92nD2s59963PbbwKKaNpvb3SL85F4/t3f/d3wm7/5m8OnP/3p0akgRGIccMABY6D4+Mc/Piagf/AHf9BNNp1yyiljQv3iF794JLb+/u//fhSH2JLcBrEl+cwgtr72ta+NxM8rXvGKkYgh2zjrWc86zvfHf/zHR+LnZ37mZ7o1LQl6znOeMzz0oQ8d7yXgSbYNujzttNMGwd5c73CHOwz3uc99umR+7nOfG/74j/94eOQjHzneX0Cfy0MEmevhhx8+3OMe9+iS96EPfWh4xCMeMbz0pS8dQfslL3nJwfuM9+d/u+b7v//7h9/93d8dfuEXfqFLnh9bl4gtxAjgQn8G+Yitn/qpnxrf3+Uud7luWW7g/tZKyPvUpz413ldiG/IQab3Anu294Q1vGPX0H//xHyORdP7zn3/41re+NcoTaIGmD3/4w+P8HvzgBw+XucxlmudI3t/8zd+Ma/M///M/R3nnO9/5/pc8ti6pvv71rz8ceeSRA6KydViHgMrDH/7wcU3M5R100EHDF7/4xdG3/OIv/uJw//vff7THnuH53/GOdwx/9Vd/Nf4XIRG2jihApNHlVa5ylZ0C0Wc84xkDEHzCCSf0TG+t39Ipco8fv+IVr7jWb3ouIo9PPec5zzn6n20PRMzzn//84WIXu9jw67/+69sWN8ZHf6wdvmbb401vetMYExGw1um2B//CBvlyOt32kOjyDT/4gz+4E+Ln937v98bYeJOb3GQkt7c9nvzkJw/nOMc5hl/6pV8aLnKRi2xb3Ijd+LSb3/zmW5dFwKtf/eoxDvX66pe85CUDv/gv//IvI4kL7930pjcd4zi8EuM2t7nN4I+YtO0h1vPTcNsu3h2sQd6P/MiPdBWSvvSlLw2///u/P/zpn/7pWND40R/90XH93fjGN/5fhBLbc91d7nKXkbxrHR/84AeHxz3uccNrX/va0bb4qVvc4hZj8XRKrj73uc8dC5GS+R7fAh895jGPGTEZXESee/KRU0LpT/7kTwbv8Ja3vOVO3h99Kpx5f2x+2wN+46fha/ipdSCnn/jEJw7//M//PPrEq1/96sNv/MZvjD55et/f+q3fGm52s5uNudE0L9xULp9x4oknjnhM8YS8293udiOGnhJKd7rTncaYfu1rX/t/+YBN5T3lKU8ZnvWsZ425g3UOr//Kr/zKOFfrNYb5aqyAu3cx+LvDDjus693t4jnXkVFE0zpaqmtGDXzmM58Z7na3u43GLvgAD0iQ6fj6178+Jm2PfexjR7DWQ44AmID0b//2b4+yJbIBKsIBCJqCE2dz8sknd5FN7iX4SOYl8ALClIgxT7IQQLe//e2HBzzgAc0rQ9X07W9/+6hPzvmGN7zh/wl25Hz+858fiQzJ0qMe9ajmzibyEGj3vve9R3mA2BwckYeMevnLXz7+OfbYY8fg3DLoUtfbSSedNNz1rncdn3sefOhY4vKHf/iHI3miYtAD7t0DsfXnf/7nI9Gjyj8ltpAnSAwB6yEPecjYddczJOjk6fhBcgLAU3nWzn/913+NwQvx00NOAmuSIP9FOrrnHDwgSQVCgA0A9/5ah84p8iTqgjx586oR0CSpft7znjeSFA972MNaxY3kw1Of+tTRvoAYHW5zeYg03XgveMELxk4/77B1sCsk76Mf/eixg+GQQw75tj75FmsTCLdmbnvb2w73ute9dkY2AT5Ibraz7YE0eOELXzgSP3zatgdi0vsD1oCobQ/29+xnP3vsLrKutj3+9m//dvBHN5piy7aHZIpf51t0/G17ILvf+c53jv6cDW57PIjvGAIAACAASURBVP3pTx9gCqTCLjq2nvCEJ4yYRiK8C3kSYkmnxKYnuV73Pdz61rceifpb3epW6/6k6zo+xbtDZLQOJJNY9tnPfnYsLvLN/IhOhnve854jcSbeG7/8y7883PGOd+ySB7vAJOIDckdsQ8KYwxSfKGRZn3SqANk6yHva0542Yk/JrgJVyJt2JiOZXEensGnreOADHzgWHOE/BTiYT6yDoRVwzBe2UNhFMCg4thYhxHP4T9yGjxA9MB+s4j35t9CpZF93prjQ2g0qnslN4CD4T1wTA/iQO9/5zmMuETr1jr1f+KYHd8JKxx9//PDGN75x1JsufQQI/09+DDqnZ0RoT4cYAulJT3rS2G3muRU1YJQ5Jvyd3/mdMa+Ac1uJLbEFoaMo553o5nnPe94z6lBRkC+JDh/PYN4Kxq1dP9YJfAs7hzxdn3wjHyBviTwCQejd6aifks2b2AWMBcPzKwqp1gmM/ZM/+ZPj/HTzBQ51Dcx/gQtcYBMR/+daNhVrQbHNnMQbOp0SW/wbcm8/dNsV0dS1ZM5cP+awVZJ0AGiPXMSSIyskhNoajzrqqDFhah2ClCDHiajEYeanxBZZHIOKLuNFoLR24Ug2BVZOFTC60Y1u9H+CD3m6kLRnS150HLSSB3SEQAIugBUBf07a0VuAKkEYIEA2tQyBAnmkM0xCr5K0TB4gwBH6DSfcMgBBz8xJAxPTgDu9H70LJLrfAEbkZMvQKYGMA8SACQTZImIL0aRSANDQe2slElHxZ3/2Z6OeABvy5sHOuxO0yAMwEDet8gAnwEglWhK7qGIU9uA9S+YFytauJgEf0CZv0dy8I/IARokAcu+YY45p7mqSMHtm8lSwFgGHkOc9q7Ihmlor5bZy6iagH0EekJn7Fvb2spe9bCS7ARp+oXWwc/5wncHHSDx3QTSxU5VtYMY63vZAXFpXwJquyZYhmfDu6HSvgfglS1xoJZoUBFRYEUh7Dfaggi5hayWa2Dp5bHCvgexFMJG3C6JJkuP5JC8Sqm0PNiDp0JHQmnwqYOjM4PP3Gvw6DHDEEUc0E038vThkne41+BjxUcxqJZoU88T1dQZMJQ7timjiW707/qx1wH5iKYIFBhQHkDwwnwIFv2U+ErUMokkXL2yADFdAsibEb3Hpvve970gqiU8SfevTc0lMW4e48Ed/9EdjsoswI09hVZy/3/3uN3YcwdqwNL+nc0QC3DJ0J0vQxTJYC+7kIxXL4ELyzRGulVT3Ek0wLoLAGo+4bm5iuDjAhyC+JNz+3ks0wSE69hWG3Nt7Ig9Wc38+mTyFOPi0l2hi4wgz5DtiAKEDY/JZ3hO7DmKCT/Asrm89auCtb33rmAtZI4hw8qxDxJV1K28JrI2w8Z6vc53rNBNNiuls7eijjx79EyIEsSb30VCAzDJP6yiDaLL2dDLBrnREniMU5D3/8A//MBLL7B1eySCa7IhBxrFh95SP0DFdsgsEoryE/WUQTexJTkWXiC3xW46g+9m6RTIHDqVT/noXW6pbfMkmvymiaRNtncmv5UBVMnWOLCIpQj2AAOfAwbm2dbgHxtxWKE58GbGFEBEojzvuuG9vrdtUJoNHIEnmAdNlxI+5CS6uEaRUJFuGZxaEtYnqxFo1VLyQBxIdjqplIGLoUdVlr3tIdCXYCDwtzy0DWSWw6xRRwVk1rCvEHRApeLSMIMcEXoF4GbEleAiQgJ0W2dZKK8BmfoCZhHlZxYg8gUtSTB4g0DJUlsgzt72qi94x8gC4a92e5B6IH1XAve6hJV73GsDR2mIvgbXGJXl73QOJzXYAjtYtkEAme2C/gv6iPf6Sm0jMVJpVEVsHYI3skLw4Q2tVhRFoRYC1Ek38kqRBwrvXsD4BHoC4lWiio2g/X0ce4K2Ts5VokvR5b5IuXTWrCBa+jL+WgLYSTaqKSFTkpuRPC/2yoRgDsAKurUQTYI9E1T0k3q4ii/lOsUry0ko08S06efipvYY4iXiWALcSTfyYmId03Gt4f3QpwWglmnTsSRzYs+r/qm4CJJokm99r7WiS1EqUYCTvZFUFXEconOT9tRJNti2zP2QHUmJVdV9cf9CDHtRFNCHhJPTrDL4BpuohmhQfEFbuERhQIi/mI83MCdEkdnhvPR1N7Nd6swZ+9Vd/dfSNfCScRpYCj7XonUkQe4km9quDR1eDeSK2yINF+XA4Rhe6rg0Jfi/RpBsFSYAgkGQHjlf4lMjbiSDR5+9gNwXAno4muA4ZSKcwfHQLw7S2ysPs/JeEXqHXVraejiZxHUFmLehoMtg9/OsdIr3EYPEDvkX89HQ0ORYCQcAGxSK2ByvAX/wc/83e+HB20Es06Yz3Dv1Xh1gQPzGfILesowyiyXuDW8XPwNTWpxiMvLdGFfgRUdZUb0eTdx/bOAMjhTwxg0zENXnecW9HE5/LB2uciG4izQvWkA59OZeud3MUD3o7mnQisnN61fVlbYq/5uN/sz/4EB4tommdCFPX7DsNqDYI+FhnjmfZQKJI5AWZdarAy+7DqG9wgxuM+/L3IraAc85AUtAyBFrBHYASXFeNTUiiZfeJM3eACEB4VWcGMAK4CtQCTMsgT6KkegYII3WWDYAGALBVsXV7oIDq/QvmwFG0ts9lCiI6RjhzgQqAaxl0hMyho73IKuQnICD4A5Mtwz3o0Xvb6x7Wse1lSJHWszHivAT3QAosGwBVkChAALDYMoA+VV0kE3Jr2ZAIAlCIIqC7NRlErriPREmisGyo5LFP4EDXR2syiITRRaXKuMq3CP6uIW8vv7BKz5Jqa5w9sMFV5/fQuzXTSjTpkkCKkQfYrDpUHODn19ldK9FkS8vjH//4kazw/lYRLHHOFr/eSjR5J3xGVAYB+WWdgvSOMAUkW4kmvpNvMUcVYn5q2QAaEdk6f1uJJvLYsPXNl62yP3qQINqu0Eo08S3iimeXGK06a01yLVFjo61Ekw5IxA9Ar8thVXVfNxk9WputvkXiJ3GWoCEJbBFaNiQzEirJTKtvkSwjCuEW3Uar1gE7pc/oqmzx1d4fMkDi6b+rYnt0bPd0NMF/Ej7rjX9ZRWzptIJdeogmhSr+SZydFpD4AfHHO9NZrPMAxrG2WgtIcKTimu4M721KxIiJbNI60hXDThQcezqavDskAYJMTJjK0+nN53gmMQO2Ebd6OpqQPkhiPnPehRVHCyBNbNPjU3S8Okpir+LWsnUL24qdnnm+LnV/sm824r2yb/iGLlptXUEHYY4MDaIpno088ZcPQMSwb1v0+ZbWrXNx7MPUPwWxZecHEkqnnffIV4uVPR1N7Fc3qfwrOl2CiIEbkKHWvndGr70dTYqV1iX7nXfWsD24lm9ln7G2/O/WrXNiHbxC3rxYTJ5jIZAyupDketYqYqZ165wcQJGUH5viQO9QDsNOFCTpUoxERPdsnfNb/gMuD2LLuoT36FEXs7Wi21BcqI6mlohYvzlDa0A1U4Iu6AGkDJzBAPnxRSwgC2HD6TDO1uSFoqLa4z72rK9Krjl8DgPQaBmcNSMXEFUpVoFtwZezA+w49NahIhesuc4th0oiLlTEEV9AiCSQPlXwBJLWczF0YgVhJfBz1OQJ/uQhz4ALiZkA6XqJdWuLNkct4dLCrAoJtJgbIKE9VUWEcxUsbGMS8AHG1q1l1h1iS3u5hHfZF4O8Zx04AL6EsfUAcl0jkkHrXEK/TB67ULkDzHVxtJ4LZT0AUZJrlUjB2EGP7E+g0rUhCfRuAVOVJWC49Wsc1gNbV/0kTxcDoAsAkmddkic5VQF1ToUEpFUewsP7E2RtPQLyyQMG+Z2Qx0Z1OkoEAMZWeRIg+rQGViXoZCFKrWFV19YRZ6TpPGB3ANKy0XtGE9sDqK0VVUGJ17JuCeuG3wSAWn01edYdeToA+MRlwN17lHx4nlaiid74Q/bHthBIqq6LRtYZTUCn9n2kBfJ9WSdd1hlN5EhS2CG7WvYxgYwzmvgoCax1Tpcq4cuGLis+VjLRSjTRpbUiyUSMrPKJSF6AHOHWmnyKZcg46xLJZJ0v89cZZzSxB8Q5sgn5YZ0v2/6QcUaTmCbh4z8lhkjcZSPjjCbvn9+UpN397ncf/fSyoeMAUdRDNHknCGrPvqggJwFV2BRjkXt00Uo0KbJJLuHAOSFJz/wJ7Afb6HqylhULW7fOwUDiNJyEdJ0OdkkevI3kYidwh+tbcZl76hqBNyWz8wJgbPdnn3Angl7BqpVook/2JkkX0+e7EjyPLkK2yR+I67YBt9q6eM3e+E4EyRwfxAeN2CYbjbNWW4kmxIdY6/3NnxlOQnqxEWR6EFsKha1b59zL1k32NH93cXyEeK/QQfcwkm651jOaFFN1mvNTi7A5XKoIAwPr8ueD5BatRJN7KfbbdbGI0BEPdYrBpfIn+je/VqKJvxTLEVyLdMS+dcGZF9LH33uIJphdfiXfWURswRa69eFDeS95tXWuFXXX786QGojDoiVpiB3MrMDBmfs3ThwoFJw4UxWonk8Eh1PhOBFbSIEgtiQaHKnAa9ucpFelpid5kXRhlRERtjgJrggnRIxk13xdQ55nU82ShLcOySfyhy45WOQLhxlfnFPxxeqbuyqI4NHqUD0jeXFmkACySJ65AliSDUCqRx6dARH0xHmaT5wt5FmsF6y9dQKMSsBXdZes0jOAJKhbA55Zq3kQWwAihw2EINMkS/ZCI5umh21u8h49P9ID6BOgvBvAW0JInkSRPGSh5BNBiERplce+zAH4k2CbK9vzx7/FIeSeQbKo4tXazUQP7hmkMXnA1CJ5gjRwCNi3gsOQF7ZMHiDvPYZvMT92IUCbH/ts7TgIEtv7B2q8O1tq6AtRomsKiJEEaLdng9ZV75eMAEGknDmtOjzWuvEMPb6Ff0Sk6R7RvbCsAzXrjCbyEJOqf5HILLKnjDOa4r5BPlp3y7o4EJh8HrDWep5XrE/rgQ2y8WV2DIxax4i01uQl5CGx+ehV8sQjdsoWWkl68txDnOXXJM7LtutlnNHEt0icyUMqIy2WdbxmnNFkfmKNxFICxGct21qNqPB8yJOeQ1jJkzi7B3nLEj2FFn6NvGXPtE5cEm/EGnhFMrNsIITZyypyaC95fHFsDYptZMt+k3FGk+5hMYHPX+YT2bkt1chgpMUqsm3V/MxNRw3SJ7bOTa+HM5A/ig627IkZ4kgr0UQesgNeia1zc3kwomSXb/VuFSJaiSb3lujyZWKCYul8mGN0qcY2ur22sy/TKX+CqOKfzFF8nQ+2EvhdXETytfpO+lSw1M0kX1jkV8izpvg5ZBR5rbiMHr0/W56szUXElmIc8jLOgEUmtBJNYrp1Z8fBIryF+IHtET/yI7kFbNZKNLkfwiOObFh0fIlr+BXdVvw1PNX61Tn3UnzQkaabflEh0TV0KkdRfJevtH5VD2nOfhFpy3JVHeLRSaWI2/PVudCjNbcotxLvNR8g08RkmLGIpr0iUv37vtMAEIZAEIgkDVjsGJyCgAL0M8YeoBZgm+EhtlSsAKk5sYWYIA8zvai9c5MXECAivjgiqZgTP4CqbhLEj0DWQ8R4tmizBRQFW/ONQRbgGAfHtTrvOXDhvDgx724qTzCSjHmHWot75QUBouIo+RKUVXliAAHIJbL879bulLhfBDygNLrA4v0EseV8DtsiJN8CWSuxRSayUcAjD3gDYKbyJN+SP/JU5IG1HnlxGDYSQpJNn1PbA86sF2BO0tIjK+zP+yIPIYEAicEOQ573lyGPLZBnvfAtgNJUHjuwPjPkWQ/uD0DosAHmzYnOPAfAav0DoiqywFMrWIs5TAnBVX7Ds3mGXt+C9ACorcFlxIE1zA+QtersoXX8aHTVxXta9Bvy+Dm6bD2oPu5LR3TlnS3zHXTuGsl8r3+J9+I+y2zLM/nj33vtb5fy6AnJwtYRW8sSIX5HrJLktCZn3h/70mVEl/ziMpIF2eZaxatePME/G+x8+nWf6ToNwt5zLbtmHVtwTRTeVt0rS174LLJWrXPPtMpe1p0b/ACP8RmLyIq4j2IMcmS+jWldOa5jBzCLNbKqU0LsgEthzx7STlc8W0BWLSKw6VryKalWfEQc9Hx1TjEDoaNrfxFJGPJ0eUh0dQf1fHVOwc8f9rQqQecLYBj67IlFSEC2tAojxFYlcnqx4Lry+DExHp5o9dXsVycoXIJIW0RWxG4PBIqiMZKhtSsGxtXxhdyKQ+LntuQaBV6kBsKpZyube8uDzIuulvlEc4Q3xA2xvcd3kmcNrMo/Qp4YxCe0yvP+2LK8YNUagFvkSnxd61qhy/iSI1tehic9j8YDXXewWW/c28TXbuvaOgx8W5o9E9w3kveYaoD5VnZ5kcrmxJaEcJpcT4mtHnAxTV4EKs5OQuS/MTg+iXwWETOdbyShdDrVp8Db49iWLcNF8siJZDt7+UbHG0ARg7xeMmuuQwEIKEVsIUamxBZAgdgSxATO3sQz5kSeIIu4mMpD+CCzsuRN50qPQOA2be/0lLcL30IGUAZwqlJbMzGAAMkRYGHdtLaCZ9vRJvfbNRGza3mb6KKu3VsDuyS2PA2Qz4euIn48k2syiJ+9NVBXrKuBTYitVcTsuvJ2eR0SRmyFJ1dhWXHftb1FuXXlKcB4Lriih/jZpS7PDLLkC7AszLCqAAFnwBHwYA+mR3joctmL+EEGI7R6iZ8zwzvc1RyD2Iov6i2TC5fKPWHQVhJtV3NaR04RTetoqa7ZWAOCcHwNZOMfL/nBquRT9cX2LGfTZIxVxI/n0Cmgumt72bYHcEEeMmPVQaZZzwH4kCcwrjpIOEuetWILgQDc2qI9f5YAwouILYBNxRJga/1q2TryAGyA0NpUsVQZ7O0aWUfnOkvIQ6r1dB2sI8s10e2EVNuFPNvakMDktbagT+cWXS/RXeDfourvHVqbbG8Xtk627Z1Ahurntgfb0zUCtPZUydd9TrZHniTO+tz2II8tIJazfMuqZ2YLuvEQlD1bV9fVC1sQhwDSnq2r68pDyPIvtl61fiVtXVmu0zEi/vGby7bXbXK/va5VcRbfyevZ9r+XnPh3XV0SCV1ku9gi4Uwz3WHLzvxa97nXvc52Np2Lq868XPde61znWANxwRy3PaKrix9r3eq1yTMqhOgis+1/F3FWzCNPt9aqLzVuModV1+rWQtrQ5y5swdwk9I7I2EXXCF9mN4j319sdvY7Odebx07ryMov/y2TrzNPZRV5vEXed+dlFwI+x9V3Is9PFzoRdFR2dT+iYiF28u3X03XNNEU092jsT/hZwtx/Zl3x0b9iXbO+8fcDT/dc6j7QC+3JGz9BGSJ4DaxEg5LmvPypJMXSvcALrfKJ52fMAmO7jIEHnNAk+2mFtybN1JobgBLA5r8KztQ7yJEH23zvUFbCNvfrTpFbbJsDmqxU9BxJLpCXN9nf7fD3gbvuf+U0JJcHe1jNnTNBF66AnB31r30UMSLwcjurchmnSJzGz91xy1nNoKD0Jrr4aY/25H3nu6WyfGP7NehKEfZWjddCT4OqwUgmYZC8+UzwllJB2DpgXhFsPKfWMEjwttfZvkw1QO3jRWQvT81nslzc/7dXTeW86T0kzWc7j8C7Jc4ioOUyBrjOonB8hKPYQd9aBrwc5zBUgAzj5Fn+mhJI1xf6cDdWTMAF+9ue7H+DnXA4HpLKFKfD0TPyKLw71DL5Qm70zwhAtDkclz3+n8pw7EF8japXHV/JP5meebMHatN6nhFIczu15Vh0CvddziAVswXYSRBlbsPWEvCmhZE2xdaSr99c6yOOjnFfCp7Fl8/Pl0blvsZ6QInt9jXLVsyDd2Z61ICaxK3bA/qaEkq207M+ZX61fgfMckliyyBRzyWPndDollNie89Mc1t96Tgx5klhn6dlKinykQ2uTTqdnoVm7zk9T8Gj9MAV51iQgbc0A0u7FTyNXp4SSa6zl+Lx063pBIPm4hfiAVCXPGTz0NiWUnO+C+DH3HiKNrTubhm+RmMAt5LH1aRLNPvmeuQ/fdJ78L3n8hvcFrzjzh+1Nu4ado+Lg/J4469nEM/pEDliPDqomz7qZynMYuHfXE/fIc3wCeQpE7C1wEruYdvfYEu+MuNYzmsgSW/lg9scu+Evvx58poWTu1qfzJXu2zpHnIHMHDvMztkSFvGmc5Vdd59iGnqIA+/Z1MrFdd4zznqx3MqeEEhslz1avHpIe9oMB2Z4CjnPZFIT5kKktwBnILf/WY3vwlrO62B4CwkcL3JNvmcbZOAfHmuk5304nOwzPN/JlttuLNXDEdJeFIxbo2/rsIe7oMb5+aD3CLewMPpuSEj4+A6+xzR5iKzCu9e698GGwJaw3leeIAbbec0YT+5PrwPBsnW8hDzaBqaeEkvN46dk66unw44PFPjGXDvkOvppup91EyHKxr+eMJvOTL1gLion8M3mO12DrU3kwlPxwFyTopvFm0+uLaNpUY2fi6wFep/0D91hkQSI+V42w8DWOSPwEFw6O028dAD1iBYAKeXHej33H9rDGOR8MEpiRdLQOBIRk2QFxqhyIIIFPx4P/3xcfkFuSbkmOP4Bp6xCgOGwAgsNBBAE2nI3AEYekAiK6tZBR9va2DjrinDlwwME2M/IEC8/hAHcg3zt1SLKEicNvGZIDAdGhfuSockgO6VhS6BDtOKAYSSOhcj5BazLo3iocvv7hvVkvyAr3RvCQh7AwrE0HJnomAaVlkAfcOyRa15Q5WRc6DNiAcxskoQbyEjFrrQLjLQMA9WUo7wNIAYzYAnlAt69UqJQZCEkJo8AvcLYMQRewt96QPIKgzixkEPLO/OJLNACdQ6cdotoKSNkZO+dbyCLTeRvINckuPQdhgWRSuZY0tRJbQDTCFaEscQFU6Di+cOXeQSBIJpw1Qh+tQ+IZBK/7sjnyAG9fU5I8BIHQ+9U5z6ib1NeKrBF2ZW16pwgndo4AAmCyDgNHbPL/fBWAFPLIdn4eWwe6sw4DRx45TJqNmxOS2fzYNIDN1snL+OqcdY8gtD7FPLYnYfD+gFxfhZM8GRlfnRP3JBLWHX/MHoBSf8RUh7MGyZPx1bko5jgHUXwjjy7JE2cdmhuHD2ccBq6jzSfv3QuYJ9N7EjMkFGJUnOmTcRh4HGgsEQx54pC4RBbbC1vP+OocDOJAaj5DYuYdijnihHNTxPaw9YyvzolDEl2+0tqEV9gZGeIvW4giYMZX5/gWBSjrw1oxr+jicw6NuBdFwIzDwJFM5Fmn5ie+k2eNWJuIsyAn+Rnvs4fY4scQTeIsvZHL1pHHzsdhe+IFUs/6hJ16SF4HRbM9a9M8xL3oJieP7YkXcCk/hPjpOQzcPZFoCEkka8jjy8R1JBZ5cZ6Md9r61Tlx3fMi4L0v/pPtiQ9sD8YN8k7yrfCBiGntzmQDYrciqdgjxjnnRpxge2JDkHc6VOBf9tjakeZ5+SydiTCnmMPW4UNxlrw4j4k/ZzPWZ2sndhy6Lc7SEQLJuiDDIdIK8EFueS5xng9vJZr4MM9rPnwk0hyW8fxsEpEV91Y4QujJBVu7fmBX70MuJK4jremW3SMPkTJBZMsVXAv/thJNSCZfWHR/BJJ5ysvEc/NDIAe5Zc7ORW09XytIJvdle+RZl/IDZCh8iGSObZVsk/3soruvFdeu+7simtbVVF03JiWcFoctQZeUMRSMN0KIs0ZEYdgziCb34DjJU4EjT4BCKOgkYqzkqhz3Ek1ArnkgkySUklqALRJ8iRSmHiggt5do4tAkywK76hJCgDyBD6GgYshh+3dOsJdo8p58plRyBhypBJInMANVwKp3K6HnUHuJJvMwLwADmAbabIFAqtEvEANoeLdx+F0P0WQeSD9BSUASDMhDKJBHLgDij3faSzQBuuSp8ghU5FlD5gVQWI+IF8FesOglmsyLHoEZibvgB2wgXehZMEI2Ad0ZRBOghtRCmnlH5CEgVZtUOQFw5J01k0E0AVBILevSuiAPScLO6NOaJA+oyCCaEBXmYT2odPIt1pCqqsPBdTqwBcRZBtGkWg3ck6dCRx5/imBF0ulgRCAgznqJJiSILxxa+/wVu5IMSozM2ZoFCK1NSZs5A+SIyZYBPFubAJMkRkJBXnSRIBZUjZH1knuVZPbS+oVQ9svG6Y/OAFLy2Ij5KW7oMpCw8LN0D5ST3zIAawQE0sD7AwDZnnUvWTHEDQk2u0E2qWZ7zy3D19G8P7YuiWXb5CFmyJMESv7Yuk47Ptb6ae2gClu39ugsCkgKBeRJXMg79NBDR/LEQbMIL+C4ZVjzyAMECP8BWIsX3pP/X0KPQJDwZhBN7E48jWo7eXyyxNb/710pUIj5GUQTnYmnSBa+hTy+BZkgBsMR5PF1GUSTL7+JoeyJvxbXxR9JFBtk59a+9ZtBNIk/Yp0EVJWfPOQa/83HsBHrCB7MIJrcj78kD5FMHh/mXZGLyDAvBEIv0YTwjOQ1vjrHR4p7/DLb8+6sWwRGL9GEdOGrJOzx1TnyYEP4QhLPFmBBCXAv0eSZJehkISH4Mkk9fGl+/o44Z9+Sau+0h2hiBxJohKe8ACEgXoi/7A9BJ0aJs/xCL9HEvpCu5sA/hTyFN/L4Foep83X+3ks08R+IA/fUtRgFpOh+5VsUfBQZ+YVeoomuYFlFdsQPuxDv5F0wFFtgn/BZBtEknitMyxv4D/KsQ/FXHEAUkmfdZBBN1nrsKolzjPzdOxWn+DoEHrySQTQhkpDSdOWecAQ9KhTwcfQqzlpHGUQTwpZfEdfZNnliqvfJDmFuvgX+LaKpBV3Ub87wGhAUASeOLlhWQR/5A+SrUgpkqrEAT29Hk0CHwQb0o32QPNVrLYwSfMkGwCG56eloCgJLkimxDIacI5DYILc4Ac4GOPRsPR1N5iC4+4MoiBZU8lSTAQ165Nw5dYCqp6NJooI8kjwAKyEPqBFsAQL/Pz16j95xT0dTbIOiL04c2I5zr6wjQV7CKdkAJFVJQi8G3QAAIABJREFUe4gm93Q/+gKqQ57E1prUGotcAkQFRPPt6WgS3IEXwR5QnMrzb5IKa0lyI6n3Pns6mrwLOqPL+MRzfIWO7VkrAIFArYOrt6PJ1kr6EhCjeyIO5pcIkwdwSPQRr70dTTqL3APIj2ptyLM1iDxJAACJpOjtaAL62IIulajIsQUkDZsE8pETQCKA09vRRA5SgI1FtS/kAcd8gK44gBVRoUopiWkZwDpbsCYB/KjIxWek/RviHHGAAIptwq1EEx9sbYoJgO5UHluQ6Hu30ZKOKOwhmnTxsWfkNd8R8uIsO/9Gp4oU7I/v7iGaELdIHkkKohPYDtuTyEvo+UuA2zsUm3qIJraHxEJ2IpCm8ti65A+RAOSbl/+vh2giS7ePe3jukKc4MbV1CSedW5s9RJO1rouCX4yveol7YhS7pk/VXsQ5XXqvtha0djmwOfGWPO/HCHliInlIEfK8a3aDIJluGdzEDpGEbNszR2dWfF3WuiRP3JA0Wlf8j0Ja63Yh8Q4u4zsjrrN1fgCWsVXV1ii2KXFEarD71iHBQ6r671QeP4DoVVShP/L4H3ro2aqHFJGc+e9UHoxhLfFl5qOwoyjS09GEwILzYAREcXQXsAXEvXcLj1or4jlf09PRhJhTNPXstlzF1hny2Jl/I1ciinhWhOzpaHIv29j4DjhiKs+8YFu+THeMNWr99BBNyGNYmY6mtscerX0YHpHtmcwX9u3paPI+xByka3wNke2RJ+7AtrrGvGNxHfHT09EERyiIi53hL0IecpIe+Uw5CgzB7/V0NIl3YpBcJ3IwvgbR7F3BDOKerjxYqbejyXsTt6edUggRXb5snW8VY4855pjR1ns7mmBpvoq8wElxgDZMhgzlTxBfdNHb0cTnwmXWZthCnFFrTmIjm+C/vN/ejia4h32511QeLI3cEodhXe9NDKyOptYoVb87w2oAwMe26vyZf9KWM2AswBPgywHoJOnZOud+nA7wOT9YFZBi9BIzwRroUUVo3ToXZ4xwZsDgdAS5JVBIrAVGQFvQaN06B0ggqhASgNIieZyOjiYBRVuzYNm6dQ6RhlxBHvgzlwfkSzjpUyAGsui4desckOt9AGqAynQEmeY5ADeVa+/XHFu3zgGdOjMEJ+3Kc3kctn8XGEOeynLr1jmkBzInkuupvNhyCWQhGFQx2EucK9HiAJAtEnYAXgI6HWwPyWRuAqMqjTWKdGrdOqdLwvshTyVyOqwLdiZhkpjZsmfNqDa1bp2TXOtmIG/emUEeGyePHsxJwLauWrfOeTeAIBAxbWMPAgEIVs3Spi0Jta56ts5JEBBIOjCn5zOEPM8iqUCoAxj+tBJNwDrQaV2w57ktANfm7xrJEtvTst1KNCGqrXPkvER2kTyAXBLgnAX6VMlu7WhiywCn7Tm6C+a2Z37mhlDTNeL98metHU3WHPJRO31shw2ZdKziyk8ig+kTeQJ8t3Y0Ab5iHmLLNtW57Yl71i0SJuQBwq0dTeIaMg7JpHNiLk9HmnUrEdTBgshmp60dTdYCUsI95h9HEIf5ArbHj7IH/k7i30o0sVvFIr5+fig1eQo45hdfQRUXJDytRBNMoBuTvCDSQqfiPh+teMSnIEmD8G0lmpAryHnre7rNgm8R19kC/2M9Sq75zR6iSbFDTNBFND0/hDxdrxJQ75ge+TykTA/R5F3QkQRzeuZNkIX0DUfBpvy25L5161xgWGTO/MMrbB3OkBDq5kDMwoDibOvWOb4DxuPH5nE25MHUCF+Yk2+nz9atc2xZp657zp+ZPBhf5zDSic514plv69Y5xbbotJnbgoTevOAGcRZG4q+Rbq22jlTlPxFpCpfTQZ71r/tUtwgZ8Iq417p1DgYUH7y/+TOT599i+1zI05HTunXOs8N37Gn+cQS2Tt9ISWtXgZVuHT3QunVO8QQBSt58Cxd5OtPIs1bEJfGfHbZunePLxCHy5l8R51tgUsU/5BfMax2T3bp1TvyUf8kJpl8C5FuQd2xN1xrSjly4v2frnDUp77Pu5vL4EvqTf5JLZnxhsCVn+G76TW2d+256G9/lzwLAC0IACyJpPhgn5ybQq2pJqHqIJgkM4+Z4VDnmI77+Rh5nIWFqJZqi/VvQCTJiLg9IBMo5N1UM3TGtRBN5gLtAgMFeFMiRQ4AaHejYUdFrJZrIk5hwYJKiRV98isO7VUMAKolAK9HkXqrFkksJ3zwoxrZEwEBrtSBmnq1EExJO14R1B3TOvxhEHpAmUEliJKnktRJNEdSRdxKZuTy2YP0itxAIbIG81jOavH/kgCoIYLrIFoBICbjrAFHETCvRZH17bwAgcnWRPLaGDDFHoFXVrpVoAvDJo8c5MUk2EKzazDaBG6CcXluJJiRudNnMk2vygEQJr0qrRNS67CGakLjsAVEhYZgP8qJ65tn411aiydpjA0CupGL+BSa2ANQAyfRJt3TeSjSRRzfIQGtlDvDJA5i8X/7S9ZKzVqKJ33cfa4b/jK6R0Cl5YhViVscDmwHgWokmfoMf5KM89xy0e57Y1sIWEFJiRCvRxG/wUbZMqxIvkgfUs2+2IBEgr5VoQtzxwaq6EuxF8vgW9i2RMS9xpJVoknh6bnagu2Y+dDCxPUUINqFyTe+tyaeYTZ6Ea07ckU0eG/eO2Z7kSkLXSjR5dnEN2aG4sGh+/AF54jtZktFWognJq7Cjm2DRxx/ERrbHn7BRJFAP0eQ+iDv3WPQxBvJ0OIpFfDbZPUQTzCPpQ2wt+nqdWMzf8QmSz9B9C5zmCxEd4ktsnZveJ86jQhSKH8gRdthKNJGna4Qt0NH0Azfkkof8sXUour7Ns5VoIg9xJw7pmpjjMvIk0zp/ous7imUt+oT/6VPBA2E8/4KW50H++HfxCqEM37TaOj+MCLWdjT+cf42MPCQhfwkPu5a8VqIJUSiusGUdYovkIb7IQN7Rhf/dSjTBt9Ydf73oq6ZylMDUdI9glqe0Ek38Jnmw1iIdkQdHeB65H1u3tlqJJvdC7LD5RQemk6eAzR7YBTzPr7cSTQhJPmVR3LPe+R1riX+Jcwt7iKY4WN9/px9NCNsiTz4rb4JhkGt1RlOL56nfnGE1AJABicDmMgJCoAJ6ODhOwNaC1iH50lkhwEr4Fo0I/M4ZwgQLIq1DOyinKjFZRGy5b3RzqIAChsuea51nkOyZm+C7DPjFuUYq2EANh946OC46EnRUBxcN8rwzIF8FCuBoGZI9gU5gBKIWAbGogOqQUwWV6MYB4ZvKdC/JlyBFXmwvm97HNSrNugU4cs4+DghvkQfU6nQgb9FXZ6xN8hAMsZVt3hGxrlzJLFugKxWxRV9JcQ3bExRdi8DUfdAy3EvC5I8q06LPKcehrGxdFyOfMK9arisbAJRUsl+J5SIgFhXe+PqQZLz1M9axRQ4hSt4yW4gDWAX7VpLXvdke4B6JxTJ5wKjExfx7vmhpbXp3KnbTL2aG3NiWyBbYqCrkouLBuu9PQilplujaxjMfscWaDhQF2IGEp3VImBEIiNR5h597hjz+gI+V9EvEWwY71inBnyEOFiW7bAEQlZQhhfmy1uSTPHYeB/0vsqnY8iyZ13XAl7V+BY48VVb3Mb9FNhXy2IC4ZX6tya4Yw0fphvFe5smud+Qa2wNtrUEmSwhaP+nuXvCBBAGxNS8KhDw2Y7uEefV0HZBnHSCqJEHL5CHqdQPoXJOAtn6JKraN62JYRm7yc8gtBAld9hA/EkpEEp+xjNyML/OSpzLfGte9G0UP8dq7i0P353ZMnq5Q+IhOe746R0/8mXsssr2I6wg3WAlx0PPVOVu4rQVYJLaXTecX8sRz226QMj1fnaMnxLF3Mt+ZQG7Iiy9/KTy2FpD4DdgOSaGgM/0ydcxRTLSGFSnYHl/WSvxEEcK8yFvkW8iLbh8kPV/W6lvIU6zhM8lbZOvkWcMIZbHK/FrJCh2YikfIrTgkfm4LyBjknUKOvEHHTyvx415Ifv4pDolfJA9uQ9qxCXi4lfghj54UWMT2OXFHtmuQd3TAr/N7cwJz3TgPR7Arelr07twHho9OKn6h56tz8KSCTXxtdNFzkodMU5i2buqrc+u+zbruDK0BzhQI5bwRLSpWq4wttpq5rrVKF8kCeUDEOvJc1xqgQh5HLtCuYpHpgzPQ+rgocO71sgFRiSfdINPoa5UzyZAnsaabdeQJjJh0Tn5eYdtrbvFbjt+cBAXM/SL2PnROH+Rx9JtWXlrk0YG16R1vKs96VEEVSP3Wetlrfj3y6I88xBI9kee5FwXgAInsgExrc9MA7Lf+AF4hz3uZtvnOQXDIY6PLnmvZuvEezJE8z0ym+a2S5zfeg/ltKi+eI7as7WXr1hf9Gy0Aw2/NKb5oQu4q3xLykN0tviXmx2fQJ/2sApmu8f5c0wNoPLd57iXP+vW+W+Xxu96ZNbmJPLY6b8Xfy5fFs/qteVlznnuZTUXcc513vMznLZNLL2R6Tu/fO3SPVfKsL9eRtym437U8BJW5SP6sOYNul9l6xL04GHXZdcv0KebRn7XCZ9DpXvIUm+hxlQ9aJk9Mtz5Cnuclb/rJ6ulvza9XXqxr8zPXVbbOXtiPuW1qC3OfTx5Zq9Y4eeZHHy3yELeelRzyzHWVPL7M/KyvTeP6dH6e2x/3WBU/w7eTt6ntLZJHR6viWa88nYvikPVofnvJg8n4MhhwUxzht2IC3ZBFpve4Kq7r5iBnFd5YZnveO3vyrNbBuvJabX0qj8/ey9bFLP7P+m3xLbYaw+/0Q09itWdf5lvonj+CIeh92XXL9LlI3irbs07Is75a5NlBgZi3/unJGlhlUyEPYddCoini6AiL4nPYxarYTO9ytk3j0PSe3ou147lXvROxmbzpWU574ZXv5n+vrXPfzW/nu+TZOB2txKpXtlOpmi2qhGQ9LmO0fWBRa2iWjOl9OC2t4K3tups8E4Ctwm7fu/OnVAVtQdiU0FlXJoDm7BuVYRUsWwdU2hdVeta956rrdNTEWUEO9FNNWdRdlCHLPQQM8pwVRJ6qUmtlf51nUnkjT0VFBdL8Wiv768hTmdJKC2CYn46D+dakde6z7jU6FrUKAxW6DVSn5luT1r3XOtfpglH1BnrJ032zTd/CHgDD1tb1deY0vcb2LfOLAzytzdbOhXVkB8BvrZiuI2N6zS7l8S06La1RtsfWVdpbkth15qlKy9YBQx1Y5LV2CK4jz7xUOoFM8qyZ1g7BdeTxmeYn/uneML9FHRXr3Guda3QxqdSaE18GU2zTFpxNZOuHDjTydA5t0y5s09Tt7dwp8uClFnJ6HV26RmeS7UY6fXwZyXb4bW6zgJEkuD2E9Lpzc50OCV1mdGl+27R18hBbraTYJvOKa2FcuK+HFFtXro4p68X651vEWXF9UwJpXXm6ZPkWHa4wJ9+yLYzrmXScxJEX5PGd28K45NkizVeL5zC8+W3T9pwBZauf7h32AHNuWshY9925TkeRbj3rhDxnOPaQqXvJ1uWlW48exXbytrU2PYujSqx/22PNUVzvIZD2mp/tqHDtNmXs9Qyn578X0XR6av8MIlslRSu4Fl/bFQRjIIqRAovZiaF2QcYPGMZhxNsinYB62zmcPYX4EaS0024rKCLRbAnQem67AgekW0WSvQ3SSRIBrEl4yUPMYOVDXjbphEizRsxPImPtAN6RGGaTTogDcsizXczfbbUAvrdBOpmPLUn0KTE0X2Aq5pdNOgGjiElkoYMzVW+Am22RTjoXybOF1HY4INg7I28bpBMSO+TF1yVtjyBvG6STLYyIO3NBvNLlNkkn4Mm5Bb54Y2unCtW2SKc4JNu2qyBdJZ/bSgytFWDb+Tax/snbFvETtg7ks0EVP+312yKd4uufyIrYAm5tBimTTTrF1z+dseHrUCqe/HPIa90mugxmWC+29UoKyQOCxT7bvbZBOrEFfsX2bdsQkUzOX9wW6WRbBL9pjjAFO7etc1ukk20RIU9BQpdmJIbbIJ3YOXlwGRLINllxz/tjF9mJry1G7IC9IX7I2JZvsWZtS7f1le/UGRU4YhukE0xmi5DkPYgYpOu2kmuYzLl43pF3JtYpIG0rudbdR5d8i7iu+8fa5Fu2QTo5K4mfZutsD+kj7m2LdHJWEhI7bB1+VwTcFukkljsLU+7A1nUOwe8hL9v2xFh+GoZnC9YmO9gW6WT7aMhTaFEc4Fe2RTrxYSEPxiaPHZLnYzPZdmHLnS2k5Ip7iC3HiTjgfxukk5xEwSNkmN+ZiXQqoukMQvacno8Z53kA+pwq45Q82eesYoeg4fQQQz3bPWKOHJt93UFsCVLuHcRWJukUXw1CVETQAEij+2cbpBOZCC4BAxiWaAsg5s0ZIYEEydbDVudrJeRJzCQU5HGy5AGn5iqxaD1TZCrPWontjsBNfL1MB5C2WIl9zC+jWj+Vp3UX6RRfHgESgyShz4xEjTyt4Agm8nTkkKeyDKQGSZKVqGm5ju1N2oudqeP9eY9aqQVGh3p6d4vObdrUb0zlIUHJAxatUwQlUEqeebaeazB9JvJiixLfIrkgz174IGWsT/IyCCGV3SB+gH1zCtLJWsmQMZ3f1NbNydzo1NqROLEFa8X5B71JmzXJzgBu512xPwAnOu+ySSfy2Dd5DlEmT9fBtkinqa0jZRC9kidzto7iq3D0ya/1jrntRWIvKRX3dPYCwsiSbNtTEOCjEQnxSWXne5Dnv1m2F76FrfvyHCKIPCRQkDLmmWEXbCFsnT+RFIq5CEvgXtIruWALGd0IU3n8JdvjXxBs4qwEn0zV7WXnc2yyhkIeu0A6hTyEpUOzgwRihxnyxCE4gi9RhECIin90DLewQ76NbjO6H2J9IH7Yujltk3SK+dGfbg5FAjbv/2cD8WEFcb2XEIKNrEc6JGsqQ8zLJp1sD7I+yPPuYCb2Zj16Z9mk09SXibPOnHNWnrOarEU+E4ZHBmV04SGyrE1/+Euy2DpC1NyQMnyZmJtRmJjKE9d1FrJ18qwPBBB58GdGB1nIY+vkIUnIYxdwbZBAzu5q2do19zvWB13GB4L4afbovSJinLnm3Yl7GaRM2B6ZYrs4K0cxkDIaAKxTfjRbHlIt5qfYongr9wtf1npcwlSnsW1clzQMr9sWNjQXPg2pBluLs5tuO1wUM5wrCj/wnZ7fujgzkU5FNG2CJOrasRICyCBJONj4mpIKpbZcSSEjFUhax5TYUg1BOElmBEgAODqPkE8ZnUfmxIEjXgDgSAaBDyAtiJHWr/os04N5AqdkAx62SQnGqvWehWxzBVBbPy87J4FCnoCIHCGPo7UFJkgn8hZ9lW7T92l+kcgA95ysdykx5NAFrJhfz1le8VxTeQJIyLMFBtAWsJAkwFzPWV6L5OnMCXlBOgE15AEdGfKAiiAoAURkApmSKImuCmV0AGYkMlNbBxbZuvfHRoLkIo8dZlTwQh6741tifgAAefFlHklUq7wAiCGDrbMByZr1H7YOvPUSP4tsz/tDkugMABTNkWxJGyDM9thFywgiJmRYhwCiDkN2D9xEp1/r1/qWkcrmxM7IQz5Zq9Z/yFv0daqWOcZv3D8IXwQsn4nA0xVHDxIYsQjBnLH1MwjRSCzYAdtjF4orOnuBfQlwRrElbIE86z/kIYGC5CIPCZQVA8V18hCiIU+ngLhuXuRlxdwgYCWCbIFvoU9+W6LGR/Od4lBmosbWdHSEPHFJnI2vcCFKM+WZ31Qe0oQ8dmF+umF7SaBp8YMtsENJrzjLF/CX5Emgemwhkk9zQsYgSfgWMd66CGJLYt87p7mfIVuhEwFrXkgheMn/z/ai+6H1S4FT7IB0tT6QvGxPHEA2ieMImQzSNeSZU8hDxvAn5CENQl72ds84v49sOEICLBbpQoIbxFm4DIGeRfgGSYIo5FvItI7shkACIRJg3Ix1Exg3vhKNVEPaw7zWP3mSfB15mfL4TkQveeYH0yPVvEfy+JZeQpRdsDdzQ9CzP/L4TvNG0vPTsISCfEbXTMjjm8mL2CAmwiohj+1lyaNL85ObxPymJJf5wYS98oKA1UVl/ZOH5NJ9K0eJ4gBc2LNWpsQWrOLLnzCu9eDecmb4nW/JILZ6sNU2fltE0za0eia5Z1TwkBRRrZe4cbDARiRtrZ95psY5scXpRHss0kkyEVsLetUexE8cxBbED4Y9SCfyACqJaOaYJolkCcgqeBx7tHbSpyC56KtHmz5LgFPJhfcVnUf+i3FHysT2uowtIuHQyRNAVEckpQCrqgFQc/Ob33wExRmkUySGIU8SSh7Qj5RRPbzZzW42yssigcjyB+kUnUcSX/cXRMjTedQrz7sLsIiQBBaRJeYncQrbQ/Z6j72kU8gzN/KAYfJ0ViEYrA+BP+S1kkBTAi/snjwBmc3zLcBpnLmCRAB0WuSFrZuT5E+yC4zyL/6OdArip+eLQovscmrr5oMQAm6AVD7VO5M4md+iz5WvY+th33yZ9QhAWZPsLWTEGXEZnX7sLToZQ55kV7Xev9FhyMs+Yyx8S8wV6FbRtm6CBOLL+Jhe26N7+gvwzRasTX8UQqJ6HudMZJBOEWetVYlvyEMqkCeRCYIyg3Sayou4zt6919hCQZ6kplde2IK5SQT5S+8OASsRRhjSpcQbWdlLAs3liQc6UlXtrR9dceYW3QGZ8oLkQtBINsxZ13LI49d6khlrMwhYc7E+zAthosNKJwfCMPBSa5ydE1uIH+sDwWVOCnLmFMnuOv5q3Wum80M6BSEkMUTQiLOx9bO162/aZYvY5U/gFXGWDJ0OfBlZGfYdsVxyTR6SgjwkL3lB/MAsvfY21/PUl5lfbP0U15EyYhDfyQ4zCi/xgRHrBNaEWcQl/hSpDCMh8xRCem3BXKfyYGlxljzzJg/mJI9vyZTH/sRz8rxL7xiRhpSJjtte0ilsgS7hvjiygq3LGeQKbN16zSCBpvKC5NIJpPAoZ2B3IS+LBIr3F6QTeUECwUjReQTT95JOUztEOsEvYhE/ypeIQ3EeV2sXV2AVsY19iwNsTpy1HsigQzbXKmNdX7rL64po2qW297Gs6RYRyQzgAQQAj9qOMfo+c9s65skuw5TokoOYAYCD2FJd6x3TZFD3FjCF+JGwYZwRTeQB+RnbNBZV8AAPSW90yghcnKmg75PzHG3GmAJHAAPQUbUI0gk54vOmnHrGCCCHoORso3PFukEecuY+cdr6Sd35M4Y8pAV5Uc2WZKggeIcOymxN6pfJs24Ax5ifJErA8t58PjurqyS6dCQyupu8P38EZ7Z329vedrj1rW+dsr0n7BCQQpIANdESDOywQ/JudatbpWzvmcubEkJBcvnMrU/Xt1aap8mnOSGYAUQgAHmCzIrOHFXQzDElhFQM2TiA4xn4VLLZXs/nwackLxnINAAKQFSxlhjyZRKn1o6AqU6mxA95fAl5fLZEiX8mT+LUmuwuewfTziOJU1TPETRxjsYd73jHrs+RT2UHKSPOsb2oviKdEGrswJ+scwwjzpLH9sKX6Ypg67e5zW2GW97ylmkftpjKY3sxvyC52LrYnrFuplsjrRs2wBYkUCrOOuScEyT5zei0mMpDoiF8yYuz/pBO5C37bPmmfmAqj/6iozjO+kM6ORQXsdBCni+KQ9FRrOPcu5NkI2Al1Uin+KT8pnOJ6+fEj6KcxIlvQWyx8SB+MkjeRX4GThLXp4QQ2fyZT8H3+OwoeIh3ZCBGFDzEVh+PsTYQajBSb0FnTmLDDnGmmdjKh5DHd1qbGWtk7stiuxu8y3cqvsCgumP4ldvd7nYpOCJIIPLMLeR5h/4/78wZVsiSrHlGRx55086qILkcuM23ZBBq0/lZK3xKdAJ5DiQ922PrGVsHww4RGHaByFOsVTFCvkKPziBDdmUQGFN5fEt0AsVZf2ze/LzHjK1uIU8cIA82YxtBcsHU8kuYOkNe2D19kiEu6PoL0gkedNZnz7ubElt8Cxm2YMYX/6J4q+iRMadWH5/xuyKaMrRY9/i2BqZJGyIBmELQSOAYataQAMYWPoBUlVdCH91UEk+ONWNMAaJkPogYzo4TV61H/HAMrQNYwqILQNNBtnkKhgK+6oh5qsYcc8wxreKW/m6alMZhuKqiiLWHPOQh6fLC2Vor5g8II4AyibQ5mKJLAQuQI09wJC+LSAt5084j8yNPMAH0yevZXrroRUy7dCSiukmADTp+6EMfmnJG1XxtskP6jHNCBH9B0VcVW79ghaDz/BKTKcic+hbyEJPkCfYPfvCDU77GNyWYAcQgflTrAUR2gPhRec0e84qhxFBSg5g56qijUsRNSaBIzvgzYCrO6jj88MNTzmvzwNOzQaz/IH5UJZEFgD15PR8JAMzImW8LCrDIfyKdxAj/td1TJTtzTG1P4SMOhgbq73SnO6V/CXMqT8wjD5nHFqzP1u2Xy3QSdsHW2SbSiTzEofnN41avbqNDLraISGRsLVKd9zWyVlJ52XNN5SG5xHby+GhEdvbX8aa2bv2KseRJYJCFrdul2LStlXP9RJxlCxI1fkVS/4AHPCCtYDX1LWI5Ww9iS2cY0kkymL1WvNOYn/VCtrhHvq/t2vaWMabnAMGc9IeIsV4QrQhXREzWGaJTeeJPED9BcsG45PWQvMh/fnNO3Ip1bN16ibPwYFRx3dmCmWPaXa94hHTysRW2Lja0dqbtZevmRh4SiDwkHnnbsPXIV5Bc5DkTFt5U9Mg4E2s6V+smSDW2Lu9CYBx77LGjTjM6txbJsz7Ik6OIDY9+9KPHLuLezq35e4z5hbzoPDrxxBPHbbStRBo8uehrd/OzBR3jovghRmR1GE63ystHYBXvTWyw/uWWfFn2u8u041X3KqJpV5o+E8qZEjQMqQccCgq2KcwB9DT51LEiIPvUqf/NWFsHwCIxmm+RmxI/kl1OVUKISecIWgaHyalwmD6RvArsB+kkmc+o6q563gCOAMcu5EUbtyApYco4tHGjPgmNAAAgAElEQVSVLsO5AwGqWL3bJEKWRBPg184bZMu0I69XnmRZ4gUYLdqGhKhTWZaweG9kWyutVRHdIMCfysqiMz6QycCozg0dd73yJF2IFXpydgMyYn5G2ZQQonckSev8VgHSaN0GEHWP6KJEiiDutjmmhC/g1GrrQVC7xzwhmSaf1qvuUIkHUKMDrnVIhOhtTjROiR++lTykq7NqJGktAxCTJIgtQPuyEWDRf/mVbfuW6ASyTvmWbLA9nWeQTuKIsQt5cTitQgt5reB+Og/PbzuUdTJNfqddM/RIXus2idjGIiFZROb4kpRE03Z/zyEmiEWt8qxxv0UWL0oobQXRGaOrMEOejihz5DNt03Hf+fauqR3ym1lxb558xvZSySe/iShRrMousCxKROE38vnN1uRMMYrf13U571YK4gAeQzohthRIEHc9xyqItYiqeQI7lRdn4SleKbC0dmzx9Y95zGPG7vFVzxwxkB3SQ4atr8JlcR6X99Zj6+vEkyCYda7sSl6cLZgpz9pDsLJ1cTfe0bRrJmyh9QygpzzlKeNWX1v7F8WzI488cozBCoRT22uV54u2/PAi8se7vf/97z92gCJi2Lu5t9q6+8nh+GqdezrI2cQcU8b5X+aXdVD4fJ0GduBbkE4+XoOchMF7OqjWsYdtXVNE07Y0eya4L2MT9CS2qpyCZAwG6/yIVvJlrj5OFDi0NUcCbR/r/IDZKbElgLRWJjit+MLQ0572tKVvcko6mW8ru02eyh9ZnErrfZY9qPsjsYASWx3udre7je3t2sqXDc8g+cvqmuI8faUQiaBTCmkouMeQBHuvPZ0Np6fJAYIqIo961KO+fdYOAK/z7Pa3v/3Y7p7RWm+OcX6XToJFIDO+vGfbR8b2PKSW9aLat2h7IVJLIqGTIqPaaX2oFOtW4l/4mTjfQMU/axtSrBd+S4eNZHBRNRrB5BrVY7bUQ/yEzDg8G2moHdufGMCS7ZwAT+9A+gBsukoRhWxaB+bcN05J10iuW2STJ1m31nXtLRtZ8iSCJ5100pgs3/Oe90wHYjp3JGN8vQ5ZSYK/W/PLhi07tg1kfMWTDGtOjNV1ZkuebXJsIgY5OrQyztpqeee9v7FmxD6fQ/c+DSQ9W9e9lLWF2n2tFdgACbOoE0RVnH3794ytXu4nKfN+Ft3vsY997Ni1qUMy48uFfLVuJfjFOnFPnRPIXAli1jakeOdILbYnbi/CLY9//OPHcxDJljhlEFt8priAZEZYKyrGQEwcccQRKR19fD6fQo6Ch/Uo/s2TvSBdrSv6bSWVyXvc4x43+s1VOGgqr4f4oUd+yhY13WbZBBJMe/TRR4+FC3PSiX/cccf9r1g39x2wEuIrw/bc29oQv71DRQ07K8SeGOyCfbQWcnp9X+/vrX8YXTxC1CN1xAFdmP5kzguJFF+3W0ROk6dApYOwh/AJnchV5ATL7keW+CDettrcVP/OzoM7/ZGbOHtU16D16/y81mLDsnfsy+oKATo8F92bLTzxiU/8dlf4toit3jW4zu+LaFpHS3XN/9EAp6aFEFkh8AmyyIQYDEdyCBBkDNUbQFS7MrIC8GeguijsP85qV/asABFnI0HjfLKJn7k+zEWi+YQnPGFs5c1uL5eU0Jn5YOolsLZVqbYuGyr+8ZWq3vdnXVgH9sBL6GOtmHcMpCEQ4jC8TYcqON3pbFh3CCKqjwigjGF+AC5d23cP8AI0CFIJooCpAtMz2IDqsMqGDjhbgKbJJT0DVEgfydvJJ588BsvWAaSRp5oCrEmWpl0q7J48hJAuLusLEdw7osoYBwTHuVMq4gCA8ykAAAAxI3GybpCv/NVd73rX0Uam9/WFEDqgz4zhDAUJmG4G78w6MecYQBySEGnZO/hpZ4NJPvk0wFQHhTMN4ks/WWdSeFb+S1em+YgN267AkcO3eYfWHrDb82Wtub4R4t4TX+Xe3o11yC6WDTaH1MuwBSST9YewYGuxXqay+bAHPehBYzK/6UBK2+JgK8C6Q0cKX55xSL4ClS0diGx2HUS1Cj3SBJHOb/Z0iZiX7U3+WCeSMXOYkq2xvfLpT3/6+G/O7OvpwPau+GBrx5rRfTrtoIoObZ+9lsiozLcWxqbvLTr3xCF+ht9GBiExEGtkiUU9cWEqj02IN3SGsPAOp0kmrMHPSOgzhiKLta6Llt803ymO4LcV6xD1vUNMoz9FOsSdNalwY078p1iYkeDGc+oq5TMVbPiPzHsv0gX9WZ9woHekeJtJTNhahNhFFMAqsZ1ySgzOnwtpDj9lYG5yYGnrU3eatTKNs2TDgK22Lv/huxTG1h3iOpzYujV2KoePsRb9F26OQqYYLN4j95B2vQfWIyTZgm5EmGtu43SrEAKvPPOZz+xeu2IuW9MhFQfRT22BPEVd+YLdK4imDJJ0enC8br/puUziD8yJ/Mog0bxHOSuZfCi7R65Ou7/EA8WCDIy77vrc1nVFNG1Ls/v8vogR4EIl7rDDDlvozBh/1v5qYAJ48kcA4dgESFUSCbhuBACq59DceGVkAYmSQfPMALqrlgPQKSgLWiro5M9BBgCgmvDIRz5y45U17fQCepFIgi4nt2xweN5fhlNVpX7qU586zlFgX9SFE10iLW38ziixfRF5tu7gxAGajGTJFkpdHJI173BaeZAoCvrO31CdaD23yLyQWQKSIOvd0dW8tRd41OrvsHHkSc92MvPxvtgaedbNvPJCHuKCLCCqR96idzc9G4bdsw+6BhhtX5t3Na77/qfXPeMZzxgBMaLJOlJNBj6BfUO3BV1ICjOGRIg9IMkXHT4a25EyQH9sqwoQBezHgc4IUOsRgSgBzeh+816QFwAnwkcXWM+a30vfKtS6tRAEOiatz/kaRMYiRiRTm444J8XvrH/vBsE6rYrP70k+/51hC2wdySRZAEgXFVQ8V2snBeLRetApte5gc2wj4+uBcZ6H+0liImGwjiQcOjzYiHXUM1SP+V/JvMF3TkF9bG0WD5xDIznuqWDbZvLkJz95JCTJEUcXyeNrdH3oKOmRt0g3062xSDZxCNEmYZT4Zwwdkta6Yo81JDEUC8Ivk+Ma2CVjIGEkodaDQuMcJ9GxLYotOGL+fNNjGWA0thi+U3KvG8G8rNseUjLkel/ejyMfEHM6qDIIl2V6R0SyL+uCTtnefJuTA/hd0/KhlPgKqbXvfcQW2CkxOH+2wJyt262m90MwHX/88WOcRTwuKqggZ1q358UB5tPO/L3WuDXD12UUd/gYnUx2KohxoTPrCCErb3FWUm/BA5ZUTBRrvce5zYWdICoVG3VR9rw/Nm5NwtWr5LEPuC2DoJ+/t+mXV9mJYg+cgXTLOlOLbcPzcCUboWeFztCvtSl3KqJpL6uqf9+3GgDqHSwnWek5w6BFQdODULHbOh4kg5yA/fK9A5mlmorU0Q0gQM6dK+OXoAlkvYM8h7li0OcVurg3R6Ri3XPgeO9ztv4eCEUOCEAqAhnVh+mzxGGS0466vZ4VqPdOM55FMqHzzZYuoGYeZNkIcsEWgh4iND7/jXACMBZtIxOctPkim3q7SeKrcrp5/AEk5okuMoQ81ZheecveGRDMrnVxSUytJ0DcVz8yvlqGaJJA2BKFUNKRwx7ZmqQJcZJJNCGZvEOJ7zzh3Wvd9v57JJ98DjLdIaHmbt2uOuNoXbnAIVsAngA0tjAnXBAUuh96zoGK50EyI7CRzMvsHzBEHJwRt+Xq1vLHF8IcrJpBXk3fpfWwF3E2f/eeQTzKIEbYAvtGRiw600t8JQex0GPrCCZ/rE1rErEzr/S7v4QNadDbTYLAI09ywsadNTKXp8PInDPkLbNPsQeWsY2JDxODEQc6rDKG98ZPwoKSUYSe9aSbQreFxCmTaFLYdD//XUSMZMxp2T3iwxd8J8Ke/+bvHv7wh6cc9g9T68x23hO/xs7mNoYIFafmZxa2zFsRFakVH1NYdA9FJLrusb2WZ8v4jWIHnfIdih495Mei54li7SribP47fsWfjGdhY+xYN9OcuLJW5SdIGw0BPcSr7kGExwknnDDG0UVnJumQpGM+rjcuwEbk6ZDy7IvOSoI5Q16GLhe9X00MyERFYngQ6cpeMgqA5CGaxAnxD17iOxH0Cg+IUbosoinDE9Q9zrAaYADavVXHMrpCNlWELSESJEmgyoWgyeFqBe4dqv9x8v8y4kew4ABvcpOb9IobO5h22WHkgcnj5BBA/jsfAhfwiBjqHdpuVSjoVLvrfhtAp22dAt8ifUk4nv/8549BpOdrV7FOVPoRP7aMzs8ZicQ+I/iGPNsugA2dBduUN10XSBCBPv4gvWyroT9g5zKXuczYKt4LashENEnmkdUAmtZzPkUSzE7YAlvP6mhyb34LUOytNm5qS5IkhDxyxlY689bJxI9bT72DrUtsEYNIjEUgHIDiWzLOMFqHZM4kleknzhBD9gKJ86HTQqdDSxfA/F58C5LavbK6UHrfcebvVeWtGUTnojOmdAWJx7YtSHpbh2KR9YhwsR4WHZLt//cnw3fGdliJiSRPkWHenZIpL/Siu0JxjH8x1ygEKhLY7sWP8eEZncpkIn34ZGtT14/EHlGPdPI+xT7nUGV1NPlIhCQT7srYfrTJeootO4E5JZ/mrqNEPOodCB9d+rDsso5JNmDuPbYQzxkfnJhvJ5vOwxq1fjPirPsqyilu0N2ijnoYA7GV8W5hFtvdbcGyZvbbUBiiL12Ei7peEGx0Ka73fPwiciDdQ4oddiTMifhFpGirvkMeIteuA2f0zQvCmfLiOQO7IOT5L/aIYIXpbc8Tg3VPZcQHMsUDtu7d2flgu55uWt1o5m07uWeqjqbWlVS/O8NrQMICyOj68anOjG0Xq5Qi8CK3JJ6SJLJtpZF8cgQOChdMstjmvYgfz5q1tez0WAxxuDEgSG/ep6RJ4qsFXpVVx0jGWQeSQYBXdVpl1xarbQ7rgrN2+OOywckD/xkHzapqsgEBClkxPfQbcSGht7XHeQESnN4RXQhZXQV7Pc+u5Xl3Ai6gqFJmDarcIbQBJvPO7OwIosk7MmKbrqTJVgaVJiR2FtGERHNP21kkKZnnyy16l7YWA/aIEWeN6P7RgaZaaNuHTkmdDhnJZ7TRr+ouBNSyugn3WrvZ/85H6jqwRYCPRJrpPpAYAYuSbVv0HJyfcTg320NiIwQl9QDoNgffr4prjS4bunD4zp7Pqse9Y+ucZEmH5nSwD1t3dW/oLMzYbhLJbVZXwV7vYtfyHO4sFukudZwAvwUbSZgQBtldQEE0xbZUpIUiIH+DYILT+NcsogluQTYhzpBbWXhv2XtUdGAP7A9pKDGUaFurtkBJPvmAjHgUW8v2In52Fff3Wtub/jufwi/SJTJeXII7xT/dr/Ro/er6znivYhCSCQaDvbYdZ615a0UcWDbMGwbM6P6OrXPsbE48KiaxEUUKZyplrE/z2mXc3rU8X9RTdOcrYSOdmjBnfMAgQ4fTdRFEU6x1sR6ZrVAn7smZ5DJFNG3qaer6faMBVV2n4qvuxHk+88nZIiFZzBgCkcAO6Es+OVF/BH1O+4wafEM3nIzgoK1dMsjhGIIvEOfrCllVGQ4caBKgyBOAkSFaVpFL/qsSZI83Yqh3IGLiXBrvcVHCICl74AMfmHJoqGRJm6991YsGx64rRkeJzoreIbnWYQQkWYfWpTkCOrqPdN4JXPSdsVUvnpcNCkq2kummUt3yLKogGeenhBzgGsFr696yYQ3ZjpLx5SQEoUP/bUW03UkVKZKk3ne16PfIAQnhvOMA4PdvUWHOICXJZ2s6iMxzWWVONTLjMHDvTFeItceXqEhKknQTAafbSD638Y5W3dM7ckA38s45Kv5uKH441wiJkfUVI+eV8Y3sy72BQbYvqefDdMHRszO+Ms6O8PEE89K+L/YtIgPFRb5HQtE7kJGKR/zKosHOVcnF/oziEl+FVLYtFpkcNoa88/8B+ZJF6zarkmxe0aVJfnwVTZyCJTK6KUJ31qMOo1XnuEhmIqHpfX86lOlOfEMIsu/5+VC9Mqa/tyaR//OtOfCMOUvc2EpGXCBXsUoxR4cr37loTdgylVEgU2iw9U9hU3xFysdWnjgHKjv5zHw369wL2QMnOdjafKNAIJbDR7bsZhC8nkVXu64YOmVzzg9CPulWlFA75N3h1fxATwdOzBvucs6q97doC7frbC0jM+MsWevOF+CQk4sG36YLSfdmxtlbCu9iOZwyJV0R9PC2uODM0KzYF3MSG+xOQODprhMT2Lm8rHfL8VRvjhKRL6w6D1G3lm7CDDtEYItpbDzIpcz5zNcE/L7oS3L0GsXBbWyXX8cvZF9Th4Fna/RMcj8AQ2vjoi85hAoEY4ewZgxGiRRRDRAEA9xkOJhFz8e5cXKCx6LOGPI5ARWajKGlWNVWhxGQKDgIINo3OXZJjAQng2zixLRoSyocNKsC6e86cgRmIA4IEDB1XPQOa4Wsvc5RUa23D7p3eHfmNK8sceACJDAuOCG2Mro4PC9ZAI2EXsUOsEH6CCSqvkBbxrsL3SBwHSRoi5J1ghCMT3NrudWZ1rNNb/oOkMkSWRW7RcNaBRbNMePg5+igYtvmBoxaQwBNBiBcNAeVVbZnjSJ5bTGhU0mbhInsrO0Dkk+ge9nWMs+nupZxHhu9IWF8vQTw9H74LoRn1nzm+kT08CXOGgF650PS6YytOGy9196RMBJQ6wWBBsQjDpE0CAXEiDiUAbjZAtLV2tBO7+/8s4RM54gOHQfWS3QztpSLC3yn/y7rdOBX4t326pLerHe+cjr4NzGCb1P4sDYzYi8fKUnR9eL8pOikQlyI9XyKuU27RHvnqDORrxTfyZdoIgbFBv5U8pLx7jynzjc4SRxfNCSf8aXLDIKLHzMncQ3JTC7iE6mcFevm8+AvkWlszVDwgFf4HO8NDswiCa2R+HLtsrNxJPIZRQG+yxlbOvfYtthDh9ldYVN9wmb8GZuPYuP039k6m8jolnRfJK85KtjqzjI/2IlPg7kRFciMDLIJ7mJz8WVQnXd07GNCfDM7IZ9/yYjz4ixfjUxetlbEWbgzw7+Ie97Z3E8j0WwnVQClT4RMhj2Yk6KwM7vE+Ciw6IDRycivea+ZxU05iq2PsTa9U7FO57f14kDrDBLN2lTMgCGWfbRIzFWwQ1pmzFHccx+xh+8Si7wrncsZ72uR/7c2xdT4upxzKz2DbXRylG357N4Yuunvi2jaVGN1/agBTm5Vi6hrJDIZlQn34rw5AlVHzpVTA54kLByRakx8GjnjFQmIjJ7Buy8ZgBvjFzA480c84hGjQ+8dAoQWc0EIMBUcIgk0b0BcdwOHes973rNX3BiQdIw4z8rnQf1dgiQYSiY4P0QT4I046R3fTdtpEKPam1V8BM0MQBr6ia+sWCdIC2vfu/TfzAPzBSXrBNmELLM2daiZj8AICAAeKr8Zw7zi88DT+wVBqUMH4QpwZCSfZCBIEGbApyTbGgJgotKK5M0a5iaBYX/ABVnAr+orO4nDsq9whSukiNzlttywPfqUCCLNrUWEjGTF/69ql9F9E8pxHhkAyF9L0kIGMC/x1f2jWzLjcG6kOB/F5vjG6aGv9OysBe9PxVenYe9AtvKRiEhn3vg7X+mAVLHIekE+SbYlp70jPuG+zlfutkUcRrznZ/gU/0WeZ5wTE7FdDPKH3xR/rM34oEHmNjfdZ+xcl43uAlVzSTSinJ/WVYFEzDio3txgJH5ynnzCMXy4d6arwvbArGRGXOC7xABJrvuKC+QoPmR8IS3WNRymC1rMic/WK86xhUc/+tGjz9b1kEHykolIW2ULrln0NdYWO4wzjLwrpAXfZc2LPRJA8+U3M7ZBxfMpHknakY78pXjEp4lRfN2d7nSn8eiBjG2r4qo1YVuj7WpBEETMYCfkKjJZP70Dxnzta1/77bMJ/d15hfw2XG0rmFiBiMrwLfw/7LLXV+4y/csiHZHPB/gABj3r2MpaM1FUZRe6bfkTmNa7JCMLj5kXG9ddisBSaLAuHFsi1inIiYcKaFlbFNmXWDN/fzr46ZI8xFbGNst4b3C0opW8z9qhP7EdnmH3GYRWyJJHijPRHcZPs3e5pf8fBtVdlfkOe2249fdFNLVqrn63Uw0wetVG1Zyo7iKAdCAAANoeAceMrV6ctu1r7gmw6QIA2iQRwJOKNWckyVfV7h0SMoBXwk7e3LGocmH2ESTOB+kdHDdHanuZYCGBBqSQBbaSCVIqapIz1db9Nqwf555ok83o+gHGEJ2AoQSJfgMMC0zWrjZnQUQ3R2810hlGEj7PDrRYF6qSAChiS4UEcYJ4ytjesuz9m6e5q8CyTcRrRmWQPXg/tvAAoJGwA2vAFPtkm4JwxlC9ZdfAO/+iCsrG6di2OcSJ93hGtQXEJBBviwRfIsnW4XOb29xmTGoAHsAtg2ySlOkWIfPe9773mOQCqLoa+BNbNNifD0lYq70D6FQZZ1e2F8/JFrKQynw44NY7rHdbEflo68GalGgj8cQCtoggMfdt2l7vPFp/Ly6KFZKLDKIwuoX5RERPdPnFQdkIRDbI/iTcvUkFO3A/xJK4h+wxdFF4b7qmo6siixxZpGskBuKAj1NA4st7vgwVMiQtcIk5InRjy5pt+damGI+syCKbdFnzjxJPRbfwK2xdlxPSCZGRQbq2rtme34k3un7ECHFHpxsM5sMezv1BXiuwZBAHiptiuAQaUce32TbLr/Ffust14OjYynh/SHId7Lr5nNM3JzoVdG0FRgRlFFnEBsSW+1mbcLt1b/3bJg+z6GJBXmR9Qr7n3Wf/ViFX/DDHjFiroIEA5KfEo9j2GFtK+QAdY2RZP70kCd+BdBFHvR+EoIKDWMBnWpfmZkfGNjtxxAi24Tl0wtJBRpEF7kPwyCv5q9g2xw78gV3MrVePsa7ghziuhF+BdeUIMLRc03rhP7OaNbLX8yb3K6JpE23Vtf9LA5ymRAUJs2hwgAHkelUnUQfegTOBnzPlaABVYB8TrVoiCegd7qfagp0XaAEMf/cHsFJxlVyrvvq0be8QIFRadS1pRZ23ntrCJknkcI444ohecePvvTuBSvD3GWIJqECv0wCBADwB3Rlg272RI8itZUMCAXBkAJpVClIxk/iaK0ef0ZEGIALb1iSygm5VqIP0NHey4uB1Oo7DU1tepm1Jgh5ShBzvcUo0sQPJNxIxI5lf9YzWigCtcwR5kJFcA8AAhKqmOUbAJwtwYgveI0IjYwjmiFwt6EgY95dYIJokhJ5FkibwZw1+Szfhsu2Itu9kbcs1H9uFJHzIAVs8VcwlNeal4wewyjivTPLAhwFL3p33Za0CpgoBziyLrZ1Aau/gq5EHfLQEZp7wsT1n/fAtGee2WIOKG74GZ5uvrSxIVoSB+OCwVwd5OhcqoxKJsPOOlm29oj8EjG1mWZXkZe8EISkxpXOVZElH77AuxTdbfcUJNh8HjSOZkNfWk/dr/aim95w/p0NSohIdWeFD+GO+WxcHf4OEzega2ct3IrhVsBEzGecYwSNiOmxkK1QkYDAGjKQI4d8k+hlDYsanSDD5FHo1F3/oWfLp/7N9NWvwV7oIYcJFQ1dQxhct3dtZebo1/BdGgRsQdc5DQ2Dzb+baWzwiy3lvSCz39/z+Dj/z04ggxT9xSlzIiOvmxUeL2zqF5wk0TIG4ZHcZX0flO2FqhBZ59Gk+iFG+ReFIAVein9HdF4dz81fLRhzOnbE1cNX6VriCxxAV9J2xTRamRDyKM7p/Yi7yhCDTbTOld36PDfYQoghAa917IsPfg2hCkot5iET/nkGa7+U7FQvYCtyScZYSshxmt97hl1iDCsXySjtLxIusw7ltD9XRx5cg5tgDf0I2fy0eINSy5GX535b7FNHUorX6zZjoAdeSL9UIRgGAA7yAI0eHGAK6MwYjVz0SmCSzgD6SQMLGkaooA4vLErdNnkG7pmRM4gmc+bvkHYgT7AFiyZIEX5KTMRBoEkLggl6jdRhoRHapJEvYMogfz0tncb6WoODv5hl7rzm+qbPtmaO1EId4LroPRyoAA1QZX1XirAWGRcRAnF+haojYy6gMWovHHXfcCDzjbCZVJIBe1RMZi4gCECWl1qx33fougQdrQpKLeJwSTWzRlkjJNbnO59jmEAgFX+uWzjMAKVsDSIF74Gk6ED/+TQcg4JbxWWlEErtGLEnMfH0uiCYJLl2rzmd9dY6flEBL+iTNZLC7+OKjtaNFXVW7d6iQeX5gybYg/gTBBSgCvN6fvwM5QFvvQMKrwntPCFV/tz7YnQIBW2En/BtA1zvc17tBrFr7qv9RDQfukeX+f8ln1tkREmh/AHx/ptsXJGuSlqyKrnVorVifi0ZsHzfvjG3Atl3xZcjj+TBPa1Ncl2RkAGDxE3mFSPMu2R+SFW5gE9au7hHvVJWXT5VgtA4FIp3DEiaxZko0WbM6cmAYsagnKVvn+XSGmadOOMRdRpeDLgNnWiHK5kRnEAu6SDJIXnMMEgn2Evv8N4gm7y+2gGR9dU4cRQbCS8gdxRs2wJ+Jq3CEA5kzClbuxw/zizqH/d16RaohgvgXvs7fM7r72ACyHJkq4YWbyEbEIGaQ5mKQTmXEU+9gb7YBwwn8h3UYBIH4Cu+av46VLOIgtrLFdrXYls+3kMGnZHSn0A2C+uijj154TqB/R8SatzWa0UGl2CbGLiJAYW2x3npBLGR0xYifiArbc71L97RevDPPAmOaX3xcBUnaQ9KLCzojYXm4eUo06ehnI57HtvKMIsuq9W3dwoc6363bDH0qLPDJ/Mmc6JRT6Dqiy4y1Ym7wiEJSYPQp0cRXKyDJpTPibK+v6P19EU29GjyT/l6CAhBq55W0C4pxZoVkBlnCkUsGMwYH5/4MXSDy9yCaBCkOAgiNAyl7ZdpyYW6SJZXbILI4NQSB6jXw1HJmkgqLQKBlOYZAIeEUeKfBFhttPeIAACAASURBVPj1b6o8qgVZXQ69+tnk9+YQn/6e/k7wRVAgRoBG26EyKhNAqORZ51IMgcjWCCSlhB548veMypnk2TkxOpsEefclX6efZN7aQcRKAhChCEPdFa1bv5xlYm5ADYBLdwgsXSm6AOjUOgGAM+Yn+bRHXWfFfHi3ArS1rDqaARJVrBG5QNIiQC3hBITZQ0YHFfJa9Vay54DJKdHEz0h2ka6IkoyBFJEwSSiATkSXdYEUQXADUXyrCmHvkLwAYxIx8/N3cw2iyZq1HqPDqVceX2VuyFDrL8A1GdanM1388e74802H51cA4DNi8P9sIs4EjDXPv0heJG10LQk9ow3xgO9cdDi3c/3YCkLSnwxw771JUPiTGNYKnwn4SrB1HAHJGb5F4q47RTXZeidfl48DiMUClXrkha0fCDdgnG9rJWUQn/wmHyIGWE/mgZjg58wVKanjJ2N+dKmbQCI2H9Yn/40YyfqqHgzkXmxvTnayTUk13KTTKGPAR5HgWiNTosnadBSAuEDXGUNM4Ksk2dajbmxzVoSMrc5ZHT9RPJHQWvP+bj5BNFkviIPoQOqdn1iKeJTQWv/WumSe/bM7ZLM5u6alwMK2xABdSjH4Fb6Tn5yeVaToKAF2vhZ76CEoevXS+nt4etH5aHyKmA7j2/aMyM6wdeS8Ypv8JwbcoPsMMQPzyYmySDs2IH6zQTgJjnnoQx865hbWKSwjLpAn1vJ78pfWIoiilS8vBqEMg1qXOmnhXX4HCZzRrfX/tXe3OY7jyBZA522p//V2ew3d65uHUzMxIATakqmQnVZdAoUqlzNF8ZIMRtz4IPzYjnSXKnI+rgPrkxyDd1d/IoyQuRy42/VAdvpewENXf/BiE5Av9t5INCF/OUGsqasdHqv765XfC9H0Clr52f8hQHESsigVguDymSJPeFOgED+MTxu3owmttSk9UwjoSDQ5OCgZDmIey47mgJKihFDTr8+MXwYLw8ZYKclIhVebA5A3TLTU0UbYILw6Ctrq0xwRmoxeWG4br7wxEoJXNu8hwoNxb247PJFF2o23VTg4GKJ1nXxnAUhEk4OWMsbbrh+EqIPYIU+BdHghJnlgGeKIwzPpBAwmZGcVBYejNSICiMezq+aHuUeUSRkdowWtDwSXMUshIgu6FCiKsPXg2Vsi17gpidaMiLWOKBUkOWPQ/kb+IevMKcNXtJj9TiHtuD4ent6fIU9JYqTBVlQOeSIKgCzjQeNBPNsYKRQWRobn2Rsj0STyjcykiHbccud9Ge9kJ3KVYgtfUSvGVSl11uhKtB1PH+VL7ZQjzb5HSniPjigAffIyiooReSeyd9vsQQZ3R4TRozFWBCrCzfmHOOhInbPWnU9V70P/dTU4uWa9PrpW/sh8bH/Gmvf+5CYySf9kmvGZ60rHMjb/zzD2s6vFgj2XF5ki7+yzzzXr0t53vktH6fCQe64znrE0pj4yOslOpIHoo86boRh65BcjdLv+RFCSOfSZLj2C3BK1S86IEBPR4Dwgu8lT/TjXRRV2NGemte5v6xERgvhRZJmDSTqRsSPqzzZnjbXGWEfQ0XFHogkhSj9E3nQ4PLwvOU12Wov2g7NQ/TxOHhhyaFkzK2ctOYyMeJRyuMULvvp0DnakdXq+/Ub/of/ObhMzb3SXLmN+tgbIAOSF6EXECaw7UufIJrJzLPxPdtYtheykDkdcjck6R145u8mvSi+2ZkUN+9vY6IX2vEhDhO9qzR+4WZ/WIDLL2ecsEOGD7BXp2uW8NUZ6C4fiuE7ITPvC33WxQQdJqD/7HDlHN9lixFHmfejcHTqn/jg7zJFoRfoJAlkUIUccHZGspkd0nUVn5eGZ3w/RdAa93/h3HVoMZ+GYNr3PNr56JzwEDhLKQClyZ6FC9DDmsfeEK+8ZQ9NnhrDoERuzow6Hd62CzhXS63OF+foeUXEmtaxuxDiKSyn7HRE/+lQvyeFDeaIYbpuoKoc+b+TVDYkozJmXbqV2kXlh/PEkKQzokKBMUQKfNcoaA2aFLByf6/0Z7zCjdGq8n4wZipq1a2z2BwLKoSW8+Ewh8lqPFKYx2sGhRLFY9VrN8DpifHYehowW60EEA6PPQawpEo64ZigioBgcHUoGxbCMT4a7PeH/EBTCwaUnVi2Ejr1ACTQOUWKMTp9FMomg1Cc5hpBk1Jxt1gkjpdJNpAWRyebLmmR8ImBEa53dB/WusCPfzA155XPdKub/7E9/VuauUn5HImQPo3qPjogfxifSTAoLD+esjo+IBIq3+mlXN1EjCooy8q3RVxvZRE7ChqwyVz4jK541yrZz/6zSLeIHCcMIqltjkbrWDQODl7eIJZdXkEVnb6UyRs+2JuvSBmuEzOy+qWlmfFahc5gbZ6fxiZgQgcIIREhUejYdCTmKNDhb52pcF/BD+iIBGWHO4Yoe5qRCAjEMu8ZIH2GUMQqRAyIjybTSG6TyiSLuIM3JGueQCEqRKHQFslS0m/IJHJuMQ+d4xyUYcK1bJmtd+Ozcqxuw6BirOqB17znbGxCf7XPz1rVGOU+QI9YLG2FG7ohSEaXWUdJgTxaS4faJqLEVIs3vOkuR3n6fk8hnhM+z5mftidV5rGcjIDmfrf1af4glhA8SvYgmZy1bjNxkH60STfqt7ARjtD+0OtPJzpUz/RFWpdtWP36uHMXWJXnd2R/HEczsbzKm5gfxi/By7lubXbo1HQbZhFyyJ6wfewJJL/qMfX2HaKb/rpH/+/X3v8fZ3Nuh+f63R4CQFQVQtTYY+QQcRUMkjNoSVYCyAyzLs25f40lisBN2FFFGuzx2QrTT4O1475/4DAJNugLW3J9ZWHQZZyues1fGzJvN84mU4UlYSRdCElgTIh0Y7wwunxkxe01UBUVRyPHqjUYUQdFLCnnyLnkO4w9hQfEVNUKxskZ5gEXrIEiF4682ewGZxtClZNh3vEwIDAYGHLuU3/EdGWhCqBmiVZttdQzPfs94eD6tz4q4c/Dz/lNWu72eo/FZinjtgW7jU7SnNWGdIrIq5N58IXtEO5Gh0jA7WkWYIualW/GYGRtll+JEAZ2Fi3f0fbdnuLSBM4XhaW/P6idQhruuWH+GH7nHy4r8QnDPHAZ7+CM4pbkbB6MZ8YSUdH4/a9aPc0M0C0Nn1XipG1ytUWkYxkThJ0cZpuQAYkTEiNRqZz3i94wCjtiyxxl85onTBflPppIr9uUV555zglNCg90V8hkxgQyRhouErELICGxGvDOWDO0ifoylUlfHq8g9H4b+dPbF2QhDRBOiHCkv1ZjBXWnjHBQdFxsYmzGJ0iI7pcpZI3RM/dlzMIVtp8G7t2e/9XuRffQk9c/IqhnR4v+smavxFJ2NkBXB4n04DV5tdFZpr+Sf6ChkhM9k1p7s5IQQySyCf9UBgjimR9Ih6GL0Cnve3qfP0i/pnMhFkYX2jlTd1f6MSQaLaDNEoH3NUUWfpUtUOmvnfi8cnXEyMOw10aBnxvBobpxB9ro55OgrPRDBLGWX7Fy1EZ71SUaPjjP4ddZ5fHVdX/HziWi6AtXf4JmUC0KHgkao+cyItiEJBBFHogO60k1AWlEcIh7KE+n/qwBrJ8nk+fKf1U+pK5jHaaVYi7TgUeto+iPcYAbXbaNYU546CugSbIqLM3YZKlccDOP7I0REZ8xuIKzi3EKYeQ5XPFmUP4aRdScKC/ki5YlRuNcYNgwNER2r0XDGULehIUa8D0UCaQBjZKw/vBYUKNEH0ohWiwoiCigN1idizX5QK4LHxbq0D3h1KVJdDbHsEKbE8No5hB268sz11aXY1/tWahCvlvWDtDOvdQ16Z+pjF0ZHn2P/UQitEx40BiglnIFvbqWBKGKK/Olq7zQGzZn9h/ic3ZYmyoKHlYLc0fSHMJEWYh9um33IO9hRo4mxSbl2rpH/VxtEjAcpjzyf22YPUvp5tp27K8SF6CVrkZfWHqbw+uws2mtkrqgmtTRWo7esS5EwZBdyHgFDdyBjyDXngZQoJILv6BrSpVZxJ+vJSmQSskKqPwILQW8diYhFVKzWz5thJtrb+Sfq1Vg0e0D/6vtwQnQ2mMKOceaMcL4zBBlp7yBAO8eyfZZ1wMC3l5E9dQsxAgMp5DwUobJaw2v27lXHyN4of7wz1lnbfQ45E4yF86EuZhnfCbmGGOm4dMNz67Zh0VnOoW2zNhFqHTWapGjTbRWq70qlfLbW6CsiQ+y/bbNHjAnZg5BZiS4Stc5xg7wRBUNm+QzTvSaKmS4vQm9VD7QepR4jW43Re5CXzl4kOucB+cYhL52b/DmDuzNWVKlLdBD/+rHXyBc6migg9ssKafcIL7YXB4izxjjIfWuf3SVa8ozD4dFep58JnODgNBZnAuLnHQTo3rr51u9DNH3rzP2A96bo2vy12SvMt27kIehWmWcEAGEiSoRQozQxJAi2dzQKGiMQeTG7KteYEQa8qx2NUFMHQH8Od0qTGhWMTR48kTcU4I7aCpQlHh0hmxSz7c1eHeMZn0E5lGKJHKk2FudGHlDsV/O7xzTHUvwqBH1vLOZZ5IwIBekbq63qQlVIsXXv3+P1pEgn/48Mc3itGkuMT0oDg4uCw4Mt3YTiLaWMgkXhQeyt3mw34kABNX88PRTdSmVjzKiVJCrNOupYmzP8a34r5WR1jur3GJu8ga80nseugraV/lUk60ig+7c1TL6sEMCU3EoJQFaZG8oaIqGrRtEebva59VC1ybY/b5+LpEIudzTpLdam/ebZSFFKIeUQ0YUMrYKpZ/ujgFLsK022W9Hdvp+UJ8r7WIi/inMzlBgXUodWi3OPaY5kcq3NI+k1CCnkOdl95jp5BhOSx9+1x8lNn5HZ+mDESUnUzxmvsihXc4jkIYMZavQKRp+i8fYM0sznM/3UPCJCEFlkv+iJKuLsbEcemj+GVMd19du1Yy5rHuG6et6MzxW1Mavp+GxfiU7rItPKAVG1wnx2DlUdl0obXxmrSBSkLb0TkcV4pifRj2Ypsmdlyez3kbaINMb0jICgC3vHLieEaEHO4iImEPX0MeeGtcuJhNhaSS3bjo8eqz+ZD/SWTsfwDEsOAQTvGGFUxbkRCOSWOmar0YulY9btoyVLjyQHcTTSq8iZFedqjdeZR3bqG572OQLMM31G4uvHWSs1+QzmorbIK7LT+Yckpz8j62AgXZXu0XWrHhuQ081aHNPIrFE6O13Xn476WjPZaX67dE7Ph9OsLtkzOWL/rZCgV8imM88M0XQGvd/od3l1GCwWPaPcZ0rwzAsywkKIr4T0I1woKIxCQsxnXnCh9lc3igtj3TWedSParM8K8z37Pg4KCpyIBgcjLzFDmAeB9wCxIJKEscRo6mi8ZRRs3l3ExzYFhMLGMD2T3lXvWcrh9uaksVZFFUzsGNsrz7B+HWjG3+G1G/s27lHpqPDYUgheec/xZ0VqycEXxcBA4R0TeScijAJn3SCiFEbtKEisACQFAmklfLiUFWOjxNkjDHoHaVczL0gsa18f29skKTMUnRXvGUX+aCQiY5NBqh7UKqnMqORx5GUXho14FaG1V8sBaaLvVxolTHQU2WSuSilDTsDr6qY/0SmUQ/JqNj9VD6dDgRIBpjgpjCnCFG5EF+woxPYJ0oKx5Nw626x561LkIqUR+bFt5gz500HyUnb1M0bw6q9qVZSRs2JYn8XCvrSWjbMzgsR7jemrxl7Oq7OFyKX7O985kch8hoo9zsBn3Fu7+pAW2VGzzBlLl+AU4Jgq8tg6ItOkLXJwrNQmfDR/dCURWta9f9sb1RhlzgXrc6Vx9DHyjjTrwl7g0EKyrTTkBFkiIguZ6rN1t1ejzV5/taA0XdP6qFvmfLbPReB0RuY/wkF/Cqc7a6TkzQzoullzxQmx7Ve0ixv6rHUkgTNJiiDj1jlV+qbvO/a3PS3NEVGPMJ6RV/6fvdBB4FsjYy0h469ap5UW34HjyrquSCOEYVfNn3oPstL4/KFzl/Pq7Fil2LPJlGVA1rNFRIxxkJsvf6tNuFqsfoujc52DhR02nqXWkbpJ9BuReB0kaPUtYlmfZCaSeZQz5A/n7Sqxhawmy440ZK+1IbpxNS39SD/v+pkQTe9C+sv7obTw6iNBGJ6Mc56/PfaesKOwOcBf8WA79Ag1QkskAWWbJ2SMitlCakPOFP9XoUf8CF0WxUHROCug9/pnVCOapLMhmijCPqtVQbAResKOeQ+kDnQ0+PKkGuMs/FsElUODkH+1Ec68gTxiFXbqszXzrDlwKTjv8h56l5EMOjPPlb736FYXIcuMG17zs42SYl3y8sNXIXzrnneekYSkFOUh5aYDS8SVAw+xpUbK2ODHa+Z7qXpV0PfMGEUvIoNEacGVYrE1tF3/TKaskINkSdUu8Z7ICnUGGH4KclfUAYMGjkgi9ZJWvciiKJBUQr1FaCIFeXb3ZKf1KL1MdNBRuSaah7EsgoLBxEDg2bXHHxWf9519t3qT1zjXsER8ksXIvKsJEOeStULZhK+50r8zh2LMOUJ2Wpe8omcb2WytSCFArs48xOaMAo70fbV5PjlZNz75fZ/3inMjS5zNKzf5vfqO9fMlO8uoWX2OfadOHyfSjHy113m2z3j+692cqfYjnCj96qGRW4x7mIs+snYQKmcLnevTXvRca297KyC5JoLKHmWkdRhM0g/JMDLb8+tPjR+5Zv2u3nhahanreaKbyCfEFX2h5kiKlD0i+hVRs0pUwAVRZ08jX8yTz3vNOUjmIk2OyjUkuTE4q/XlnKgbOR/dhsvAdl6spK1uxyBdlbNIlIvIkatlJ0PaeYTcEg3tM30TbnR7Rrx9CcOOW/XsN8QuotI+n+lbHAL244re4vkw9LuICWvV5z2HDmcIIrOb8Hm2RsdIw721/Ox7KWVsImt3qyP5PXqGc6hjbByKot+kWFsbSGxRmXQwa1UUIJ0TWXgmcqrGay8i4ZW02EadGasIeg4CBH6H0+rvv//+5YyjQ1UU/aijiTAk71ZTHeu5NT6y2jnD5pN2WNk/iC77xP+Tn2fskjNrq/N3QzR1onnjZ1VKBuXLQUioi3LYy0d2WAt9pyhjoY82ETcMCIof5duGRwA9Y5MZEyIgOhohithC7FydcuIgRGwRLA52nwlwSoe/Ya14N6WYcX22eT5yQAg27+asvoaDiYd3xbhmgFEyER6UUN5Mxbmtl2fNYcVgEokguqsjdeEsVkd+3/pEMDnUHQrSBBTMtlYpovBwCCuc25GmWOsDtgxpBz98RS/x+FIIHMTqTnUoq4gKygyiaRadaO1at+oNdERQkRMi+JBoj6KWzqSXbeeUlxWxixixF8aoA0SGvUcJ4EFbaRR4JDJlHgnhs/6sm2eN15A8o4SIfDjSyEmKijRbfRpLeeUeKWMURbKuo/6b/pFzbr9ioPDMXdmQ8AhWxJaIJp+tHZ+Rg+Q4I5Us60i75mRBvtuDjPWZjEJUOItWjE91L8y1uapCrmShPbYnOxFN5pFx/i1eUCQTOeWssN/rJjjGIlmGoKB0M/w7SDRnqXMWUU8nIbPVoDFnsBcBpy9Org7ZySvPqORkMD/bRm47IxBRHRFUSALnjUgVZMXWwDQm51KHYWYs5k7kkIgshE5h5vwh5+CJ4F51sCCV7GFRFAgdnz13Gx29xZVTjiFHFhytt2WeRIPaf5w5mn6e3brmPETWrETtb99Z/0gfUeQi4DrW+zOZgZTXHzmJHPCZc4KDBznhHKazkaurNdjG/qXaIpEQx7O16WfJzdUb2ch5KdSwIwedf4jcWd2+8b2ckSLDnSPO6NVyH1eec7NnI5k4V5x59Er7BFmN7KUDICnoiI8Kr7/6vpxI5CXdBWYIa8EDSCAOa+e+iLgOOebdkMrOWNF2s/RGMtX4BSN0yDMYIq2KnN7Kf59XU9RnWMOO/SWjZBwffc15L0OA/PyWs3xHP8mtc69uuN/x56uOiLFTXiodag8LPyfygrA4UmC0nlf9YYGFFJfnTG7zrBF8BGxXiLOIB3VuKIqUzm1qGcGAgPrzzz/3IDj0vfEJMcfQixqhTPEEOiwo26JWhDBTDM425CCFjYENz9nBWl7qFTYdSUhJYUQQojyEPlPk9xolWWoKheGqmj977/Dq98gIKYgUNe/t4Ee8MG4RC7yilAJGxVHv6t47OIyqKP5IuogG8j4MtZW0slm/9p91wku4LTBuf/rO+ETqdEQBUEitT8QWBbfD4HuGJ2LOwU6p3q53cohCJRWFcbrSKvXHs3n6jtYPY3joU3SAdIOjrQp/i4Sxl4ytaijMnoEQYcR1rU2Kvf1Ahs1u8CKnGVMdXnLzw8vqjBHBxJhnMFB8GUsIX3uC8kgWnW1kmGgxERwibWdrs+rhrKxbMsR8eQYC2RoQhcOI2GvejZLvDGEwfUPjTOJMQUYYL1mCxPO5Lljg0ebZXsFzi0HpLZVSUzejeTZiC9El8miFJJzh/c8///yS/4yibY03c40YYigheTsMikpd8XdHVMHeGlJrjWGPaNrODznke2NfjaByzo31Z3yeRW5s39PPWDP2PeLwaKvC3+rckF8cSObtUdotw953XesFkU2HqLTDrW6GuOd4WI0QG3GAK1lBlpWOa75gTI92DiN/EVEdxccREXBFgiKTHunxKzqnZ9FTOFDJPrJf1L7PdJS95gyxZ6yXDmz3+uv4ni7GGWV+yP26BZE8YS/QZ/x5hPWr71D10IrkZROVjLFXOF04rbqIOhcViZyiS2zTYNkWSCFnB+fm6poZMbCXBUXQgzqet4evMSG0ZxFS9iD93Rkxu9l279k/7ftENP20Gbnh+zCIeZcckCuN0kDp5NnlPZq1M8TI7HkMFIKcl2RWP4hi4VAmDDuaMF/GLMHiwPOZgirqyPgp26KZOsLrHRSMGXjqo4McGDGosNNSEM1NGdt7WDGO1Rdi+FJQv6E5LET8UAKRgT4LDxcNxmCiADF8kZIdxu4zTLrSWcY+GF/mRHQhBbRu70LGWrO8xzyIiNEOY5AyKoyZwvgOstFcUYKNYVsDzdjIHAd/RzThq+uZ8Yu4fZS68ex59h8vJAJC1MSjYubmrKtYsPdhoPAk63dm7DJa1P/gPe9oyGlENmXb/JGhokERhGSbSDQGREeEJNLPWkGSiRzqblWM23MLuzK29/oi00W9MjRWa/Ds9dH9Pa+t9V0RP6KNkEBVIwk5j4AhWzpS5/b2i+87jQxGrkhWZKEzvIpiMxA5ehg1og4Qsh3Nmc6AESHV5Wh49l4cX+aHkbutJ6eWoDQ+ZJqIpHc30aAM3xWdib6CvCbLnHePIrvPkMozPKx/EZP03dk6FHnE6dBFJCO2yGnnLIegSFTyUq0aBIUzj7OzI/VKOieZTPZ31Mvb4lfFuOGG7ChZupei7jnSaTkkRMh01NZ7x1pH2CEIzZ3zHVmN9BXB5+xAtJrLrvnbk51nU6i3z1e6wN4zFtFNVbfL+c45SLeWqtdlvyDD4cVOfQdJL6BAfxyq24gsN/bKECCDVmtCvWMNHu0jRNNRpPJzpxCoYp6rD3FYUEA7vH5771BEDENIqOjsUCeIGExVz2XvmXvfj+RMRYxV1EoZHQRthyHveRQZYa5llHUJ671x7n2PvEA2Ea4r9Xf2nn/F9wxdEUwahdtnxJN1xMiQ3sZj5mB5VCfnivfqfKZ6W0hJinAV5nY4Cjmn8DBsXi2++uj9ENNqPokGELbfZYQ96o+yreg+soKSVpE2yGaeQYorr6GozHe3Ig5Xjd9StsmNdyhPUpOQPAxr5MDMm4rwITe7Quy3Y6yzQtp2FR4nUztkJ2MGaSwtw5pHHvyUhlSUDsaw/havPAJbBCYiQtqMzyKf1WQSzSgFm+4gWq0r4u6d82UtGg+vvLGpVag5y0VwOS+klncZE/riEBDRIVV0tZ7IUYyk0YjAIZ8QnEXqkKnSIaXMqVd2xa16e+9or54xfou4OHt5x9571vfOG85LeiXyYJY6VxFUXVEO2zH67PytGyCt065zwz5Gqjoj6EVdkTZH8X32cxxK7AvYr95C1/EerzxD2ipy1znE8Q1bJFnVl0OckJvOqHfYTa+8+5GfJTsRnshzkUt1Yxv9AYkmpRoBvKobbd+Bk4bOIqqWo6YrMuvRWDlZpMcjtpwF1Z/sANk0ggzI8o60wCN4X/kzIZquRDfP/koEkB0UKOSAiKZHAqciAb5tkMbH+60WgYgUh9DWCKPk8NgT8u9uZxXEd7+vA9DBoJYPD6CDT60HBjdPvRBukSnq5nTc4vfu8emvjHlj5WniaZGeRzFjxHfeGigMG3YMFREBs/0nJZHnt+PabOtNFNpff/31a79X0XrKm/niWVJXokvh/sT8vatPJCtFjYFSNctmfXdGUL1rbPoRnYg0QIQiX2drQkg/BfLdUUVXRDNeja2UcXUokMmIXIYF0tf6YUSJbJSWJSqm4yaqq8czez75wungj/EytI0NaUB2dho0ahJxINmH2oxclU7DUOtoCAn1YBhNUkpFhWiiqdQgMW9qn3QZgx3v/FOfIZJX+QRRDmTHbO6+VeeEuegwGQCcEEVkbedCnUSRxSvFwM/Ma1dx7jPv8Orv0t1Ft4nqke4rzROpy5lJx3cOs2NEoXfKmFff88zPmxcEINmJCEK6cEA4C8jOTrkik4QMg92j59Llu8h7Y+JMFbWrxEGlBHOwI5xl1HSl5J6Zg47fDdHUgWKecSsEbHjKk2gKBMLVRRnfDR7B7YYfhvyjege8OiK5Xrkp8N3j+En98coLDRcNo/iiz24coggISadwUyC/9cAfsWbQFhnYedBXH7yLDnyE1qOwdwSXNMSuqJjRGByvVjdfRaT9pPX2U9+FkubmIqlBPK5dkRo/ZbwUTcXxrdFHa1MKLQ/l1YXQfwomZ97DXlOPrWpSidRA0otkQupJoXM76krq6Jn3uup3jde6uYpoZWw625+lC7lso+NSisKIDsEBgTyowR86PwAABc1JREFUfhEijMJuY/CqefkJz0XSMXY5NkSh3CGSYcRV/Ruys8jIGeZ0J7KzI835J8zple9g36khSw8iH+05UU2IZA46Fxm5xe8u9kvZKlfp0Eh6JUueyU6ReJ3RYWQme2y0w5wN9v63RNYdWeMhmo6glJ/57RBgKCkqK00IWXAXYT0qh3tFNat48W83+QsDroifsT4A5buu8aVwd9Q5WHi1r/sVxpi1+ezAr1SwjnSorwPoh7+w2ihqcQhrp+jeiWw6ujYpw1eQsD986pder25FhJn9zNNLbsK6FO5geQzaI/W83pUKduyN81OFgPNOCr6oWrdRSam8E9l0pE5n6U8514/tCzomuVnkC7np/6wlhIj1EyyPY7n3k9Hh9xCafx+iaQ23/NaNESCsRae45lW+7Cy1TEijkH5RK2lBIAgEgSDwr1/pZGoYiWpSL2am6Ir0cduR+hFpQSAIBIEg8K9f6dsunlCyQYH8WeTGH3/88Ss9X73HtCAQBILANyAQoukbZinv+FYEeATky8tvfhT1g9kWrvqJAsFvBSOdBYEgEAQOIiAtwi1Gag5UCuL2V0WHuh2O0ZQWBIJAEAgC/7mghc6pvtajaF61i+ic765hlPkJAkEgCKwiEKJpFbn83q0RqNs4Hg2yijJelS98a3AzuCAQBG6JQNXvepaWS3YmteyW059BBYEgsIjAePPwo0cktWwR3PxaEAgCH0MgRNPHoE/HQSAIBIEgEASCQBAIAkEgCASBIBAEgkAQuBcCIZruNZ8ZTRAIAkEgCASBIBAEgkAQCAJBIAgEgSAQBD6GQIimj0GfjoNAEAgCQSAIBIEgEASCQBAIAkEgCASBIHAvBEI03Ws+M5ogEASCQBAIAkEgCASBIBAEgkAQCAJBIAh8DIEQTR+DPh0HgSAQBIJAEAgCQSAIBIEgEASCQBAIAkHgXgiEaLrXfGY0QSAIBIEgEASCQBAIAkEgCASBIBAEgkAQ+BgCIZo+Bn06DgJBIAgEgSAQBIJAEAgCQSAIBIEgEASCwL0QCNF0r/nMaIJAEAgCQSAIBIEgEASCQBAIAkEgCASBIPAxBEI0fQz6dBwEgkAQCAJBIAgEgSAQBIJAEAgCQSAIBIF7IRCi6V7zmdEEgSAQBIJAEAgCQSAIBIEgEASCQBAIAkHgYwiEaPoY9Ok4CASBIBAEgkAQCAJBIAgEgSAQBIJAEAgC90IgRNO95jOjCQJBIAgEgSAQBIJAEAgCQSAIBIEgEASCwMcQCNH0MejTcRAIAkEgCASBIBAEgkAQCAJBIAgEgSAQBO6FQIime81nRhMEgkAQCAJBIAgEgSAQBIJAEAgCQSAIBIGPIRCi6WPQp+MgEASCQBAIAkEgCASBIBAEgkAQCAJBIAjcC4EQTfeaz4wmCASBIBAEgkAQCAJBIAgEgSAQBIJAEAgCH0MgRNPHoE/HQSAIBIEgEASCQBAIAkEgCASBIBAEgkAQuBcCIZruNZ8ZTRAIAkEgCASBIBAEgkAQCAJBIAgEgSAQBD6GQIimj0GfjoNAEAgCQSAIBIEgEASCQBAIAkEgCASBIHAvBEI03Ws+M5ogEASCQBAIAkEgCASBIBAEgkAQCAJBIAh8DIEQTR+DPh0HgSAQBIJAEAgCQSAIBIEgEASCQBAIAkHgXgiEaLrXfGY0QSAIBIEgEASCQBAIAkEgCASBIBAEgkAQ+BgCIZo+Bn06DgJBIAgEgSAQBIJAEAgCQSAIBIEgEASCwL0QCNF0r/nMaIJAEAgCQSAIBIEgEASCQBAIAkEgCASBIPAxBEI0fQz6dBwEgkAQCAJBIAgEgSAQBIJAEAgCQSAIBIF7IRCi6V7zmdEEgSAQBIJAEAgCQSAIBIEgEASCQBAIAkHgYwiEaPoY9Ok4CASBIBAEgkAQCAJBIAgEgSAQBIJAEAgC90Lgf0TTvYaV0QSBIBAEgkAQCAJBIAgEgSAQBIJAEAgCQSAIfAqB/wf6Lrfij+te9QAAAABJRU5ErkJggg=="/>
          <p:cNvSpPr>
            <a:spLocks noChangeAspect="1" noChangeArrowheads="1"/>
          </p:cNvSpPr>
          <p:nvPr/>
        </p:nvSpPr>
        <p:spPr bwMode="auto">
          <a:xfrm>
            <a:off x="1981200" y="19812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AutoShape 2" descr="data:image/png;base64,iVBORw0KGgoAAAANSUhEUgAABJoAAAJWCAYAAAAQk+1zAAAgAElEQVR4XuydB3hUZfaHf1PTC0kIEIoIiAqiIqKiWNgFFcv+xS4rLii4yOIqyK6IDUFFAUURBYEVFRVFWeyoKCguoiKiWFCaSC8J6b39n/OFhABJ5s7MmStJfp9PnkTmu+eb+96bZPLOOedzlJeXl4ODBEiABEiABEiABEiABEiABEiABEiABEiABAIk4HA4HHKog6IpQII8jARIgARIgARIgARIgARIgARIgARIgARIwBCgaOKNQAIkQAIkQAIkQAIkQAIkQAIkQAIkQAIkoEKAokkFI4OQAAmQAAmQAAmQAAmQAAmQAAmQAAmQAAlQNPEeIAESIAESIAESIAESIAESIAESIAESIAESUCFA0aSCkUFIgARIgARIgARIgARIgARIgARIgARIgAQomngPkAAJkAAJkAAJkAAJkAAJkAAJkAAJkAAJqBCgaFLByCAkQAIkQAIkQAIkQAIkQAIkQAIkQAIkQAIUTbwHSIAESIAESIAESIAESIAESIAESIAESIAEVAhQNKlgZBASIAESIAESIAESIAESIAESIAESIAESIAGKJt4DJEACJEACJEACJEACJEACJEACJEACJEACKgQomlQwMggJkAAJkAAJkAAJkAAJkAAJkAAJkAAJkABFE+8BEiABEiABEiABEiABEiABEiABEiABEiABFQIUTSoYGYQESIAESIAESIAESIAESIAESIAESIAESICiifcACZAACZAACZAACZAACZAACZAACZAACZCACgGKJhWMDEICJEACJEACJEACJEACJEACJEACJEACJEDRxHuABEiABEiABEiABEiABEiABEiABEiABEhAhQBFkwpGBiEBEiABEiABEiABEiABEiABEiABEiABEqBo4j1AAiRAAiRAAiRAAiRAAiRAAiRAAiRAAiSgQoCiSQUjg5AACZAACZAACZAACZAACZAACZAACZAACVA08R4gARIgARIgARIgARIgARIgARIgARIgARJQIUDRpIKRQUiABEiABEiABEiABEiABEiABEiABEiABCiaeA+QAAmQAAmQAAmQAAmQAAmQAAmQAAmQAAmoEKBoUsHIICRAAiRAAiRAAiRAAiRAAiRAAiRAAiRAAhRNvAdIgARIgARIgARIgARIgARIgARIgARIgARUCFA0qWBkEBIgARIgARIgARIgARIgARIgARIgARIgAYom3gMkQAIkQAIkQAIkQAIkQAIkQAIkQAIkQAIqBCiaVDAyCAmQAAmQAAmQAAmQAAmQAAmQAAmQAAmQAEUT7wESIAESIAESIAESIAESIAESIAESIAESIAEVAhRNKhgZhARIgARIgARIgARIgARIgARIgARIgARIgKKJ9wAJkAAJkAAJkAAJkAAJkAAJkAAJkAAJkIAKAYomFYwMQgIkQAIkQAIkQAIkQAIkQAIkQAIkQAIkQNHEe4AESIAESIAESIAESIAESIAESIAESIAESECFAEWTCkYGIQESIAESIAESIAESIAESIAESIAESIAESoGjiPUACJEACJEACJEACJEACJEACJEACJEACJKBCgKJJBSODkAAJkAAJkAAJkAAJkAAJkAAJkAAJkAAJUDTxHiABEiABEiABEiABEiABEiABEiABEiABElAhQNGkgpFBSIAESIAESIAESIAESIAESIAESIAESIAEKJp4D5AACZAACZAACZAACZAACZAACZAACZAACagQoGhSwcggJEACJEACJEACJEACJEACJEACJEACJEACFE28B0iABEiABEiABEiABEiABEiABEiABEiABFQIUDSpYGQQEiABEiABEiABEiABEiABEiABEiABEiABiibeAyRAAiRAAiRAAiRAAiRAAiRAAiRAAiRAAioEKJpUMDIICZAACZAACZAACZAACZAACZAACZAACZAARRPvARIgARIgARIgARIgARIgARIgARIgARIgARUCFE0qGBmEBEiABEiABEiABEiABEiABEiABEiABEiAoon3AAmQAAmQAAmQAAmQAAmQAAmQAAmQAAmQgAoBiiYVjAxCAiRAAiRAAiRAAiRAAiRAAiRAAiRAAiRA0cR7gARIgARIgARIgARIgARIgARIgARIgARIQIUARZMKRgYhARIgARIgARIgARIgARIgARIgARIgARKgaOI9QAIkQAIkQAIkQAIkQAIkQAIkQAIkQAIkoEKAokkFI4OQAAmQAAmQAAmQAAmQAAmQAAmQAAmQAAlQNPEeIAESIAESIAESIAESIAESIAESIAESIAESUCFA0aSCkUFIgARIgARIgARIgARIgARIgARIgARIgAQomngPkAAJkAAJkAAJkAAJkAAJkAAJkAAJkAAJqBCgaFLBWHeQwsJCZGRkIDIyEjExMVWTy8rKsGfPHvP/DofDPCZzZNT2mPy7xCoqKoLH40FiYqKZX15ejry8PHNc9TVsOD0uQQIkQAIkQAIkQAIkQAIkQAIkQAIkQAKVfsNhPEe5mAoOVQKCND09HZ988gn+/ve/46abbsKkSZOqRNKGDRvQvXt3I5dEGt1yyy0YNWoUXC4X1q1bh9NPP9085vV6zWMjR440kql///5Yu3Yt2rdvj8WLF5vH5d+ffPJJE+fuu+9WPQ8GIwESIAESIAESIAESIAESIAESIAESIAErBJjRZIVSgHMkw2js2LHYvn074uLiEBUVVSWa9u7di3PPPdeIpb/97W/44YcfcNFFF2HevHk4/vjj0atXL/PYDTfcgDVr1uCSSy7BCy+8gOLiYrz88st45pln8MADD+Dss89G37598cYbb5h/f//99wN8tjyMBEiABEiABEiABEiABEiABEiABEiABIIjQNEUHD9LR+fm5uJf//pXlWgqLS3FypUrcdlll2HXrl0mRk5ODu666y6TzXT11VfjyiuvxI4dO8xj2dnZGDNmjPn6jDPOwOrVq41kevrpp3HMMcegS5cuRjYtXboUrVq1svScOIkESIAESIAESIAESIAESIAESIAESECPQHZBKUrLAi8WczqAmAg3TN1ZPR4UTTZcvENFk/Rskuyj6dOnG+EkQ7KfpkyZYv7/0ksvxcyZM/HVV19VPfb444/ju+++w7BhwzBjxgw89NBDmDp1qim9+/bbb3HWWWehZ8+eRlQlJyfbcFZcggRIgARIgARIgARIgARIgARIgARIoJLAnW9sxI7MQgTamKhJpBuPXd0BXrezXkOlaLLh8mmJpp9++slIpsGDB+Obb74xZXM9evTA5s2bTTPwl156yWRNiZCSz/4MOV6yqkpKSvw5jHNJgARIgARIgARIgARIgARIgARIgAQA/PutncgP5k/q8nI81q8FvK7Dc5rcbne92fiLosmGb4eaRJP0YpKMJMlGkiEZTZMnT8aPP/5oyuCkLE5kUvXHNm7caPo0yZBeTcuWLcOjjz5qsptGjBiBDz/80GRJhYWF4dZbb/XrzLKyskz/qH379vl1XKCTZXc8KQmU3lV2DClXlOsQGxtrx3Kwez0RhHIP2XF+slZ+fr5tP+TsXk++tyTrMDo62pZ7xe71ZMdK+bDr/GQtOUd/5Xeg8O1eT+4V+X6v3DE00Odt9Ti71ysoKDC7mdp1frKevPERERFhFUlQ8+xcT35uyg6z4eHhQT1nqwfbvZ78DnI6nbadn6wnWdzymseOYfd68ppFNniRDV/sGHavJ29uyrnZdX6yntwrwtSOYfd68ppafm7KH6F2DDvXk79R5HeQXecm68lrFvn5Ysewe73MzEzzGl5+Xtsx7F5PNsiSv4fsOj9ZLyomFlIpV1JabkrmyrveAETEy35rdSIO9zghH4fNKsxG2bcvAmWH26qkpCTcc889tv0sC+YeoWgKhp7FYw8VTfKHs/RTuv7667Fp0ybzw0x2p5Pm36eccgo6dOiAgQMHQnalq/6Y7EJ38803mxfhv/32G2688UbMmTMH69evx+zZs42EevXVVyFC6sEHH7T47CqmiWC67777MG3aNL+OC3Tynj178PDDD+OJJ54INIRfx0m/Kyk/FJlnx9iyZYtp2P7II4/YsZy5j5577jm/r3sgT052RHzllVdMo3s7xs8//4wFCxbg3nvvtWM505j/3XffNT3T7BjSc012ppTvfzuGlOcuX74ct99+ux3LYcWKFVi1ahWGDx9uy3oi4OWeGTp0qC3ryc9y+Vk9ZMgQW9aTnUa3bduGQYMG2bLeokWLkJqaigEDBtiy3jvvvGOya6+77jpb1lu4cKHJ5L3qqqtCvt7rr79u/lDq169fyNeSBeQNLRHKUo5vx5g7dy7kBbC8WWbHkNc/0peyT58+diyHWbNmmddnslmLHUMy2Dt37myy1+0Y8vqvW7duJlPejiHtIqTlg7SAsGPIm6m9e/dG165d7VgOEyZMMBv5SB9VO8b48eNxxRVXoFOnTnYsZ14Dyi7YHTt2DPl68ke1/M3Trl27kK8lC4wePdq0KmnTpo0t68nrP9lZPCUlxZb15PWf9P61q9WKvP4bN24cEhISbDk/ef03ceLEkL35LiJJPkrKgJKycowcdSdu+ued2J3rwO9p+fh9XyH2ZhcdVjbncABupwMup8N8drscuKBzAi7qkmj+zeoQRyAtduyS9FafV03zKJqCoefjWBFCaWlpRiKJ+BEbL38sSxaPvMMvL/4uuOACs+uclMXJDzX5g7pt27b4y1/+ggsvvNC8uJfH5JtUdpY7+eSTITvWSTNw+eUsj8sfxpLBJKJBXui1b9/exPRnUDT5Q8v3XIom34yszqBoskrK2jyKJmucrM6iaLJKyto8iiZrnKzMomiyQsn6HIom66yszKRoskLJ+hyKJuusfM2kaPJFyL/H67Nokh5LIpPkw8il0nLszirC1n2F2JxWgM2pBdiSloeyGjKXqgsl+To6zIWjEsPRJiEMbRPD0TYpAtHhLr8bflM0+Xf/NdjZ8q7sTTfdhC+++KLqHCWtVTIlRARJmdzFF19sHpN3HeWXrsglKcOQx+SdEBmS3iiPiZSSsom33noLn332mSmvkyHpq/fffz/k3VKx05I94O+gaPKXWN3zKZr0eFI06bGUSBRNujwpmnR5UjTp8aRo0mMpkSiadHlSNOnypGjS40nRpMdSIh0Joikrv8TIIn9HbmEZtuzLN1JpS1qFXMorLMWhkZwOyVCSjCWnyVbyuh1Iia8USuFonRCG5rFhkKymYAdFU7AEebztBCiadJFTNOnxpGjSY0nRpMtSolE06TKlaNLjSdGkx5KiSZelRKNo0mVK0aTHk6JJj+WRIprG/HcTtqZLD8jAzk38UOWhlSVwpgzO5UBuVhbat0oy2Ury0TYxAq2ahBnZFIpB0RQKqowZUgIUTbp4KZr0eFI06bGkaNJlSdGkz5OiSY8pRZMeS4omXZYUTfo8KZr0mFI06bH8o0TTI48+iqhoadAtJW/AHfPXI7ugNOATE7kU6XWZbKWoaiVwIpaeGD8a06ZMtG3TFIqmgC8jD/yjCFA06ZKnaNLjSdGkx5KiSZclRZM+T4omPaYUTXosKZp0WVI06fOkaNJjStGkxzKUoqlSIpVJ/6T9Qkn+7d93jsY/RvwbeeXhSM0uRmpOEVZsyqqx5O3QM60ogTvQrFvEkuQlhbkduOyUpjg6KRzNYsNQvXf34MGDzU7ydu3OS9Gke38ymg0EKJp0IVM06fGkaNJjSdGky5KiSZ8nRZMeU4omPZYUTbosKZr0eVI06TGlaNJjWZtoyswvMc21A6xkM/JHYuzOKq6SSXtzKr7emSHNuV21noTIJJcTcErpW+XX5rMDidEe06y7ogQuHK2ahPssgaNoqv1+4a5zut9L9TYaRZPupaNo0uNJ0aTHkqJJlyVFkz5PiiY9phRNeiwpmnRZUjTp86Ro0mNK0aTHsjbRdO+bm/B7WgEC6M9tnpyUstXVb6lSJok8OvTr+Eg3kmM8aBrjNWKpqXwd7UFStNenVKqJDEUTRZPud0wDjEbRpHtRKZr0eFI06bGkaNJlSdGkz5OiSY8pRZMeS4omXZYUTfo8KZr0mFI0Bc+ysqytvLwcI+8YhdF3jUF8fJOKnknlwL0LNyEjvySohWqTSZkZ6TiqRRKax4UZiZQY7Q1aJtX1RCmaKJqCupEbw8EUTbpXmaJJjydFkx5LiiZdlhRN+jwpmvSYUjTpsaRo0mVJ0aTPk6JJj2ljFE1ShlYsBijAIaVskj0kIqmktByZBaVIzy1GVn4p5r/1Hk489UwUOzzIzCtBRl6JeczKctVlkpS5OZ0V60jvpNgIN5JjJRvp4MyksXeNxORHJyA2NjbAs/HvMIomiib/7phGOJuiSfeiUzTp8aRo0mNJ0aTLkqJJnydFkx5TiiY9lhRNuiwpmvR5UjTpMW2Momns279h014pZQtMNnlcTiRFu5FXVIasgpI6y9oqr1RVryQRSI6Knknmc7X/j6tBJiVJuVsdZW5Dhw7FxIkTKZr0viUCjsQeTQGja1gH+iua5OdQYUlZwBDS0tIw7elpuP+++wOO4c+Bu3fvxuzZs3H33Xf7c1jAc3fs2IEXX3wR8svKjrFl6xbMf20+Ro0aFfLlfvvtN7z55psYMWJEyNeSBTZsWI9Fiz7Arbfeast6v/zyC5YsWYJhw4bZst5PP/2E5cuX4+abbw54Pfnl7HXJ+0m+x8qVK816t99+u+/JCjNWrFiBVatWYfjw4QrRfIdYtmwZRE7KCw07xtKlS7FhwwYMGTLEjuWwePFibNu2DYMGDbJlvUWLFiE1NRUDBgywZT2KJj3MFE16LCXSrFmz0KFDB/Tq1Us3cC3RZsyYgc6dO+Pss8+2Zb1p06ahW7du6NGjhy3rTZkyBT179kT37t1tWW/SpEno3bs3unbtast6EyZMwCWXXIIuXbrYsh5Fkx7mxiCaRt91FxKTkk1DbpFLY/67Cak5xSoQpX9SlSxyOFBUWICIiHCThVQhkyp2douLcCE+wo24SLf5HCNfh7shPZTMR4TbzPN3UDT5Syx08ymaQse2XkX2VzQVFJfhi42Z9eoc+WRJoKESkCaGXVpFWzo9iiZLmCxPomiyjMrSRIomS5gsTaJosoTJ8iSKJsuoLE2kaLKEyfIkiibLqHxObCiiqbJPksgk8yH9kcqA+8eOxYAbh6LUG4u92cVIyynC179lI1sykXzQqco4qp595ATcDodp0C0iKdztNGVt8ZEuxEd6sOSDt3HNZZegRVIMJENJPmLD3WZ+KAZFUyioBhaToikwbg3uKIqmBndJeUKNiABF04GLzYwm3RufGU16PF9//XW43W7069dPL2gdkSiadDFTNOnypGjS5UnRpMfzSBBNlT2TAqxkMxInK78Ee7KLkSofOUXYm1Px9a6MfJTCWSuwg/oiOR2Q3kiu/b2RosNciIv0mGykSmlUmX0Ut18shXucqO6QJKN93LhxSEhI0LtIdUSiaLIFs6VFKJosYWr4kyiaGv415hk2XAIUTRRNobq7KZr0yFI06bGUSHPmzEGrVq3Qp08f3cC1RKNo0sVM0aTLk6JJj+eRIJoefHcz1u/JN5lIgQwRTXVJqsNkkhFKFY22K/siJVVrsi19keTD6z5YIll5bhRNVihZnzNw4EDMnDkTXq/X+kF/0EyKpj8I/JG2LEXTkXZF+HxIwDoBiiaKJut3i38zKZr841XXbIomPZYUTbosJRp7NOkyZY8mPZ733HMPbrzxRrRr104vaB2R7BBNlWVtpj/S3ffglmH/QLNmzUxpm/zbg+/9jj1ZRUGdb20yKTMjHW2aJ6J5k/ADO7aJSIoJXCbV9UQpmoK6jIcdTNGky5PRbCBA0WQDZC5BAiEiQNFE0RSiWwsUTXpkKZr0WFI06bKkaNLnSdGkx/RIEE0ZeSUoLi2H/BfIcKCi/EyyjCROdkEp9uUVIyu/FAvf+wjHntAVZZ4IZOaVQMrm0nNLUGIhm+lQmSQNtyUrSdaSPkjJsSKPvEiUndr2i6RHxt6Fe8eMRnJyciCn4vcxFE1+I6vzAIomXZ6MZgMBiiYbIHMJEggRAYomiqYQ3VoUTYpgKZoUYbJ0ThcmM5rUeVI06SE9EkTThPd/xy+78gIuZZPd0xKjPJDNlEQySdaSryGNtaWcrVImVezkJju3wfRNks+HySQLmUmy6/CYMWMomnxdAIuPDx48GFOnTkVkZKTFI4KbRtEUHD8e/QcQoGj6A6BzSRJQIkDRRNGkdCsdFoYZTXpkKZr0WEok9mjS5cnSOV2eFE16PO0QTdVL2e67bywG3XQTUlq2RFkZzG5tjy7agh0ZhSonZXZnM9KooidSYUE+IiMi4HY5zb+JYPK4HIgNr2i8Hb+/8XaM7NgWLru5uREvX0e6zTx/B0WTv8Tqnk/RVDsf9mjSvdfqbTSKpnp76fjESQAUTRRNofo2oGjSI0vRpMeSokmXpUSjaNJlStGkx7Mm0SSlbEXS0Mh3YlDNT2S/5JHEopLScmQVlCJ9fynbW4s+Rvvju8DhjYKs418p236JVJmNVK3JdmU2UpjbidiIClkk0uizxe/hL317o03zBJOhJP8WE+4yMioUg6JJlypFE0WT7h3VAKNRNDXAi8pTajQEKJoomkJ1s1M06ZGlaNJjSdGky5KiSZ8nRZMe00rR1Pboo02PI2ld9Pjirfh5R+4fU8pWraStqrzN/JsDUWEus2tbbITLCCPJQJLMI/m3+EgX4iM8CPc4Ud0hjRo1CiNHjkRKSooetDoiUTTpYqZoomjSvaMaYDSKpgZ4UXlKjYYARRNFU6hudoomPbIUTXosKZp0WVI06fNsbKLJZBiVlAWeYOQAwj0uSIpSpUwqLy83Umny5Mdw5VVXoUnTFBSWSI+jEry6cg/2ZherXLjKUjZpoC1ZRBWlbOHwuCuyiuTf3U4nYkQemZI1F+LD3YiuVspWIZICK2WjaFK5jFVBhg4diokTJyI2NlY3cC3RKJoommy50erzIhRN9fnq8bk3dgIUTRRNofoeoGjSI0vRpMeSokmXJUWTPs/GJpoe/2gr1mzLsbRTWk20wzxOdGsTYx4SYSWlbNI4O6+oFBk5BSgpd6J6GpAUlVmpmqvseWSE0f7+R5J5ZKSSs6JPkpSyiSiSzCMRSZ9/sggX9TkPbVOSTCmb/Lv0SwpVKRtFk+73H0WTLs9gorFHUzD0GtCxFE0N6GLyVBodAYomiqZQ3fQUTXpkKZr0WFI06bKkaNLn2dBEU0WWUbkpVSstByZMeAT9rrgSbY9uh7Kyckz5eCs2pxbog9wfsXoDbcf+RtoiiSq/ls8ikirnVX6uKmUzwsh1WClbXIQHEYeUso0ePRrDhg1DmzZtQnY+1QNTNOlipmjS5RlMNIqmYOg1oGMpmhrQxeSpNDoCFE0UTaG66Sma9MhSNOmxpGjSZUnRpM/zSBBNUs4mpWZWMn9qIiBZQ5LFU45yk12UlV+KjPwSZOaV4KNPlyO5dXvAG4XM/FKk5hShqMT3SrUJI1lHHqtJGKXv24fkxHjERoYhOtwFr8tpsozC3BU9kSI9LtP3SBpoe90OiDwK8zgQHRZYFhJFk+73w/DhwzFu3DgkJCToBq4lGkWTLZgtLULRZAlTw59E0dTwrzHPsOESoGiiaArV3U3RpEeWokmPJUWTLkuKJn2eR4JoevLjbVi9NdvsqhbIcDsdZnc0kUwFxaWmX1Jdo7JMTUrTnE6Y5tiu/eVp8lk+pEwt0uu0JIxiTeNsByaMux9DBt+Edu3aBXIafh9D0eQ3sjoPoGjS5Tlw4EDMnDkTXq9XN3AIolE0hQBqfQxJ0VQfrxqfMwlUEKBoomgK1fcCRZMeWYomPZYUTbosKZr0ef4Roqnf5Veg43HHo7S0osRNdmZbtztP5eSqSyTpb1SQX9Ew2+tx7ZdJB3Zcq2yMHRdRsQObNMmOj/QgPsIFj9sJyZTyZ1TuOkfR5A+12udy1zkdjpVR2Ay8dp4UTbr3Wr2NRtFUby8dnzgJUDRVuweWLVuGn3/+GZI6bcdYunQpNmzYgCFDhtixHBYvXoxt27Zh0KBBtqxH0aSHmaJJjyVFky5LiiZ9nqESTdInqaQMVTKpRHomlZVj6rSncea5f0Zcs6PMbmxpOUX4bmsO0nKLzS5udY1DJVLFTmsVDbMrspMOkUgRbiz75H2cf95Z6Ng2JSiJZIU8RZMVStbnUDRZZ2VlJkUTRZOV+6RRz6FoatSXnydfzwkwo+nABaRo0r2ZKZr0eFI06bGkaNJlSdGkz7Mm0SQ9k6QMLbBCtornmFtYgr3ZJaYnUlpOMVJzRCoVY3dmAYrKZEbN+UIij9wuGIEkJXHVP1c2zJYd16T3kZVMpLFjx6J///7o2LGjPrxDIlI06SKmaNLlSdFE0aR7RzXAaBRNDfCi8pQaDQGKJoqmUN3sFE16ZCma9FhSNOmypGjS51mTaHp6yTZ883s2igPsmSTNsuvKTqpLJsWEu9E0xo2kaC8Soz1I2v8hX4dLOZuf9WwUTXr3DHed02MpkdgMXJdnMNFYOhcMvQZ0LEVTA7qYPJVGR4CiiaIpVDc9RZMeWYomPZYUTbosKZr0eVYXTZLBJOVtkz/cgp+25waV0VQpkw7NSsrM2IeUpHikJEYbiaQhk+qiQtGkd89QNOmxpGjSZRlsNIqmYAk2kOMpmhrIheRpNEoCFE0UTaG68Sma9MhSNOmxpGjSZUnRpMdTeihJxtLkx6eg15/6mObcUi63L7cYb65Oxca9+UY61TVqk0kelwPRYW4kxVRkJFWXSTOnTsa1V1+OTscfr3cydUSiaNLDTNGkx5KiSZdlsNEomoIl2ECOp2hqIBeSp9EoCVA0UTSF6sanaNIjS9Gkx5KiSZclRZP/PKWETYSRSKVi87kMJaXlyMwvxa7MQrzz8f8QntASpd447MoqQpF08D5kSLmaZCa5XQ54nA54XE7zdV50yp0AACAASURBVEWZ28EyyUilKA/CPTWXuY0fPx5XXHEFOnXq5P/JBHAERVMA0Go5hKJJjyVFky7LYKNRNAVLsIEcT9HUQC4kT6NREqBoomgK1Y1P0aRHlqJJjyVFky7LxiqapDl3vjTn9rUtWw24RRztyy3BjoxC7Moq3v+5CDkFpZCspkOHNN+WjCT5ELkkUinS6zRZSSnxYWgW60VKvBfNY72IDndBspr8GRRN/tCqe+7o0aMxbNgwtGnTRi9oHZEomnQxs0eTLs9golE0BUOvAR1L0dSALiZPpdERoGiiaArVTU/RpEeWokmPJUWTLsvGJJpOOvlk01C7tLwcs5ftxMrNWYE35wYO67fklCwllxMlRQWIDA9DuNdtspQSozxVMkmkUou4MCOZRDxpDIomDYoVMSia9FhKpOHDh2PcuHFISEjQDVxLNIomWzBbWoSiyRKmhj+Jokn/GpeWliIrYx+Ki4qQ3KKl/gLVIpaUFCMrfR/cHg9i4+35QR7SE2JwvwhQNFE0+XXD+DGZoskPWD6mUjTpsaRo0mV5pIgmyTDKKyoNuFm2KJsIr8vsoCYyqaysHNIOSTKMZs/+D04/oweOat8RBSVlJvPone/TsGVfQVAwwzxOhO0veRNpFBXmMllJa79djvNOPwmnHNcGzWLDEFFLyVtQi1c7mKJJiyRFkx7JikgUTbpEBw4ciJkzZ8Lr9eoGDkE0iqYQQK2PIRujaJJU6bycbKTu2Vl1yZxOF2LjmyCuSWLQlzFjXypen/M0Nm/4BQ9Nn4fSkhKk79uLstIydfG0e8c2vDr7CTRLaY1rB98W9HM/0gOIxMvOTEdmelrVU3W53IhrkoCYuCYhefpFhQWQa+oNC0d8QlJI1gg0KEUTRVOg946v4yiafBGy/jhFk3VWVmbOmTMHrVq1Qp8+faxMD3rOrFmz0KFDB/Tq1SvoWFYCzJgxA507d8bZZ59tZXrQc6ZNm4Zu3bqhR48eQceyEmDKlCno2bMnunfvXjV91rId+GJjZsAZRl63Eye0jEK424lCkUmFpcgvKkN+cSkycgpRXOaAsVD7h3xVd1vuiolOKXXb30vJK6VvpgTOCZcT6JAcibaJ4SZbqUW8F/ERbkiZXPVd56zwCHYORVOwBA8cz4wmPZYSiaJJlydFky7PBhstPz8fmzZt2v9LzIlmzZpVpRXKH9LyWFFREZxOp/l3ebysrAw7d+5ERkYG3G43jj32WHO8SJPMzEzk5OSYF17+jj9aNDnKShCWvc3fp+33/HKnB4UxFdlFhQX5+N/idzHp7lvRrGVruN0eeLxh6HLqGfjr3+8IWiYcKppSd+/ArMfHITc7Ew8+M8/v517XAY1NNKWn7cVbL8/C688/g+Yt25j7XwRQj14X4MqBwxAVHavKV4Kt+/E7PPfkg+h4wsm48bZ7ao1fVlaKnMxM5OfnoVmK/9+LgTxxiqYD1JYtW4aff/4Zkjptx1i6dCk2bNiAIUOG2LEcFi9ejG3btmHQoEG2rEfRpIeZokmPpUSiaNLlaYdokubZ5qMcePqZ6Ti1+2k46eSuFf9WVo45y3fix+25uidWLZo4Jul9JOVt5rPzkP+Xf3c6IAJKZFHlvJgIF5rFeJFc1UcpDMmxHoS5nbU+V4omvct4zz334MYbb0S7du30gtYRiaJJFzNFky5PiiZdng0ymgikd955ByNGjEBMTAwcDgcuv/xy3HXXXSYV7qeffsKAAQMgwkmE0mmnnYbJkycb8fTPf/4T3333nRFQ8kdVkyZNjGSSd79EGE2cONFvZn+0aArL2YHj3x7g9/P294CC2Db45ZI5B4mmF55+FI89/xaaNm+JbZs34K6br8a5fS/D4BH3+Rv+oPmHiiaRIwtemI683Gz8895JQcU+9ODGKpp+/PYrTH7+LRQXFeKrZYsx95lJ+L/+g3HRlfr3kmSmLZz7LNp2OA79Bvy91uuXnZmBRQvm4ruv/oeHn31N9TrXFoyiiaIpVDcaRZMeWYomPZYUTbosJVpNoqmylE3KzwIZInZE2EjaUElZuSlXy8gvNjuzLV3+NaITkhEV3xRZ+SXIzC9BRm4JisRC+Ri1CSNpdySvp40gOkQY7duXhoS4WDSJjUR0mAuS/RQb7jK7uEV6XaYxt3wtj4lAipHHvBWPSfNufwdFk7/Eap9P0aTHUiLdfvvtGDNmDJKTk3UD1xKNokkXM0WTLs8GGU2yko477jj897//NWnYIpYuvfRSPP/88zjppJPMFqUXXHAB7rzzTqSmpuL000/H3XffjRNOOAF33HEHPvjgg6r6THkn/f333zdpul999VVAvCiaKkST9FR6fc40rF/7Ax6Z+bphKVlkIg/S0/aY/5fMp8Tk5oiIjDL/LzJQSrjkWBkej9dk2WRnZRxcOlfVs6kQyS1amd5Nu3dshfRXkiEvjiSmPFZaWrI/Zrp5zOsNM2VxLrfb/L8ck566B7k52UY4yueP3pxXVTpXJqVlWfKc95r5Mic6Jg4JTZsFdH8caQdVZjRViiZ5fru3b8Frzz2FvJwc3DH+SWRl7jOZTsWFheYaxicmmUwnYZe5L83wkREWFo6kZi3gdLmQlZEOKZET1jLk+NzsLORkZ5oMt5ysTCN+4xObwmQuZWViX2rFfSHXPTo2Hpn7UrFowUtY+8Mq3H7/YwiPiETT5ikoLytHRnqqOabyPtIq9aNoOnCHMqNJ97uVokmPJ0WTHkuJxIwmXZ41iSbJMPp8XYYl+VPTsxHJFB/pNr2SsgtKjWzyNeQYEUbms2QVHfL/8m8igiK8FVLIqjB65snHccH5fdC1a1dfT0HlcYomFYwmCEWTHkuJRNGky3Pw4MGYOnUqIiMjdQPXEo2iyRbM9XcREROSkSQiaevWrYiIiDAlb5KqKWmhIpmkTn7NmjVISUlBXl6euYG/+OILk800ffp0vPTSS5g/fz6ysrJw4YUX4pZbboHUu3fp0iUgMBRNbyGpWQpSd+/Ey88+ZsTSvY//xwiKPTu34b35L+Dzxe9A+gBFREXj4qtuwJ8vuRIutwc7t23Gh/99BV8s/cD0YQoLD8eIsY+jeaujDhJNlRlOv2/8xZTO7dy6GY/fP8KICsnIkcd7nHcB/j3haezY8hs+WPgKvvz0I5SWFCMyKga33TcZx3bpaiTUpl9/xgvTHsG2zRsRGRWNlDZt4XS50a5jJ1w9aDh2bv8d781/EV8sWWTklMiRYzqdhBtvu1tNNkmjTemBUCBbAwd01/l3kLyjKE03pT/CoaJJhNCmX3/E8089Yq7j5QNuxvw5TyMvJ8v04XI4nOg34GZ0Pf0cbPz1R7z58iys++l7I4uaJrfANTf9E0cf2wmLFryM1Ss+w4PT5xlBJNlnS95bgP8tfg/9bx6BDxa+bKSUlM7t27sb785/Hh+++aqZ26JlG/Tscwm2b9mEDxa8vL90rjWO63KK4S730Vvz/oP1P68xJy7X7bSze+Oyvw4Ouq8URRNFk3/fTdZnUzRZZ+VrJkWTL0L+PU7R5B8vX7Oriyb5nS6lbDM+3Y6vNmWp/I6vzEKS3+XS26iwoADhYV6Eez3m/0UgyW5t0WFOxEW4qz6iw12IDT/w/3GRLnhdzuqtlnydmnl80qRJ6N27N0WTJVq+J40dOxb9+/dHx44dfU8OcgZFU5AADzmcokmXJ0VT7TzZDFz3XrMUTeSF9BC58sorcf/99xs5JDJJRFHz5s3xpz/9CXLT7t6928QrKCgwYunZZ5817+D94x//wGOPPYaFCxeavk0iiST98ZxzzjFCoX379vB4PJaeS+WkxiyaZk8Zj3899JTZrW3j2h/w9qvP4bqbb0fP3pcY4SRSYuX/luCBqS8gJr4Jflz1JZ4c/y+MuP9xIyeWf/weYmLjcVbvi5G2dzeef+ph7NmxDXdNfLZO0VTJXjJsflr9Nf7zxIO49qZbccIpPfDFkvfN8znzT32N/Hr+qQnYl7obD894DWl7duGl6ZPw2/q1uP/JF+ANC8PH77yOBc8/g4uuugEX9OuPBS88g1/WfIt7Hpttsm9+3/grHrv3NhzV4VjcMe5Jv+6N2ibnFZXhp+25+HVXbsDvdlp9IpK1Li88O7eMQsdmkVWiaeXypfjXg1NRVFSIH1Z9if99/C76DxmB5q3aYPbj4yAlhTeNuAfde/7ZLCUS6OXpj5mspjGTZlaIpHffwMfvvIF/PzwNe3Zux6zHH8CAW0bhjPMuMCLvrXmzkZCYjDP/fBFe+8/UKtG05psv8PKMx3DVoH/g1LP+VHUqNZXOCf+Xpk+G2+PFnROeNnNXffEppj9yNy68/K+mr1Qwg6LpAD1mNAVzJx1+LEWTHk+KJj2WEomiSYen7MhWXFqOGc/OQqcTTsRJp3RDYXE50vOKseiHNKzdmeczE0l+R1dlIDkqRFKFUDrw4XU7EBPmhogi+X3+7Zef4+TOHXHise0gPZDk32LC3QGVqVkhQdFkhZL1ORRN1ln5mjlq1CiMHDnSJBfYMSiadClTNNXOk6JJ916zHK2yR9MDDzxgjhH5lJ6ejuuvv97swlGTaJo9ezY++eQTPPLII3j33XdN9lPfvn1NdpSIJslwcrlcpvzO39RgEU1Smic1u1ZGcbkDm/MqSsc0xh/Zo0magbdofZQUr5nytcEj7jVSQcau7Vvw5LhR6HRyd/T888Xm30T0iHA4+fSz8dehd5gSuF3bf0dJcTHycnOw7MO38O2XyzDpuYU+RVN5WRm2bt6AOU8+hLiEJFNqJUPEya5tW0w2k5TFffbBm/jx2y8x/Y2lRn48M2EMup5xjpEcMqr3aDrtnD54YuxIXPbXIfjTxVeYx0V+SFbWso/exlPzPqwqwQvm2qXnluCzdenYl1sSTBjLx8oL1qMSw3DesU2qRNMbL0w3mWMyWrY5GtfdPMJkEG39bT3mzXoSCUlNMXjk/VVriIya9dgDuOjK63HsCRXp8xvW/oB35j+PKwb8HR2OPxGvP/+0KYO7edRYfL9yOWSNQf8cY7KWqoumdT99Z+RR++NOwDnn/8VkupmSyRp6NH312UeYM3UCbr3nEXTuerpZd+e23/f37MoxkiuYEe0qQYtwa1s0//jjj1i9erXpAWfH+P77741Yv+666+xYDqtWrcLGjRtx9dVX27Le119/bTJTJRPVjrFixQrzJsRll11mx3L4/PPPzeYTUtptx/j0008hG2XI7zY7hvxOlSzj888/P+TLffTRR+Z39J//XCG+Qz1EEkrG9HnnnRfqpUx86TsZHx9v2y5pb775pnmzza5d0hYsWIDWrVubnpl2DHlNJ7vcnXLKKUrLmcZFgNN90EduUTn2ZBfjo89XojQsHo6oROzJKjLZyoePcqCsFCgr2f+52HwOd8P0O5LMo9gIF2KrMpIqBJL8f6THacrgKsfcuXPNa1VpCWHHkNfG0obi+OOPt2M5yGt2eQPYjowfOSF5M1p2YLSrYfYzzzyDiy++GEcdVfEaLJTjqaeeQr9+/QLa7CiQ5/XEE0/gmmuuQYsWLQI53O9jpAfvDTfcYFvPpEcffdRsYCIbTdkxHn74YZMkERcXZ8dykB0YpQdydHS0LeuJdJVWN/L71o4hGX6yC6r0dD7SB0XTEXKFpAROvgnPOuss80P7b3/7G7Zv324ykySjSX5Byruh8qJYhrwwlj/gpGTujTfeMMetW7fO9HySP7Qk48mfIaLptttus2zTI6LjcM5Vt/izRJ1z/0jRVNkMXHYtk0yhrz9fgmmvfWSylLZv+Q13D70GBXl5iI6LrzoH6fVz/v9dY7KHfvruazz98F1GFpreSJnpJovIimiSfj2L3piLFZ9+iHunPIcmiU1RXFxksqamP3pPVcyszHQ0bdbCiCZpSv3E2Dtw8VUD0Of/rjXP6VDRNHX8v3DdkNtx+jkV2z5L+dgn77yOd+e/gEdnv2GeX7BDXoSu352HTan5sNB2IajlZA8YadR5TLMIHJ0UcVjp3KHBaxNNq79chnuHX4/4JokI399jS46Vnkz9rh+CTid1xyfvvoEl7y/A0H+Px7dffIZ1P3+H+5943mSFVRdNcpzIppmT7sfeXTvQqm17jHjgcYSFRx7WDFxE09zpkzHygSlod2xn83RlF8IFL84w99i4p+YGxWfPlvVY/ckCSzHkj/jc3FwkJSVZmh/sJMnWlDUTExODDWXpeDm3wsJC215AyXryxoFsymDHkDLr4uJi29bLzs42v29EINgxZD35WWrXC1L53Sult3asJ5t2yJsZsbH6u2LWdG1kPenPJxuO2DFESIpIs2s9eXNOXiPZ9ceErCcv7KOi9N5kq+u6yOuysLCwg9aT5ty5haWoSQH5vMYimLzRRiQhIgGOyCQgsgngiQQch++eJm/ueFyVH86Krx2lcBTloDw3FchPR3leKpC3DyjOB8r9e1bSf1RY2vXHmawn90p4eLhPVBoT9u7da74X7Fpvz5495ueY3DN2DFlPfi/Y8ceuvLkiv2PtWEvY7dq1y7xm8bc6JFDusp68JpOqFDuG9Alu2rSpbevt2LHDvCkgvx/sGLKeVAjJ7z87hvy9LlLSrvVk52HJ6LXr+yEYhhRNwdBTOlZeVEszcHkn4sMPPzQvRC+55BLIu3XyTpb8YXHfffeZH+jyWeZv2rTJfC0GVebLVtfyTre8YypC6oUXXvDr2TXm0rmDd53biHuGXWfKma4dfBv27tqOZyfdj2M6nWj6+Bw6JCtFMp66nHKGyW6ShuCSAbNi6Qc+RZOUb/383UrTV+jKv91iyuRkbP99E6Y9dCdO7H4mrhsywjQFf33O01j1xVIjmqS303NPPmQycqTkSvpCSd+hN55/xkiMHr0uxFMP/htnnHs+Lrv+ZtO8XBqHS6aOZO9M/M9//bo3jsTJNTUDr/48axNNa9eswotPT8TFVw4w/ZRqGjJn3qwnTGbUrm2/o1PX03Bhv/41iqbK47dsXGd6e0kz95tG3GdEk2S1PfTMPJM9JtfuuScewjWD/2myn2T8vqFCXEk55i13PhgUZpbOHcDH0rmgbqXDDmbpnB5Pls7psZRIjbF0bu6KXVj6azqKSgLrjCj5RIceKUlG0huptKgAEeFeRIZ5jVRqEuVGcqwXKXFeNIuVjzAkRXsgJXAaQ9pFSAZ/9+7dNcL5jMHSOZ+I/JrA0jm/cNU5maVzeiwl0tChQ80O7Ha9qcPSudqvH0WT7r1tOZq8Q7x+/XrzTri82y9poSKQXnnlFcg7uv/617/MY1JHK+8S3nzzzZA0VdmhTt4lkV/QYoflcXlXQf5dsp6WLFlijKoc78+gaKrYdS4nKwP/ffFZLF20EE/P/9hkKEnD5+WfvG8afFcOKa1KTmmN9NTdeGLcKLRs0840CBcB8trsJ5G+L9WnaJJd0p559G5TptX/5pEmtPRbkvvgmUfuRuu2HdD3iutNb6ZXZ09FbnamEU0is9565T9GZo16cKrZEe3zj97GN198igsuu84c8/a858zjg0feZ3ZLk4blC1+aid6XXm0kWn0fgYomKXF84/npJuusujiUsrjKXf0kO+n9N16EZCHJNb75jrFIaXP0QaJJSulysrKMiJQh2UnSx0uymvr85RrTM2vp+wtwwz9Go3nL1iZL7bX/PGX6bf39XxXlsiK0pD+UCMpTepwb1CWhaKJoCuoGquNgiiY9shRNeiwbi2g6vlMn9DizJ4rLylFSWo4XV+wyzbmDGbKpRrh7f4aSy4GoMBeSY7zY+ONKdOvUDmeceIwRS5Fel98Nt/15XhRN/tDyPVfKhaSEu1OnTr4nK8ygaFKAuD8ERZMeS4lE0aTLM5hoFE3B0AviWEnXl/pfSe8TMSQ14yKZKoeIH5FHMiStWITStddei5KSEpO5JLXY0iBchoiq5557DjNnzjTlIhLH37riP1o0efL2ot2n1vpDBYEdRdHN8ds5402IosJCrP7yM9P8e9T4qWiSlGyyg3754Vuzo9sNw/6NE7qdYbajf/+NuVj89mtVS8vOY5KFIgLil+9XmebgMuKaJOK0s/+Mtd+vwshxT+Cjt+Zhx5bNuPWeR43c+OitV7Fj62bcevejpo/QuBE3HnQ6Ka3bYvjdj5pd56Y9PNo8JqKo25nnmWwkae4tQ3Ywe+6JB7Hx159Mid/p5/ZBdEycyZ4RkZS2d9f+LKhPzfyYuCam1K8hSCY5HyklXPreAsPkjvGHNzeX3lofLHjJNFS//IahBzGu6I30DL5f+UXVvx9z/In4+7/Hmesn98Wq5Uvx0ozJOLXnn0x/Jhly3T5c+Iopb7zoyhvwzf8+wZynJlTFOOGU083OgDI2r19rjv994zqTeTbkjvvN7oIvT5+M3zetM3NatDrK9NEKVjJJLIqmA5eYGU3B/IQ8/FiKJj2eFE16LCVSQ8lokmbcIpFKyiqacstn+f9X5r2G5q2PxlHHdkFqTjH25RTj55152JVZBDmmriG9kDz7S9+81aSSNOhumxSOtkkRaBbjQYv4MMRHVjTgrr7rnO6VqjkaRZMuZYomPZ6yC/iwYcPQpk0bvaB1RKJo0sVM0aTLM5hoFE3B0GtAx/7RoqkBoeSpkIDtBCiaKJpCddNRNOmRpWjSY3mkiCbpmZRdUIrywwrSrJ9rflEZ0nKKK2RSbjHS5COnBHuyClBQXI7a0oqcDgfc+3soiSiSr+WzlL3FhFdkKUnpW4s4L5rHVnwd7qm9ZwlFk/VrZmXmhAkTTBsM2VnajkHRpEeZokmPpUQaPnw4xo0bZ1vvTIom3esXTDSKpmDoNaBjKZoa0MXkqTQ6AhRNFE2huukpmvTIUjTpsTxSRNMrX+3Gx2ulZ5J/jbArSTgcQF3JSXXJJCl5S4z2mL5JCVEe83WifI5yB1T2RtGke39SNOnxlF22brzxRtt21KNo0rt2FE26LCXawIEDTRUTm4Hrs2XEEBGgaAoRWIYlARsIUDRRNIXqNqNo0iNL0aTH8o8WTVK4VlpWjjnLd2LZuow6ZZGvsz5UJklGkmQnZabvQ1JcFNo0izcSSUMm1fVcKJp8XSn/Hqdo8o9XXbMpmvRYSiRpxzJmzBgkJyfrBq4lGjOadDFTNOnyZDQbCFA02QCZS5BAiAhQNFE0hejWAkWTHlmKJj2Wdoom6YckvZPmvDAXKa2Owmk9zkRhcRnS80rwydp9+GF7rumpVNeoKTNJhJL0UarMTDpYJrmx4OXncWrXE3B2z5664GqJRtGki5miSY8nRZMeS4omXZYSjbvO1c6UpXP691u9jEjRVC8vG580CRgCFE0UTaH6VqBo0iNL0aTHMhSiSUrYpBG3lMGJWCoqLUNRSbnpwbQnuwhLV6xGHiLgiU3Gnqwi5BcfXi4npXDSJ6myAbfX5YTX7UD0IWVuCdXK3CK8Ljgdh7OZMWMGOnfujLPPPlsXHEWTLTwpmvQwUzTpsaRo0mVJ0VQ3T4om/futXkakaKqXl41PmgQomg65B7jrnO43BUWTHk+KJj2WtYkmac6dVVASUClbcWkZMvJKsSuzELuyiszubvJZRJOUyR06XNV2dfPub8od6XWhSZQbLeLC0Gx/I275LM25Zb4/g6LJH1q+506aNAm9e/dG165dfU9WmEHRpABxfwiKJj2WFE26LCmaKJr076gGGJGiqQFeVJ5SoyHAjKYDl5qiSfe2p2jS40nRpMeyNtH02so9+OinfSgMsDl3Tc9Q/JDb5URpcSEivG5ERYSZnd2aRLrNTm7N9+/qJkJJyt/C3LXv7OYPAYomf2j5nkvR5JuRPzPGjh2L/v37o2PHjv4cFtBciqaAsNV6EHs06fJk6VztPJnRpHuv1dtoFE319tLxiZMAS+eq3QMUTbrfEBRNejwpmvRYVoqmlJSW6PXn3qbUTT7mr9yDz9dnoO6OSXU/j3CPE/IhMklK3yLDnEiO8WLz2tXodHQL9OzWyWQrSfaSn0lKfgGgaPILl8/JFE0+Efk1gaLJL1x1Th41ahRGjhyJlJQUvaB1RKJo0sVM0UTRpHtHNcBoFE0N8KLylBoNAWY0HbjUFE26tz1Fkx5PiqbAWEozbmm2XSmTpI+SfP3fhW8iKi4Rx3Q5FWk5xdiXW4xfduVhR0YR5Ji6hlP6KO0vd5N+ShVfO01/pdaJYTg6KQLNYjxoHhdmMpdkF7hZs2ahQ4cO6NWrV2An4udRFE1+AvMxnaJJlydFkx5PiiY9lhJp6NChmDhxImJjY3UD1xKNoomiyZYbrT4vQtFUn68en3tjJ0DRRNEUqu8BiiY9so1RNEnPpMz8EtTQ4sgy2ILiUuzLLUHqfpkkQiktpwR7swuQX1QOSAfuGobs9CZZSSKJzA5v8rXpq+REdLgLyTEek6kkpW+SoSRlcBGe2sveKJosXzJLE6dMmYKePXuie/fuluYHO4miKViCBx9P0aTHk6JJjyVFky7LYKOxdC5Ygg3keIqmBnIheRqNkgBFE0VTqG58iiY9so1RNC1YtRfv/5Cm2jOp+hWpSyZFhbmQEOVGUrQHCVEeVOz05kZilAe17fRW19WmaNL7XpBIFE26PMePH48rrrgCnTp10g1cSzSKJj3MFE16LCmadFkGG42iKViCDeR4iqYGciF5Go2SAEUTRVOobnyKJj2yjUE0JSQkovcFF5rSNil3E9H06a/pQfVMqpRJB2cnOZGZvg9NosPRNiXByCMRSSKURCbJZ+0eShRNet8LFE26LCUaRZMe09GjR2PYsGFo06aNXtA6IlE06WJm6Zwuz2CiUTQFQ68BHUvR1IAuJk+l0RGgaKJoCtVNT9GkR7ahiCbpf1TVL6mqd1IZ3nrnPXgionH8yadXlbmt25WP7RmFvnsm7S9zO1QmeZwOVGYmyY5u1TOT3l0wD8e0bY0+fXrrXaQ6IlE06WJmRpMuT4omPZ4UTXosJdLw4cMxbtw4JCQk6AauJRpFky2YbbBjHwAAIABJREFULS1C0WQJU8OfRNHU8K8xz7DhEqBoomgK1d1N0aRH9kgQTQd6JgW+L1tBcVlVz6R06Ze0v2dSanYh8orKfPZMOlQmSd8kkUmmrO0QmVRXZtKcOXPQqlUr9OnTR+8iUTShR48etvCkaNLFTNGkx5OiSY8lRZMuS4k2cOBAzJw5E16vVz+4ckSKJmWg9TUcRVN9vXJ83iQAUDRRNIXq+4CiSY/skSCa3ly9F+98H/qeSYdlJrkciPK6kBBd0SNJo8yNoknv3pRI06ZNQ7du3SialLBOmDABl1xyCbp06aIUse4wFE16mCma9FhSNOmypGjS58mINhCgaLIBMpcggRARoGiiaArRrQWKJj2yf6Rokvyl0rJyzF+5B4t+TEN54AlNqK1nUlbGPsRFheHolMQKmVStAXcoeiZRNOndmxRNuiwlGkWTHtN77rkHN954I9q1a6cXtI5IFE26mFk6p8uTGU26PBnNBgIUTTZA5hIkECICFE0UTSG6tSiaFMHaJZqkh1JRSTnmL/gvPN4InPun3pByt4z8EvxvfSZWb8k2PZbqGtVlkmQneVxOVHx2IHL/bm5VZW77G3B/8ObraN2iKfr2vVCRWu2hKJp0MTOjSZcnRZMeT4omPZYS6fbbb8eYMWOQnJysG7iWaBRNupgpmnR5MpoNBCiabIDMJUggRAQomiiaQnRrUTQpgtUWTZKVVFImUqnMiKXCUvlchpyCUuzJLsbyb39CWl45IhNSzP/nFZUedjYOByA9krxuJ8LcFZ+9LmdFzyQ/y9zmzp2LpKQk9O3bV5EaRdPZZ59tC0+KJl3MFE16PCma9FhSNOmylGiDBw/G1KlTERkZqR+8hogUTbZg5iKaBCiaNGkyFgnYS4CiiaIpVHccS+f0yNYkmqQ5d3peMcoCKGUrKS1HZn4JdmcVmY9d5nMxsvNLjIA6dLiMUHIYkRQmQsntQITXhSaRbjSP9aKZfMRVfI4JdxkB5c+gaPKHlu+5M2bMQOfOnUHR5JuVlRmTJk1C79690bVrVyvTg55D0RQ0wqoAFE16LCmadFlSNNXNk83A9e+3ehmRoqleXjY+aRIwBCiaKJpC9a1A0aRHtibR9O73qXjzu1RT2qY1JEtJZFJpcSHCPU7EREcgzOVEXIQbTWM9VVIpOcZrdnmTORqDokmD4oEYFE26PCmadHmOHTsW/fv3R8eOHXUD1xCNokkXMUvndHkyo6l2nhRNuvdavY1G0VRvLx2fOAlQNFW7B5YtW4aff/4ZQ4cOteXOWLp0KTZs2IAhQ4bYst7ixYuxbds2DBo0yJb1KJr0MNckmv777V68uToV0lcp0BHmcSLSIxlKFVlKkV4XkqI92LHhR7RKisafzzzFZClJOZyfSUp+PSWKJr9w+ZxM0eQTkV8TKJr8wuVzMkWTT0SWJ4waNQojR45ESkqK5WOCmUjRFAy9w4+laKJo0r2jGmA0iqYGeFF5So2GADOaDlxqiibd256iSY+niCan04WL/nIZCovLkF9chqW/pGPJL+k+M5qkObcpe6vspeSqkErSpLtFnBftmkYgOcZjhFKTKI9p2j1v3jxER0fj0ksv1TuJOiJRNOlipmjS5UnRpMuTokmPJ0WTHkuJJG80Tpw4EbGxsbqBa4lG0UTRZMuNVp8XoWiqz1ePz72xE6BoomgK1fcARVPgZCVHSfooSVmcfLy76EPkFgPHn3IWtqUXYlt6AbanFyG7sATVE5oqG3RLSVvlR2y424ikprHeqtK3pjEek71U26BoCvza1XTkrFmz0KFDB/Tq1Us3cC3RKJp0MVM06fKkaNLjSdGkx5KiSZdlsNEaZOlcQUEBcnNzkZiYGCyfRnM8RVOjudQ80QZIgKKJoilUtzVFk3WyUv5WWHJALMkub2k5xdieUYit+wqxcVeW+X+4PAcFrWzSLVIpQsrg9pe+tWwSjlZNwtC6SZjppSRZSv4MiiZ/aPmeS9Hkm5E/M6ZMmYKePXuie/fu/hwW8FyKpoDR1XggRZMeT4omPZYUTbosg43W4ERTWVkZ1q5dCymfuOWWW4Ll02iOp2hqNJeaJ9oACVA0UTSF6rZujKJJdoLbl1uMUj/bJknW0p6sIp/ZSh6nA9JXqUIsuRAb4UKLuLAKqZQQZr6ODnNBMpuCGRRNwdA7/FiKJl2eFE26PMePH48rrrgCnTp10g1cSzSKJj3MFE16LCmadFkGG61eiqacnBysWbOmxnMX0fTdd99h/vz5eOSRR+BwONC0aVOT7sxROwGKJt4dJFB/CVA0UTSF6u5tjKJp0Q9pWPDtXp99k6wwr8xWkkylgtxsI5DatWyKlk32i6UAs5WsrE3RZIWS9TkUTdZZWZlJ0WSFkvU5FE3WWfmaOXr0aAwbNgxt2rTxNVXlcYomFYxVQdijSZdnMNHqnWgSkfTVV1/hzDPPRHh4uPk4dBQXF6OwsNA0wXS73bj66qvx9NNPB8OpwR/rr2gqKinDD9tzA+Yi10h2Tjr66KMDjuHPgUVFRdixYwfatm3rz2EBz5X7b9euXTjqqKMCjuHPgVIuumfPHlt+KeYX5CN1bypat27tz1MMeG5+fh7S0vahVatWAcfw58C8vDykp6ejZcuW/hwW8Fwp883MzAxqt5H4SDfaN42w9BxWrlyJ5cuXQ3YdsWOsWLECq1atwvDhw+1YzmSzctc5PdSNUTS9/V0q3li1N+Cd4CQTKSbcjfgIN+Ii3Gge5zXZSj9+tQStEyPR75K+QWcrWbnCFE1WKFmfQ9FknZWVmRRNVihZn0PRZJ2Vr5kUTb4I+fe4vP4bN24cEhIS/DswwNkUTQGCC8Fh9VY0XXzxxYiPj8dpp5120B9oIqK2bt2K1atX47LLLoPT6TT139dcc00I8DWckP6KpmDPXKTIww8/jCeeeCLYUJaOF8n0+OOPY/LkyZbmBztpy5YteOaZZ0xWnR1j06ZNeO655/Dggw+GfLl169bhlVdegaRN2zFEGixYsAD33nuvHcvhhx9+wLvvvou77rrLlvXkZ9Unn3wCeUfLjkHRpEt56dKl2LBhA4YMGaIbuJZoixcvNpJ+0KBBtqzX2ERTSVk5Pv01A++vSUN6XjGK66ifO7i3kgthbgfcTgfcLgdOaBmN046ORVK13kqy65y8+dWvXz9brh1Fky5miiZdnhRNujwpmvR4UjTpsZRIFE26PAcOHIiZM2fC6/XqBg5BtHonmsrLyyFSRH6gyjvlZ511FgYMGGAyY0Q8lZaWmne0n3zySbz55pshQNYwQ1I06V5XiiY9nhRNeiwlEkWTLk+KJl2e77zzDqQ8/rrrrtMNXEu0hQvfRF5hEfpe2g+5hWVIzSnC5rQCbNyTbz5n5h/YEU4ylbwuadbtRFSYC5JJ6E9vJYom3Us6Z84ck+nap08f3cC1RKNo0sVM0aTLk6JJjydFkx5LiiZdlhKNokmf6WERRSjJO7uSoZKfn48rr7wSF154oSlVktI6iib/LgJFk3+8fM2maPJFyPrjFE3WWVmZSdFkhZL1ORRN1llZmWmHaJKspfyiMuQWleKDT5Zha1oeUo7rbuTSrqwiSGl45ZCsJbMTXJgLMWEuUwYnZaodkiOREu81Db2tDoomq6SszaNossbJ6qxp06ahW7du6NGjh9VDgppH0RQUvsMOpmjS40nRpMeSokmXJUWTPs9aI0p2k/RSefXVV/H8888jOTkZN9xwA0pKSkwzcGY0Wb8YFE3WWVmZSdFkhZK1ORRN1jhZnUXRZJWUtXkUTdY4WZ0VCtFUXg4UlpQhr6j0QNZSagE27M3H5tR8k7UEVGzxdmjWUkKUB0clhqNDcgTaJoajSZQHzgB3g6NosnoXWJtH0WSNk9VZFE1WSVmbN2HCBFxyySXo0qWLtQOCnEXRFCTAaodTNOmxpGjSZUnRpM/TZ0QRTvKHvbw7Ir1OJKtJ+iBQNPlEVzWBosk6KyszKZqsULI2h6LJGiersyiarJKyNo+iyRonq7O0RFNV1lJhKbILSrAjo8iIpbqylqQcLibchWaxgWct1XWeFE1W7wJr8yiarHGyOouiySopa/MomqxxsjLrnnvuwY033oh27dpZmR70HIqmoBEeFIA9mnR5snROl6flaNIIXHZTmj59utldTJpNc1gjQNFkjZPVWRRNVkn5nkfR5JuRPzMomvyh5XsuRZNvRv7MqEk0ZeSVYG9OMcrKyi2HyiksxRbptbQ3H7+nFSCjpl5LYU4U52ahSZQbJ3dIUclaomhKQt++fS1fp2AmUjQFQ+/wYymadHlSNOnxpGjSYymRZNfhMWPGmEogOwZFky5liiZdnkFFk/5Nsn14UlJSUHEa+sEUTbpXmKJJjydFkx5LiUTRpMuTokmXZ02i6aOf9mH+N3tQUHygd5K/q1b2WqrMWpJeS+2SIrB+1adIjnbhqsv/z9+Qfs9nRpPfyOo8gKJJlydFky5PiiY9nhRNeiwpmnRZSrTBgwdj6tSpiIyM1A9eQ0SKJhswFxUVYePGjUhNTYXD4UCTJk3QrFmzg4SSZDjJH6myC92wYcNseFb+LVFcXIwvv/zSHOR0OpGYmIjjjjvO/L889t1336GgoMA8lpKSYnbWkyboct67d+822xqefvrpZr6c6969e03PqsoY/jwbiiZ/aPmeS9Hkm5HVGRRNVklZm0fRZI2T1VkUTVZJWZtXk2h6b02aEU2lfmQ0VV9Neiq1TgjHia2i0aFpBNomHei1tHDhQtPX8aqrrrL2BIOYRdEUBLwaDqVo0uVJ0aTLk6JJjydFkx5LicSMJl2eFE2183SIpJH+l+XS6KieDJEqS5YswUMPPYTvv//eiJgTTzwRvXr1wtVXX4327dubHk0iZT777DM89dRTkBeTR9KQ5ya74/3tb38zEklGbGws5IVTfHw8vv76a/ODICIiwoi0Nm3a4PHHHzdC6dZbb8X27duNhHr77bfRokULpKWlGZsq533ffff5faoUTX4jq/MAiiY9nhRNeiwlEkWTLk+KJl2eNYmmVb9nY8kv6cjKL0FWgfRcKj1oZ7jKZ1A9aynK64LH7TAtvr1uJ84+Jg492scd9mQpmvSu39y5c82bfSyd02E6Y8YMdO7cGWeffbZOQB9RKJp0MVM06fGkaNJjSdGky1KiUTQ1MNEkUqVnz56IiYnBueeea+TLtm3bTAbQMcccgzvvvBOnnHIKwsPDj1jRlJmZad5BvfLKK3HzzTebTKQLLrgAd9xxB84//3z83//9H6644grcdtttRiLJef7jH/9A165dIU3q3n//fcyaNcuIJbnB33jjDbPz3uLFiwP6DqJoCghbrQdRNOnxpGjSY0nRpMtSolE06TI9VDRJFlNeURky8oqxdV8h1mzPwdqdediXWwx5e0zeK4vwuBAX4ULTGK/fO8RRNOldP4omPZYSiaJJl+ekSZPQu3dv8zrajkHRpEeZokmPJUWTLkuKprp51ruMJpFKkgkkEuZ///tf1Q4EkiEku8xJ9pKU1UnjMdlW9JtvvjkiM5pENF177bVGIA0dOhQ7duzAyJEjMWTIEJx88sk444wz8OOPP5pywLy8PMg7TVICKHMkc2nevHnmIycnx2RyiXyaPHkyjj/++IC+gyiaAsJG0aSLrcZoFE26kJnRpMuTokmXZ6Vouvyqa5CZX4o9WUVYtzsPa7blYMu+wqpMJo/LgdhwNxKi3WjfNAInt45Gu6YRiPS6/HpCFE1+4apzMkWTHkuKJl2WEo2iSZfp2LFj0b9/f3Ts2FE3cA3RKJp0EbN0TpcnM5pq51kvRZMIJimb+/DDDw86M5FQv/76Kx555BGTyTR+/HjTmOull1464krnpAfTokWL8MADD2DAgAGml5QIMslS+uCDD0yWkvRhkiElcnIOzz77LF544QUj0UQsSfaS7K63c+dOU34nKdbSt0nerZFsLn8GRZM/tHzPZUaTb0ZWZ1A0WSVlbR5FkzVOVmdRNFkl5XueZC+9vWgxtu/Nwkln9TFyae3OXMiuczKcDgcivU7ERbjRskkYTmgZhc4pUSaTSfowBTIomgKhVvMxFE16LCmadFlSNOnzpGjSYzpq1CiTSFDZSkUvcs2RKJp0CVM0NSDRJK2k1q5da3oxffHFF6avUfUhj0upmXzTSgbQmWeeaXadO9J6NEnz0TVr1uDzzz83z036MElp3KmnnooffvihRtE0e/Zs05tKMppEMrVu3dpIJcmGkuNXrFhhZJX0curRo4df30UimmSry3/+859+HRfo5IyMDLz88svmnO0Yck/Mnz8ft9xyix3LYc+ePSbDTsoi7RgiG6Wc8qabbgr5clKm+vHHH0N2PbBj/P777+Z7WYSsHWPTpk2mSb+8U2fH2LBhA1atWoVrrrnGjuWMjJefMVK2a8cQUShr9uvXz47lzM/VzZs34y9/+Yst661evdr8DL744ottWU+ydGUTjAsvvNCW9aRfoGTg9unTJzTrORxwuLyANxp55V4s/2krVv2WAUdUU5RUNv8uKwGKcuEty0frOCdOah2NtokRCPcEaJeqnYm8cSUZ0ZJdHOohb4C5XC5T+m/HkNcL0ufR39cDgT43eV0SFxeH0047LdAQfh0nb8pJTyh53WTHeO+998wfgnaVXkkPTtkEpkuXLnacnnkteuyxx6JTp062rCctH+TcZE07xmuvvYZu3bqhQ4cOdiyHV155xVQntGvXzpb1RPSec845OOqoo2xZT9p1SCliq1atQr7ef/7zH1x00UWmJ60dY+bMmbjsssuQnJxsx3KYPn26+btWNoWyYzz99NP461//anoC2zHk79ZBgwaZljd2jClTpuDvf/+7bbvASUWR9E8OCwuz4/Tw6KOPmsQUSS450ke9y2gSoCJTpHROJEVNL7YrZdPDDz9sehfJix75fKQMeX6SrSQ9mq6//npTLid/iMkfttKbSV4Uyh/VkhUjmUmS0SRNwt966y2T7SRDRJWIJcmIkh/A5513nhFw8kJB/jCQbzJ/hoimESNG2PYLWDK65PykcbsdQ+6ZrVu32rZeYWGhadhu1wsMuUdENsmL0lCP/Px8c/9KNp0dQ0pHZUdFu148iZgWMSkN+O0YUv4qPdpEHNsxsrOzjTiw48WhnE9WVhZkzZYtW9pxeubc5Bra9c6gSHP5nrDrBbDcK/LzpXnz5rbwlN8N8vNayrg1h0iknMJSZBaUo8AdBzRpB8S1ArxRZhmn04EorxPxEW5EIg+OjM0o37cZKMyEac6kNETaye/kpk2bKkWsPYz8HJM3hUSO2DHkDQ8RW3b98SK/FzweDxISEuw4Pezatcu8sJddh+0Y8jtWxJ1df5yJwI6KijLyzo4hr1nkD8FD38AN1dryppWcm11/fMprQLlXoqOjQ3VKB8WV17jyvSfX0I4hb8rJzzG7tliXN3Tk94J8T4R6/Pbbb+Z3rL/VGoE+L3nDUV6z2CUOZDdxeQ1olziQ9eQ1rvy8tmPIG6ryN4P0FbZjrF+/3vz9Jb//7Bjr1q0zfz/L5mR2DHEGzz33nG33SzDnVC9FU2WfJvklVdeWxPLiWHobyYtyKTU7Uoa8eyqNy6X5t/wwk1/qIgrETookkmbm8m68lMtJRpb8kfbvf//b/BCSrCM5/pdffjElgnJewuOGG24wWRhSTiiZNHID+jNYOucPLd9zWTrnm5HVGSyds0rK2jyWzlnjZHUWS+eskqrwQwXFZcjIL8HOzEL8uisPP2zLxfaMQkjZnMlPKitGTLgLrZJi0LGZ9F6KQZuEMLNzXCgGS+f0qLJ0To+lRGIzcF2e7NGky5Olc3o8WTqnx1IiSe/jiRMn2ibNWTpX+/Wrl6LJ1+0o0sYu6+3rudT0uIghsZ+StiilTtLAW56zpNlKSr38+/3332/KMaT0SkST/ECX1MOzzjrL/LuUxx133HEmG0reJRVpJTtcSDmhvFsqKXz+DIomf2j5nkvR5JuR1RkUTVZJWZtH0WSNk9VZFE2+SRWXliO7oARpucXYnFqA77fmYP2efOQWlpqDXZK9FOZCQqQbeXs349imXlx1/hlIiAr9u58UTb6vn9UZFE1WSVmbR9FkjZPVWRRNVklZm0fRZI2TlVkUTVYoWZ9D0WSdVahnNijRJOnvUlYg/U5C1k9C6YpIttVHH32Exx57zESUdLtjjjnG1OnKkHKMyy+/3HwtaakilKReWErm5PxefPFFSI2tjEpJJRlQktItMfwtc6BoUrqw+8NQNOnxpGjSYymRKJp0eTZG0STNuXdnFaHUYglbVn4pft2Vix+355rjpPWSZC+FeSoaezeL9ZrspRNbReO75YtRmJ+L6667TvdC1RKNokkPM0WTHkuJRNGky5OiSZcnRZMeT4omPZYSiaJJl2cw0RqUaJKSMmka/OSTT5ryMQ7rBCiarLOyMpOiyQola3MomqxxsjqLoskqKWvzGqNoWrI2Ha98vduUwQU6mkZ70LllFE5qHYNjm0UgNqIie+mdd96B9C2jaAqU7IHj5s2bZ/rRXHrppcEHsxCBoskCJD+mUDT5AcvCVIomC5D8mELR5AcsH1MpmvRYUjTpsgw2GkVTsAQbyPEUTboXkqJJjydFkx5LiUTRpMuzMYqmD3/ah1e+2m36KgUynA4HLuqSgKtOTTZlc9UHRVMgRGs+hqJJj6VEkj6a0vC1V69euoFriUbRpIuZokmXJ0WTHk+KJj2WFE26LIONRtEULMEGcjxFk+6FpGjS40nRpMeSokmXpURrjKJJeiwt+SUdmfkl5kNK4wpLDs9u8rgciAl3m53jwr3OimbfUjLndqJH+1j0aH/4bloUTXr3KEWTHkuKJl2WEk12R5a+pN27d9cPXkNEiiZdzBRNejwpmvRYUjTpsgw2WoMSTdJk+5tvvsGrr75qmmVzWCdA0WSdlZWZFE1WKFmbQ9FkjZPVWcxoskrK2rzGJpoki0maeKfnlWDrvkL8uCMHv+zMM42+pWWTJChFeFyIj3SjRbwXx7eIwgkto9AiLsw85mtQNPkiZP1xiibrrKzMZEaTFUrW51A0WWdlZeb48eNxxRVXoFOnTlamBz2HoilohFUBKJr0WFI06bIMNlqDEk3SDDwrKwsiTY4++uhg2TSq4ymadC83RZMeT4omPZYSiaJJl2djEU1XX/dXVDYB37AnH2u25WLLvgIU7c9kkuwlaeydGO1Bu6Rw09i7fXIEIr0uv4BTNPmFq87JFE16LCUSRZMuT4omXZ4UTXo8R48ejWHDhqFNmzZ6QeuIRNGki5nNwHV5BhOt3oomkUqyM9vu3buNXJIPGQ6Hw+zSFhsbi+TkZPPB4ZsARZNvRv7MoGjyh1bdcyma9FhSNOmylGgNWTRJ9tL7i5di47a96Hr2BWbXuF925ppsJhnSaynS60STKDdaxoehU0oUOqdEoWmM11L2Uk1Xg6JJ7x6laNJjSdGky1KiUTTpMqVo0uNJ0aTHUiINHz4c48aNQ0JCgm7gWqJRNNmC2dIi9VI0iWTasWMHXnvtNfMiPzU1FevXr68STSkpKWjdujVOPfVUXHXVVejcubMlGI15EkWT7tWnaNLjSdGkx5KiSZdlQxRNUv4mu8ll5JdgT1YRlq35Dd9sTIcjuilK9jf/9rqdiItwoWm012QtndgqCkcnRSDc4wwaMEVT0AirAlA06bGkaNJlSdGkz5OiSY8pRZMeS4omXZYSbeDAgZg5cya8Xq9+cOWI9VI05efn46GHHsLrr7+OVq1a4fTTTz8Ii/RqEhH1yy+/oFmzZpg9e7b5zFE7AYom3buDokmPJ0WTHkuKJl2WDUk0lZSWI7uwFGk5xdicVoAftuVASuSk2bcMp9OBaK8TCVEetGxSkb3UqUUkkqK9cFjovWSVPEWTVVK+51E0+WbkzwyWzvlDy/dcZjT5ZuTPDIomf2jVPZeiSY8lRZMuS4omfZ4HRZRspg0bNuD888/H5MmTzeeYmJjDVhXZtHr1aowYMcJkNd16660hfmb1OzxFk+71o2jS40nRpMeSokmXZX0XTZK9lF9canov7cwswq+78kx53PaMQkjZnPFHZcWICXOiTXIsjkmOwEmtY9AmIQyS1RSKQdGkR5WiSY+lRKJo0uVJ0aTLk6JJjydFkx5LiiZdlhRN+jwPiigC6bPPPoP8QF2yZEmdq5WUlGDhwoV45ZVXzGeO2glQNOneHRRNejwpmvRYUjTpsqyvoqm4tBxZ+SVIzS3G76kFWLMtB+v35Jvd5GS4JHspzGWylwpSf8fR8Q5c2/csJES59QEeEpGiSQ8xRZMeS4omXZYSjaJJlylFkx5PiiY9lhRNuiwpmvR5HiaavvnmG4wcORIffPABoqOja11RRJNIpkWLFkFecHFQNEkWnB2DokmPMkWTHkuKJl2WR4pokubcOzMlC8na+WUXlGD97orspd1ZRZDWS5K9FOZxokmkG81ivTimWSROaBmFH79ciqyMNAwYMMBa8CBnUTQFCbDa4RRNeiwpmnRZUjTp86Ro0mNK0aTHkqJJlyVFkz7PwyLu3bsX5513Hm677Tb06NHDlM6JcHK73ZDSuszMTBQXF2Pr1q2ml1Pfvn0hW0dyUDRRNAX/XbBu3TojcMeOHRt8MAsRKJosQPJjysqVK7F8+XLcfvvtfhwV+NQVK1Zg1apVZtcRO8ayZcsg94zsOmLHOBJ2nfvs1wzM/XKXaeId6Gga7cEJraJxYqtodGwWgbiIiuwleaNGNtygaAqU7IHjpK+kvE7p169f8MEsRKBosgDJjyksnfMDloWpzGiyAMmPKRRNfsDyMZWiSY+lROKuc7o82Qxcl+dh0UpLS82OcxMnTkTLli0hu8wdddRRiIyMhJTWSRPw7OxsrF27Fk2aNMELL7yAtm3bhvhZ1e/wLJ3TvX7MaNLjSdGkx1IiUTTp8jwSRNMna9Px4opdpq9ViKcpAAAgAElEQVRSIMPpcOD8zgm47rRkUzZXfVA0BUK05mMomvRYSqQ5c+aYDWH69OmjG7iWaBRNupgpmnR5UjTp8aRo0mNJ0aTLUqJRNOkzPSyiCCV5gT937lxs2rQJhYWFVXMcDofJcjrzzDNx7bXX4vjjj7fhGdXvJSiadK8fRZMeT4omPZYUTbosJdqRIJqkBO6T/2fvPMC0qM73/Wxle6X3siCyoiIgoqBiwIomxhJLNKhosCQxRmOJRmI0KhpRRP8IMWpi1Ghs0VhQlI6IFCnSliawS1nY3tv/eo9ZImV359vv2fmxy3Ouywtkz7wzc5/Z75u55z3vWZPj6i5ZYW9bKe5Q2U0RYSGIjwp30+NiIkNRu1xcq7AQDO6RgFPSEg8CJNHEu2YkmngsJZq4LC3a5MmTMXDgQDdTwI8m0cSlLNHE4ynRxGMp0cRlKdHE51lvRJsqt2PHDpgoqW0mmrp06eJkU3l5uZNQh1qZzudDPax3J9HEHR6JJh5PiSYeS4kmLsvDQTRZFlNhWRX2FlVi295SrMwscqvH7SmqgK0qZwlK0ZFhSIkJR4ekVujbPgbpHWPd3w9IXjokHIkm3jUj0cRjKdHEZSnRxOf58MMPY/To0ejfvz8/+CEiSjTxMEs08VhKNHFZSjTxeR4yogkmq8G0a9cumFhKTU1Fu3btEB0dva+/9dm8eTOWLl2KH//4xz4dWfPcjUQTd9wkmng8JZp4LCWauCz/L0XT5T/9mctesmLeGbtKXGHvLXtLUV75XZ2myLAQJMaEo3VcBHq0jkb/zrHo2Toasa3CAoIg0RQQrno7SzTxWEo0cVlKNPF5SjTxmN5777249tpr0bNnT17QeiJJNHExq0YTl6emznF5HhTNps2tWLECU6dOxcKFCxEaGorjjjsOw4cPxxlnnOHm7FuzWk6zZs3C008/jbfffruJj6p5h5do4o6fRBOPp0QTj6VEE5el36LJspc+/mwOvtm4DYNOOxerMouwJqsYOcUV7sSs1lJsq1Akx0agU1Ir9OsQg6M7xqJtfKSn7KVD0ZFo4l0zEk08lhJNXJYSTXyeEk08phJNPJYWyRaDueeee9C2bVtu4DqiSTRxMUs0cXkeFC03NxdXXnkl7GHepshZ5lJxcbGr1XTJJZfg+uuvR1pamhNQEk3eBkOiyRsnr70kmrySarifRFPDjALpoWLggdBquG9T12iy6W9Wb8lkkmUvzVv5LRZlZCMkri0q/1v8OzI8FEnR4WibEIGebaLRv1MsureORnREaMMn0EAPiaagEe4LINHEYynRxGUp0cTnKdHEYyrRxGMp0cRladHGjh2LSZMmuUXJ/GgSTU1I2aTS119/jTPPPNMVAj/rrLOcaNq+fTtefPFFvPXWW+jVqxduuOEGl+E0f/58ZTR5GA+JJg+QAugi0RQArAa6SjTxWFokiSYuz6YSTZVVNSgorUJ2YQU27/luapxNkbNC39ZsdbjYyFCkxkWgU3LUd9lLHWLQOi6ytsY35UQlmigYXRCJJh5LiSYuS4kmPk+JJh5TiSYeS4kmLkuJpvp5hlh9IwAhNWZrmkGzaXOWpfT73/8ec+bM2e+Ibaqc3fQ//vjj2LlzJ+xD3vrbkrSaOlf/4Eo0cS9+iSYeT4kmHkuJJi5Li8YUTfYtXFLxXWHvrLwyrNtZ4qbHbc8pg02bc9/W1RWIbxWK7u0SkdY2Gsd2jkPXlFawrKamaBJNPKoSTTyWEk1clhJNfJ4STTymEk08lhJNXJYSTS1QNFlGk6WpzZ07d7/i33aq5svWrl3r5p9mZma6jKeMjAyJpgZ+rySauB88Ek08nhJNPJYSTVyWLNFUUVXjMpWyC8uxZU8ZVmwrdNlLtpqcNcteimsV5gp7l+75Fp3jqnDlecOREhvBP6EDIko08RBLNPFYSjRxWUo08XlKNPGYSjTxWEo0cVlKNLUw0WSnU1ZWhhEjRuChhx5yfx7YTDatW7cOv/3tb52MOvXUUyWaJJrwxBNPuGw3P5pEE4+yRBOPpUQTl2VdoimnuBLb/puF5GWPJpQydha77CWrw2Sllyx7qVVEqJNJ7RMiXfZSeqdYrPlqNnbtyMQ111zjJXTQfSSagka4L4BEE4+lRBOXpUQTn6dEE4+pRBOPpUQTl6VEUwsUTTZFzqbCWRaO1WI6VDPZtGfPHtx///1ISkpyUkqtbgLKaOJeHRJNPJ4STTyWEk1clnWJprkZeXhpXhZKKqobvcM2cRE4tkscjukUhz7topEYHe5iffLJJ9i2bZtEU6PJ7r+h3UtUVla6hUSaukk0cQm/8MILbpXhUaNGcQPXEc3KMNhCM4d6wdkUBzBlyhSkp6e7eqN+tMmTJ2PgwIEYOnSoH7vDxIkTMWzYMAwePNiX/T322GMYOXIkBgwY4Mv+JJp4mCWaeCwtklad4/JUMfC6eTa7Gk2BXBommwoKClBSUoJ27doFsukR11eiiTvkEk08nhJNPJYSTVyWdYmmWety8cLcrH2rwgW619CQEJxxdDKuOqmdmzb3/SbRFCjN+vtLNPF42gItrVu3xjnnnMMLWk8kiSYuZokmLk+JJh5PiSYeS4kmLkuLJtF0hIom/qXUciNKNHHHVqKJx1OiicdSoonLsi7RtCarGDPW5KC0ogpV1UB+aSV2F1SguKwK3191IyIsBAnR4W56nK0g993aHEBEWChO6BaPYWmJBx2wRBN3DCWaeDwlmngsLZIymrg8ldHE5Tl+/HhcccUV6NOnDzfwIaJJNHERK6OJy1OiSaKJe0W1wGgSTdxBlWji8ZRo4rGUaOKyrEs02b/bKnEFpVWuVpPVXlrybQEyc8tgK8vZCnGpseHokhKFvu1jkN4xFh2SWuGA5KVDHqxEE3cMJZp4PCWaeCwlmrgsLZpEE5epRBOP5+23347bbrsNHTt25AWtJ5JEExezRJNEE/eKaoHRJJq4gyrRxOMp0cRjKdHEZXko0eRFMPVoHe0ylkwwxUeFBXRQEk0B4Wqws0RTg4g8d5Bo8ozKU0dlNHnC5LmTRJNnVJ46SjR5wuSpk0STJ0yeO40bNw4TJkxAQkKC522C6SjRJNEUzPVzRGwr0cQdZokmHk+JJh5LiSYuy++LpmuvG9tgBlMwgqn2yCWauGMo0cTjKdHEY2mRJJq4PCWauDwlmng8JZp4LC2SRBOXZzDRWkwx8KKiIuzevdutNGcryFhByjZt2vhmM4MZhMNhW4km7ihINPF4SjTxWEo0cVk60TRzFpZ9sw6jfnjFd1PkthQgM+97U+TiItCzdRQGdG1cBtOBRyzRxB1DiSYeT4kmHkuJJi5LiybRxGUq0cTjKdHEYynRxGUZbLRmL5psZbmcnBy88847WLRoEVauXOlWmTv22GPdMq22lOlRRx0VLKcWv71EE3eIJZp4PCWaeCwlmngsbYpcfmkVZiz4GjO/3ozYbsfvX4MpLgI9WkfhBJJgqj1yiSbeGFokiSYeT4kmHkuJJi5LiSY+T4kmHlOJJh5LiSYuy2CjNXvRZNlL06ZNw6RJk9ClSxfExMQ4JiagsrKykJ6ejj//+c9ISUkJllWL3l6iiTu8Ek08nhJNPJYSTcGzrBVM+4p8b8l3ggkIcUW+W/9XMLEymA48Yomm4Mfw+xEkmng8JZp4LCWauCwlmvg8JZp4TCWaeCwlmrgsg43WrEWTyaRdu3bhtNNOw89//nNceeWVaNu2rWNSVVWFmTNn4v7774dV17/44ouDZdWit5do4g6vRBOPp0QTj6VEU+NZfl8wfXOIVeSaWjDVHrlEU+PH8FBbSjTxeEo08VhKNHFZSjTxeUo08ZhKNPFYSjRxWQYbrVmLpurqaixcuNCJJPvzwFZRUYG//vWvWLJkCZ577rlgWbXo7SWauMMr0cTjKdHEYynRFDjLhgRTWEUhOsQB5w7p06hV5AI9IommQInV31+iicdToonHUqKJy1Kiic9ToonHVKKJx1Kiicsy2GjNXjR98cUXuPvuu2E335GRkfvxsKymjz/+GC+88ALeeOONYFm16O0lmrjDK9HE4ynRxGMp0eSd5f8EUym+ySzGkm8L9qvBVJvBVLp9JeIqsnH9mCu9Bw+ip0RTEPAOsalEE4+nRBOPpUQTl6VEE5+nRBOPqUQTj6VEE5dlsNGatWiyqXP2QH/GGWe4zKXBgwfvV6Np8+bNmDp1qqvX9MgjjwTLira9HU9eXp6b2vf9Fhoaig4dOrjzKC8vdz8vLi5GWFgYevbs6epNWU2q5cuXu/OOiorC2Wef7UKYVNu+fbubSjho0KCAj1WiKWBk9W4g0cTjKdHEYynR1DBLr4KptgbTVwtmIyMjA9dff33DwQk9JJoIEL8XQqKJx1OiicdSoonLUqKJz1OiicdUoonHUqKJyzLYaM1aNNnJm5C5+eabYVLJ6jDV1miyaXVz5szB559/jilTpmDo0KHBsqJtb8e2adMm3HHHHfti2jS/r7/+GpdccomTYnbcDzzwgDsfE1OWrTVx4kSEhITgF7/4hTtvW23vpZdeQo8ePZxgevzxx52ouu222wI+VommgJFJNI0fz4VWRzSJJi5mW51z3rx5bsqxH23BggVYvHgxbrnlFj92h9mzZ8OumXHjxu3bX05xJbbsKUVlVU2Dx1BeVY1v95Ri6beFyMwrQ02NlfkGkmMj0K9DDEww9esYi/ioMBfLPqslmhrE6rnDe++9h8LCQlx++eWetwmmo0RTMPT231aiicfSItm9q71gHD58ODdwHdEmT57sVmv2637Z7mmHDRvmXq760R577DG3EvWAAQP82B0efvhhjB49Gv379/dlf3/84x9x0UUXoV+/fr7sT6KJh1miicfSItn934QJE5CQkMANXEe0sWPHukXJahcka+qdjhkzxiXSHDiTq6n325j4zV40mYSxm/zf/e53WLduHfLz810WUFJSkpM0Jm5MzBzOzcSTiTK7cOyLsHfv3u7L6eqrr3a/LCaBzjrrLFfsfMiQIe5c33//fTz//POwLKhrr70WdoP30Ucf4a233mrUqUo0NQpbnRspo4nHU6KJx9IiHYmi6YuN+Xh+TiZKKqobBTM0JAQn9UzAVUPb7xNMtYEkmhqFtM6NJJp4PF999VXExcXh/PPP5wWtJ5JEExezRBOXp0QTl6dEE4+nRBOPpUQTl2Ww0Zq9aDIAZWVl2LNnD1asWOGEze7du9GrVy/07dvX/emX0WzsYNjx2w2aFSy3oubr1693b3nsAbtNmzYoKSnBM888gxkzZuC3v/2ty2z65z//iX/84x9Oqp188sn405/+hEcffdRJqsY0iabGUKt7G4kmHk+JJh7LI1U0zcvIw7TZmaisbjij6VC0TTSN6JuEa07pcNCPJZq416dEE4+nRBOPpUWaNm0a0tLSMGLECG7gOqJJNHExSzRxeUo08XhKNPFYSjRxWQYbrdmLJqtNZDUroqOjcdppp+3Ho6ioyAmcSy+9FCkpKcGyapLtLSNrx44d+PnPf45zzz0X1113nctMsjS8nTt3un2Wlpbi5Zdfdmlydj42BcX6zZ8/36VV2zS8rl27on379mjVqpW7CQo0fU+iiTu8Ek08nhJNPJZHqmhav6sEn63OQWlFlYNpvim/pBKZeeUoKvvu36xFhofCinzbf63CbcLcdy0iLBTHdo7DsN6JBw2GRBP3+pRo4vGUaOKxtEgSTVyemjrH5ampczyed911F2666Sb3bOVHk2jiUtbUOS7PYKI1e9FkgsTSwu2iuuqqq/axMIGTnZ2Nn/zkJ7jxxhvdFLrDsVltpunTp8M+ZKy2iE35q0s0/eUvf3H1QGzK3KxZs5xYsv+sQLjVa7JsroKCAtx33304/fTTAzpd42gfrH4VtLVi6G+++aab9udHs/OzB5if/exnfuzOXXsffvjhftdkU+7YpKRlvF1xxRVNuRsXOzMz09U/s98tP9q2bdtgdX78+h3esmWLqyn04x//2I/Tw8aNG1025g9/+ENf9mdTjdesWeOm5/rR1q5diw0bNjiR7kczMbl161Y33fiQLSwCVa2S8W1xFBZuKsDO/HK4QkzlhYirzkN62zCkd4xBfFS4p8O1sbPfP6v94UezWn6WwWuLYPjRlixZ4r5XDnyR01T7tqmd9nLFr7o0lkVsL6wsM7ipm70cssU9bAq8H80+p23REL9q4Nh9SXx8PE444QQ/Tg+fffYZUlNTcdxxx/myv08//RTt2rXzreaOrZrcpUsX32rufPDBB24WwFFHHeULT7snO/roo12WmB/tnXfewbHHHusW1/GjWSkLq3nVrVs3P3bnVte2+lqdO3f2ZX82s8I+pzt27Njk+3vllVfwgx/8wP3++dHspf4555yD1q1b+7E7V2/XnmX9SoqwBbSsnldi4sEvz5rihE3SX3bZZe77wY9mM4TMCQSadNHYY3v22WddAogle/jRnn76aZgTUI2mJqZttY3sptsupi+++MLVIvh+MwHz2muvuYdiu+gOx2Y38JahZDcTDz74oJNGJpOsHpOJI/slsZtuk0smLqw2kzUrBm43WXZeTzzxhHvIWbVqFd59912X6fTUU08FdLomYqyI+PHHHx/Qdo3tbNMF7WHXrxtEm35oUxLtJsOPZlMaTSAcc8wxfuwOlr1n14tluDV1s0K9lrHlV8FJq7tmKyraDakfzSSoZRn6dbOdm5vrivn36dPHj9NzUtpEaGOn2QZ6kCZF7BztAcaPZudm18yBDxO2mlxucSWySiJQktALIcndgdAwREWEol1cGFKxF6HZa4CSnIAO06Zq2++ELcrgRzOpZZ9n3bt392N37nfBvm/8erOblZXlvgftO9GPZuLc7iX8eDgzaW51Ff14MDN2JlzDw8PdIiF+NPtesBtfewHmR7PvPMtm9+vh07LH7T7TShr40ewewko/+PWway8E7GWnyTs/mt2T2bklJyf7sTtXx9Vqt9o5+tHsJYv9Lvj1ML969Wp06tTJt3Ih9lLHvhcOfPZqCrb2fGPfebGxsU0R/qCYK1eudPcQfokKW03c7sns88yPZs/OVl7GLzGybNky98zglxhZunSpe/6KiIjwA6d7OW3Ps/Z960f76quvYLLQL57BnFOzzmiym0N7G3nnnXfC3jQdCNxuVk28mHV//fXXg+HUJNva8duH2XnnneekkX3I2L/Zl5NlN5hEsmlw9tD0q1/9yj1oW40me/tqv7RW4f6ee+5xN+W2Qo+9CbZsKHtLZKYzkKapc4HQarivps41zMhrD02d80rKW78jsRh4cXkVtu4tw1dbCvDlxnzsKapAWGgIkmLC3UpyJ/dKxNEdYhEe9r/pct5oatU5r5y89tPUOa+kGu6nqXMNMwqkh6bOBUKr4b6aOtcwo0B6aOpcILTq76upczyWFskSKmwldb8ytjR1jjt+wURr1qLJpsfZA/3ZZ5/tljG0JUstTdxabe0jK/5nht+WGT3cmmW92C+evUWylNfaZtkpdj5mnH/605+6bBW7wbHMpUGDBrlz/vOf/4yTTjrJZT7ZG/wLLrjAra5nVtUyMQKdAifRxL06JJp4PCWaeCwt0pEkmqz4957CCqzMLML8jDxk7CqBZTbFRIaha2orDO6egBN7xCM5pvFvvVSjiXt9SjTxeEo08VhaJIkmLk+JJi5PiSYeT4kmHkuJJi5Li2ar1FvdZmU08dkeFNFqHP3hD39wNYusDkGtLa3NDLJ0S1u5w6TM4dZsusXvf/97jBo1ys0F/n6z6TtWENyayTMTSibULHvJUiz/9a9/uZXmrNk0tLffftvVPLI060ceeSTg1G6JJu7VIdHE4ynRxGN5pIgm+9y/+tobsDG7BIs2FWDxlgLklVQiPDQEqXEROKZTLE7plYi0djEIDTyJab8BkWjiXp8STTyeEk08lhJNXJYWTaKJy1SiicdToonHUqKJy1Kiic+zwYhWc2Ty5MmumLYJE5MxNifa5n1bRpBfRYQbPNDDuINEE3dwJJp4PCWaeCyPCNE0dz7mfLUCA0degvkb8rApuwSoAWJbhaFnm2iXwXRCt3gkeCz23RB9iaaGCAX2c4mmwHjV11uiicdSoonLUqKJz1OiicdUoonHUqKJy1Kiic/TU0SbKmeFIW1FJSuUagXqrOCmFf5Ta5iARFPDjALpIdEUCK36+0o08Vi2ZNFkC8cVlFVixpdr8N7CDES0PxpFZVWICAtB2/hIHNs5FienJaJ7ajRCgsxi+v6ISDRxr0+JJh5PiSYeS4kmLkuJJj5PiSYeU4kmHkuJJi5LiSY+z/0i2jQxE0qWsWSrOdj0M1uRqr5mqxT4saJME596k4aXaOLilWji8ZRo4rFsqaKpvLIaWXnl+HprIRZszMfWvaVOJsVHhaN322gM6ZmA4zrHuawmdpNo4hKVaOLxlGjisZRo4rKUaOLzlGjiMZVo4rGUaOKylGji89wX0bKWLGPJPkyHDBmCG2+8EStWrIAV/K6r2VLCtuTgb37zmyY8suYfWqKJO4YSTTyeEk08li1NNFXXAPkllVizoxgLN+ZhxfYilFZUIzI8FB0SI3F8lzgM7ZWIzsmtuBC/F02iiYtWoonHU6KJx1KiictSoonPU6KJx1SiicdSoonLUqKJz3M/0bRy5Ur8+te/xrBhw1whbSv6+uCDD9YrmgYOHIjbb7+9CY+s+YeWaOKOoUQTj6dEE49lSxJNJpS255RhybcF+GJjPnbml7vC3iEVxeiaGIIfDu3jin5HRYRyAR4QTaKJi1eiicdToonHUqKJy1Kiic9ToonHVKKJx1KiictSoonPc7+IltW0bt06V+i7tv5SUVERbHqcWuMJSDQ1nt2htpRo4vGUaOKxbAmiqaq6BrnFlfgmqwjzM/KxOqsIldU1TihZ5lJYzga0wR6M+9lPuODqiCbRxMUs0cTjKdHEYynRxGUp0cTnKdHEYyrRxGMp0cRlKdHE51lnRJNOu3btwrx583DeeeehoKAAERERrn6TtdoC4V9++SVsCl2/fv2Qnp7u4xE2n11JNHHHSqKJx1OiiceyuYum4vIqbNlThsVbCvDlpnzsLapAWGgIkmPC0a9jLIb2SsDu9Yuxbs1qjBs3jgtOoskXnhJNPMwSTTyWEk1clhJNfJ4STTymEk08lhJNXJYSTXyedUasrq7GzJkz8bvf/Q7XXnstMjMzXWaT1W+y/0w03XnnnXj77beRkJCAAQMG4IknnkDr1q19PMrmsSuJJu44STTxeEo08Vg2V9FkGUt7CitcDaYFG/KQsasEltkUExmGbqlRGNw9HoN7xCM5JgKzZ8+GXTMSTZzr5sMPP0R2djauuuoqTsAGokg08TBLNPFYSjRxWUo08XlKNPGYSjTxWEo0cVlKNPF51iuabNrCj370I3To0AFdu3ZFcXGxy1565pln0KZNG5x00km444473FS7v/zlL7jppptw6aWX+niUzWNXEk3ccZJo4vGUaOKxbG6iqQZAcVkVNuwuwaLNBViypQB5JZUIDw1B6/gI9O8Ui6E9E5HWLsbVZ7Im0cS9XiSaeDzfeOMNhIeH48ILL+QFrSeSRBMX87Rp05CWloYRI0ZwA9cRbcqUKS4Lf/jw4b7sb/LkybCapkOHDvVlfxMnTnT1VgcPHuzL/mzhoJEjR7qXzn60hx9+GKNHj0b//v392J1bKOmiiy5yszf8aOPHj8cVV1yBPn36NPnu7r33XpdQ0LNnzybfl+1AoomL+ZZbbsEDDzyAlJQUbuA6otmLxgkTJrgkEz/a2LFjMWnSJMTExPixO4wZMwZTp05FZGSkL/sLZichIbYGNBBSY+k/zaxZRpOJpiuvvBKPPPKIk0o7d+7E448/jkGDBrkvFJNM8+fPR0VFBV588UV89dVXeO6555rZmTb94Uo0cRlLNPF4SjTxWFqkRYsWuenGt956KzdwHdEWLFiAxYsXw240altOUaWTR5apVF+rrqlBdkEFvtpSgE3ZJaj9lrJMplPSEnHhCa2REBW+XwiJJu6wSjTxeEo08VhapBdeeAGdO3fGqFGjuIHriCbRxMUs0cTlKdHE4ynRxGNpkSSauDwlmrg864xWO3Xu/vvvx5w5c1y/qqoqvP/++y57yVane/rpp93UOfv3WbNm7ft/nw6x2exGook7VBJNPJ4STTyWh4toWrQ5H8/NyoStHNeYFhEWgtP6JGHMKR0O2lyiqTFE695GoonHU6KJx1KiicvSoimjictUGU08nspo4rG0SPai8Z577tm3qBY3+sHRJJq4hCWauDzrFU0rV67E1Vdfjddeew2pqakoKSnBK6+8gs2bN7uU1SeffBIffPCBm05nN3n297///e8+HWHz2Y1EE3esJJp4PCWaeCwPF9G0cGM+pszajoqqxiXSWgHw4b0TMXZ4R4km7uVxUDSJJh5giSYeS4kmLkuJJj5PiSYeU4kmHkuJJi5Li6apc3UzbdZT5+y0ysrK3Jxkq8dkNZqKiopcdpPNiba5i1Ys3AqCWw0nm+9uU+rM4qrtT0CiiXtFSDTxeEo08VgeLqJpU3YpPl+Tsy+jyabI5ZVUYeveUhSWVe074cjwULRPiET7xEhXl6m2hYeFIL1jrJs+d2BTRhP3epFo4vGUaOKxlGjispRo4vOUaOIxlWjisZRo4rKUaKqfZ7MXTTZ9bsmSJa4I144dO5xcOvbYY10dksLCQpx44onu51agKy8vz/Wzf1OTaGrKa0CiiUdXoonH8nARTd8/I5s+ty2nzBX6XrgpHzvzy11h78TocPTtEIuTeibgmI6xaBUR6gmERJMnTJ47STR5RtVgR4mmBhEF1EE1mgLC1WBnTZ1rEFFAHSSaAsJVb2eJJh5LiSYuS4mmFi6aak+voKAAWVlZiI6ORqdOnbBu3TpXGPyUU05x0+XWrl3rspzOPvts/hXWAiIqo4k7iBJNPGuY6qwAACAASURBVJ4STTyWh5NoqqquQU5xJb7JLMKCDflYnVXkioNHRYSiS0oUBnaNw4k9EtA2IbBVNSSauNeLRBOPp0QTj6VFkmji8pRo4vKUaOLxlGjisZRo4rKUaDoCRFNpaSlWr16NjIwMVFZWonv37m4FOpNPW7Zs8W1pUf6l619EiSYua4kmHk+JJh7Lw0U0FZdXYfOeUpfF9OWmAuwtqoDVXUqOCUd6J8tiSsTRHWL2my7nlYJEk1dS3vpJNHnj5KWXRJMXSt77SDR5Z+Wlp0STF0re+0g0eWfVUE+JpoYIBfZzFQMPjFdDvVWjqW5CzWrqXE1NDXJycrBr1y707dvXnZWtJmc3wi+++CI2bNjgioGfcMIJ+Mc//oHt27djwoQJuP322139JrW6CUg0ca8OiSYeT4kmHsv/a9FkGUvZhRVYua0QCzbmI2NXCSyzKSYyDN1bR2FQt3gM7hGP5JiIRp+0RFOj0R1yQ4kmHk+JJh5LiyTRxOUp0cTlKdHE4ynRxGNpkSSauDwlmlqIaLJ6TEuXLsUzzzzjVpobOnSoy1q64IILXBbTqFGjXJ2mhQsX4p133nGFwu+66y706dMHN954I/eqamHRJJq4AyrRxOMp0cRj+X8lmr76ajGuueFGbNhdgkWb8rH020LklVS6jKXW8RHo3ykOQ3slIK1tjKvPFEyTaAqG3sHbSjTxeEo08VhKNHFZWjSJJi5TiSYeT4kmHkuJJi5LiybR1EJEk2U0bdy4Eb///e9d5tI111yDjh074pJLLsGsWbPc3+0h46mnnnKiybKdpk+fjrfeegvTpk3jX1ktKKJEE3cwJZp4PCWaeCz/T0TTwkWYPmcRBp/1E3yxMR+bskuAGiC2VRjS2kZjcPcEDOgWh4SocMqJSjRRMO4LItHE4ynRxGMp0cRlKdHE5ynRxGMq0cRjKdHEZSnRVD/PZjV1zk7FZJNlLb355pvYs2cPzjjjDIwfPx4zZsxwYun7osnqNb3//vt45ZVX8Prrr/OvrBYUUaKJO5gSTTyeEk08ln6KppoaoKC0Ep8vWY935q1FZIejUVRWhYiwELRLiMRxXeIwtGciuqVGISTILKbvE5Jo4l4vEk08nhJNPJYSTVyWEk18nhJNPKYSTTyWEk1clhJNLUw01Z6OCafdu3cjLy/PZTTZdDpbVW7x4sUuo+ntt992NZoeeughpKam4sEHH+RfWS0ookQTdzAlmng8JZp4LP0STeWV1cjMLceyrQVYuKkAW/eWOplkWUt92sW41eSO7RzrsprYTaKJS1SiicdToonHUqKJy1Kiic9ToonHVKKJx1KiictSoqmFiqba0yovL8dvfvMbrF+/HiNHjnRZTjZd7pe//CXWrFmDmTNnYtKkSRg8eDD/ympBESWauIMp0cTjKdHEY9nUoqm6Bq720uqsIny5MR8rMotQVlGNVuGh6JgUieO7xmNIjwR0Tm7FPanvRZNo4qKVaOLxlGjisZRo4rKUaOLzlGjiMZVo4rGUaOKylGhq4aLJMps2bdqEJ554AsuXL0dRUZE745CQEHTo0AGXX345rrjiCv5V1cIiSjRxB1SiicdToonHsilFU2lFNbbuLcOSby2LKR+78stdYe+QymJ0iavGhcOOxjEdY9EqIpR7QgdEk2ji4pVo4vGUaOKxlGjispRo4vOUaOIxlWjisZRo4rKUaGrhoslWlisuLkZYWBhWrVoFEybWQkNDkZaW5mSTtbi4OP6V1YIiSjRxB1OiicdToonHsilEU1V1DXKKK7EqswhfbMh32UyV1TWIighF15QoRORtQnxZJm657kruidQRTaKJi1miicdToonHUqKJy1Kiic9ToonHVKKJx1KiictSoqkFiybLZsrIyMCCBQtw9dVXH3Sm1dXVWLZsGeyh/0c/+hH/ympBESWauIMp0cTjKdHEY8kWTcXlVdiUXYolWwqwaHMB9hZVICw0BCmx4UjvGIuTeiYiZ9PX+HrZEtxyyy3cE5Fo8oWnRBMPs0QTj6VEE5elRBOfp0QTj6lEE4+lRBOXpURTCxZNJpJmzZqFJ598Eu++++5BZ2qrztmN3XvvvedWnlOrm4BEE/fqkGji8ZRo4rFkiSbLWMouqMCK7YX4YmM+MnaVwDKbYiLD0KN1FAZ1j3f/JcdEuBcBtkiDRBNnHD/55BNs27YN11xzDSdgA1EkmniYJZp4LCWauCwlmvg8JZp4TCWaeCwlmrgsJZpaoGiyTCYr+m0PL1aX6a233sIDDzyw35lan507d2LGjBmIiorClClT+FdWC4oo0cQdTIkmHk+JJh7LYEVTDYCisionlr7anI+l3xa64t/hoSFoEx+B/p3jcFLPBKS1jXH1maxJNHHHT6KJy9NWqLWXUrZ6bVM3iSYu4RdeeAGdO3fGqFGjuIHriDZt2jRXkmHEiBG+7M/uW9PT0zF8+HBf9jd58mQMHDgQQ4cO9WV/EydOxLBhw3xbrOexxx5ziwYNGDDAl/OTaOJhlmjisZRo4rKUaGqBoskymZYsWYLf/e53Tjht3rwZgwYNOkg0ZWZmIjU1Fffccw/OPPNM/pXVgiJKNHEHU6KJx1OiiceyLtFkU97W7SxBeWV1vTsz0WR9TTBtyi5Bjf0DgOjIUAztlYiLB7ZBQlT4fjEkmrjjJ9HE5SnRxOP597//Ha1bt8Y555zDC1pPJIkmLmaJJi5PiSYeT4kmHkuJJi5LiaYWKJosW8nk0ptvvulqNFnx17Fjxx50plYA/Oijj/btbRD/0vUvokQTl7VEE4+nRBOPZV2iyVaKe/bz7bCV4xrTwsNCMCwtEWOHdzxoc4mmxhCtexuJJi5PiSYeT4kmHkuLpIwmLk9lNHF5jh8/3q3q3adPH27gQ0STaOIivvXWW10SRtu2bbmB64hmpRNs5lFKSoov+xs3bhwmTJiAhIQEX/ZnDmLSpEmIiYnxZX9jxozB1KlTERkZ6cv+gtlJSEiIm98QUmP2ppk1O+Q1a9bAbhTtF0at8QQkmhrP7lBbSjTxeEo08VjWJZoWbynA5M+2oaKqcV8DVgD85F6J+PlpEk3c0To4mkQTl7BEE4+nRBOPpUQTl6VFk2jiMpVo4vG8/fbbcdttt6Fjx4PvoXh7+V8kiSYuVYmmunk2a9Fkp2WyKTs7G6WlpcjNzT3oTE2kWWZT9+7duVdVC4sm0cQdUIkmHk+JJh7LukTT1r2l+Hxt7n4ZTZVVNdhVUI4te0r3CajI8FB0SIxEp6RWsCym2mY1mo5qH4NT0hIPOlhlNHHHT6KJy1OiicdToonHUqKJy1Kiic9ToonHVKKJx9IiKaOJyzOYaM1eNFm9pnnz5rlpdFaT6cAWHR3tps4dampdMOBa2rYSTdwRlWji8ZRo4rGsSzQduAebQrdhdwnmrMuFZTuVVFQjPioM6R1jXeaS/dkqItTTgUk0ecLkuZNEk2dUnjpKNHnC5KmTRJMnTJ47aeqcZ1SeOiqjyRMmz50kmjyjarCjRFODiALqINEUEK4m7dysRVPt6nOXXnopysvL0a1bN+Tk5GDVqlX4wQ9+4DKdvvzySzz66KP42c9+1qQgm3twiSbuCEo08XhKNPFYehFNBaWVWL6tCLPX5WJ1VpHNrEZqXDgGd0/AqX2S0Dm5VUAHJNEUEK4GO0s0NYgooA4STQHhqrezRBOPpUWSaOLylGji8pRo4vGUaOKxtEgSTVyewURr1qLJspmWLl0KE00vvvgijjvuOCxevBhPPfWUq9u0YcMG2C/vVVddhYsuuigYTi1+W4km7hBLNPF4SjTxWNYnmqptGnJhBb7cmI/Z6/OQmVuGiLAQdE6OclPihvZKQGL0/ivKeTkyiSYvlLz3kWjyzspLT4kmL5S89ZFo8sbJay+JJq+kvPWTaPLGyWsviSavpBruJ9HUMKNAekg0BUKrafs2e9E0f/58PPjgg/joo49QO43OPvxmzJiByspKvPfee/jPf/6Dv/zlL01LshHR7Xi3b9+O6dOnu62tevypp57qMrPKysrw7rvvoqCgAOHh4ejXrx8GDx6MiooK2IPb+vXrXXX7yy+/3G1bVVXlxJpNHzz99NMDPhqJpoCR1buBRBOPp0QTj2Vdoqm8qgbb9pZiXkYeFmzIR35pJaIjQ3FUuxiXxXR8lzhYfabGNImmxlCrexuJJi5PiSYeT4kmHkuLJNHE5SnRxOUp0cTjKdHEY2mRJJq4PIOJ1qxFk02dM7liy2uaWLKi3xkZGTj33HOdYIqPj8e//vUvfPXVV7AboMOpmWSqlRE23c9aVFQUrr32WqSnp+P999/HM888g549ezqJtGfPHpepZdLpF7/4BRITE52ksn87+uijkZWVhYceegjHH388rr/++oBPVaIpYGQSTePHc6HVEU2iiYt50aJFrq6drTpirbi8Gmt3FLupcl9vK0RFVbXLXDquSxxO65OE3m1j8N3ipI1rEk2N41bXVhJNXJ4STTyeEk08lhJNXJYWTaKJy1SiicdToonHUqKJyzLYaM1aNNnJW22mG264ARdffDFGjx7tVp+75JJLkJKSgrZt22L27NkYM2YMbrzxxmBZUbe34zSRZA98b7311n6xTfqcddZZuPnmm92xm4i64IILcP755+OUU06BfbhbttMLL7zgtrvmmmvw3HPPYdmyZXjppZcadZwSTY3CVudGymji8ZRo4rG0SLWi6Ve/uhV5JZVYurXQSaaMXcUIDQlB2/gInNQz0U2Xa58YGfTOJZqCRrhfAIkmLk+JJh5PiSYeS4kmLkuJJj5PiSYeU4kmHkuJJi7LYKM1e9FkmUErVqzA6tWrcdlll7npc/Zg8+c//9lNnevYsSPuu+8+dOrUKVhW1O3z8vKcGDv22GMxYMAAF9tWyLOpcHYuNv1tzZo1SE1NRUlJCZ599lk3xe6ee+5xb2XeeOMNvPzyyyguLsagQYMwefJk/OlPf0KPHj0adZwSTY3CJtHExXbIaBJNXMgmmmbPmYvLr70JX2zMx9yMPOzKL3dT47qlRmF470QM6ZGA2FZhlB1LNFEw7gsi0cTlKdHE4ynRxGMp0cRlKdHE5ynRxGMq0cRjKdHEZRlstGYtmmzqXH5+visI/v26RPbv27Ztc3WOkpKS0Lp162A50bc3sXPMMce4/7p37+4ys+wBcOrUqbCfjR07Fjt37nT7tewnk0r2s1deeQW33HKLy3Bavny5k0wmpGyKXUREhJNVP/rRj9w0wkCaRFMgtBruq4ymhhl57SHR5JWUt36LFi/Dvz6ei97Df4xFmwtQVFblpFK/DrGuHlP/zrEIDw1irtwBhyHR5G1cvPaSaPJKyls/iSZvnLz0kmjyQsl7H9Vo8s7KS09NnfNCyXsfiSbvrBrqKdHUEKHAfq4aTYHxasrezVo0WfbS119/jUcffRSvvfZaU3Kix87OzkavXr3w+uuvu2lyhYWFuOuuu5wcM4l0KNFkBc1nzpyJV199FQsXLnTTA02qmUhbu3aty+CyuDfddBPOPvvsgI7ZRNOdd97p6l350UwQfvDBBy4LzY+Wm5sLe0CzaZV+NKupZWPl12qHu3fvxty5c3HhhRc2+emZALXrz65TP5oVuF+yZInLAPSjmaQ2iWu13vxoJiUti9E+B5q8hUdhc14NPlu9F6GpvVBVVQ2UFyK5aheObx+Gnm2i6YdgdfS2bNmCM844gx77UAHXrVvX6EURGnOAJvrt92/48OGN2TzgbVatWgX7PLNp1H40yxi276ehQ4f6sTv3nW7fgyeeeKIv+7PPFruXsJc2Td2sXmRoaChOOOGEpt6Vi//ll1+iVatWbkVeP5pJZXvJ1b9/fz9250oP2MtEq2vpR5szZw7atGmDvn37+rE7dw9h2fi9e/f2ZX+fffaZW4zG7k39aHZPlpaW1uhM/ECP8eOPP3Y1Tbt27Rropo3qb/e4Nmuhc+fOjdo+0I2stqt9tthMDj/av//9bwwZMgTt2rVr8t3ZC4Fhw4a53z8/2ptvvukSGGxWiR/NZqmMGjXKfZ750eyZ2e5xExIS/NidS5L44Q9/iNjYWF/2Z8kZ9vxlyRd+NCtbY8+z9n3rR7PSOeYEbBGxw701e9FkdYluu+02/PWvf3VZPc2lmYiwmz97AzhixAiXtfT888/DvuhNFNkUuo0bN7qbNps6Zz+zguf2YWvNbsTtS8VqNd1///0455xz3MOxFUGfNWuWm0oXSDPR9Jvf/Ma3hxc7Jxs7vx5ebIqh8TnppJMCwdLovvZgZpk4fj0s2eqE9sBrKxM2dbNpn1Z0f+DAgU29KxffHqo3bdq0b4ppU+/UfhdM/lhhfT+ayWGTaXZD2lStugbIKa7ExvwwFMX1BOI7uKyldgkR6B5ThMi9a1FTmt8kuzcxaefo18Pgjh07XF07e6Dwo9nYmTj36+HTRKh9nvXp08eP08PWrVvd95NfD7smJe2liV8Pu5s3b3aiyY/7B/tON9FkWcx+NJO8toCIyQM/mq2Ga4uadOnSxY/dwaSyrb7r14O8fcfag5lfD/L2AiI5ORnt27f3hadJbHtx6Yc4sBMyiW3n5pc8sHtAGzu/ZjnYPa5JLXsp7Eez2R1WPsMvWbF48WInCm1xoqZuNuPDvmNtkSc/mkl6W+070NkhjT22L774wt0D2ueZH81eCtg9rl8ixl4K2Mscv0SMvXi35y+/RIzVgz755JPd960fzZ7zzQv4dX7BnFOzFk2WzWMPFSaarPC3yZYOHTrsxyMkJMR9MDW2dlEwcOvb1h7WrYC5ZTFYyqSJgl/96lfuC96Ke9v0N6szZedkfX/+85+7Xxo7V7sJt4wSu8h+97vfoaKiwsWyD317g/Lhhx+6aXaBNE2dC4RWw301da5hRl57aOqcV1KH7ldZVYPMvDLMz8jD/A152FtUiaiIUPRqE43hvZMwsHs8oiNCg9tJPVtr6hwXrabOcXlq6hyPp6bO8VhaJE2d4/LU1DkuT02d4/HU1DkeS4ukqXNcnsFEa/aiyaaM2dQ5Szs0mXTgW97aNPW77747GE70bS0j6R//+IfLaLJ0O6vRZAbWjvOoo45yGUmffvopfvzjH7u3yZa9ZF+SZrztraj93abH2VQpy44y0WRpgvZQbllCV111VUDHLNEUEK4GO0s0NYjIcweJJs+oDupYWlGNjF0lmLM+F0u2FKCkohohlSXonlCNy07vh77tYxBGrMd0qCOVaGr8+B1qS4kmLk+JJh5PiSYeS4kmLkuLJtHEZSrRxOMp0cRjKdHEZRlstBYhmp588sk6OZhosnoBN954Y7Cs6Nvb9IeHHnrIiSJLfzNpZNPorFmG0x133OH+bqmG9jObL1xVVeXqufznP/9xNZWsmbSyueeWzWRpnrYyXaCpuhJN3OGVaOLxlGhqHMv80kos31qI2evzsCarCEAIUuMikFiWiaSyrbj1+isbFzjArSSaAgTWQHeJJi5PiSYeT4kmHkuJJi5LiSY+T4kmHlOJJh5LiSYuy2CjNWvRFOzJa/v/EZBo4l4NEk08nhJNgbGsrqlBdkEFFm7Kx5z1ecjMLUNEWAg6J0fhlLREhO9di5VLFuLWW28NLHAje0s0NRJcHZtJNHF5SjTxeEo08VhKNHFZSjTxeUo08ZhKNPFYSjRxWQYbrVmLJqvRlJWV5Yo8H2qVNSvwacUwbUUgK9KlVjcBiSbu1SHRxOMp0eSdZXlVDbbuLcW89XlYsDEfBaWViI4MdVPkTu2dhOO6xOHrpYvdak0STd651tfz888/d8Xxr7/+ek7ABqJINHExSzTxeEo08VhKNHFZSjTxeUo08ZhKNPFYSjRxWQYbrVmLJhNJVnndps7Z6msHNiua/dZbb2H69OluGUA1iabHH3/cl8tAoomHWaLJG8vi8mqs2VGE2evysHxbISqqqpEYHY7ju8Th1D5J6N02BiEhgK3eItHkjamXXhJNXih572Mrp9qqnbbyqh9NoolHWaKJx1KiictSoonPU6KJx1SiicdSoonLMthozVY02Upslq1kK629/PLLeOqpp/ZjYdlOtqy21S6yGkh/+9vfgmXVordXRhN3eCWaeDwlmupnWVMD5JVUYsm3BW6qXMauYoSGhKBdQiRO6pmAk9MS0T4hcl8QiSbetWmRJJq4PCWaeDxfffVVV7fx/PPP5wWtJ5JEExezVp3j8lQxcC5PiSYeT4kmHkuJJi7LYKM1S9FkmUzLli3DH//4R2RnZ2P9+vUHTY0z0bRr1y5XKNumiPz0pz8NllWL3l6iiTu8Ek08nhJNdbOsqq7BzvxyLNiQj3kZedhVUI7I8FB0T43C8N6JOLFHAmJbhe0XQKKJd21KNHFZWjSJJh5TiSYeS4s0bdo0pKWl7Vu0hRv94GgSTVzCEk1cnhJNPJ4STTyWEk1clsFGa5aiySTS2rVrXRZTZmamq9F07rnnHsQiNjYW6enpuPjii2F/V6ubgEQT9+qQaOLxPBJF096iCqzcXgSruVRfs+lx3+4pxZJvC1FUVuW6Wk2mfh1iMbJfMvp3ijtoc4km3rUp0cRlKdHE5SnRxOUp0cTlOXHiRAwbNgyDBw/mBq4jmkQTF7NEE4+nRBOPpUQTl2Ww0ZqlaKo9actsWrFiBV5//XU89NBDwbI4oreXaOIOv0QTj+eRKJqsxtKkGdtQWlHdKJDhoSFu2ty40ztJNDWKoPeNNHXOOysvPZXR5IWStz4STd44ee0l0eSVlLd+Ek3eOHntZbM8LrroIvTr18/rJkH1k2gKCt9+G0s08VhKNHFZBhutWYsmO/mCggIsXboUnTp1Qq9evVA7Ze7TTz9FeXk5+vfvj0GDBgXLqcVvL9HEHWKJJh7PI1E0fb21EE99urXBjKa6KIeFhmBIjwTcNEKiiXclHjqSRBOXsEQTj6dEE4+lRZJo4vKUaOLylGji8bzrrrtw0003oWvXrryg9USSaOJiHjduHCZMmICEhARu4DqijR07FpMmTUJMTIwv+xszZgymTp2KyMj/1V/1ZceN2EmzF00VFRV45JFHMHToUIwcORL2/w888ABee+01pKamug+Jhx9+2EkotboJSDRxrw6JJh7PI1E0ZeWVY/a63P0ymiqra7ArvxwZu0pQVvldplOr8FB0SWmFrilRMLlU28JCgV5tojG0V+JBA6Gpc7xr0yJJNHF5SjTxeEo08VhKNHFZWjSJJi5TiSYeT4kmHkuLdMstt7hn85SUFG7gOqJJNPmC2dNOmrVosuylzZs348ILL8QHH3yA9u3bY+XKlRg+fDiuv/56DBgwAG+99ZaTUGaL1SSaHn/8cV8uA4kmHuYjUTQdSK+8shqbsksxa10uFm3OR0l5NWIjw3BMp1icflQS+nWM3U801Udfool3bUo0cVlaNIkmHlOJJh5LiSYuS4kmPk+JJh5TiSYeS4kmLkuLpowmPtNDRrQaTfPnz8d9993n3irbVDkzpv/+97/d/ycmJrqbVqvhZDdcahJNEk3B/xasW7cOr7zyCmx+vh/tSBdNxeVVWJVZjFlrc7BiexGqa2qQGB2Ogd3icfpRyejROiqgYZBoCghXg52V0dQgooA6SDQFhKvezhJNPJYSTVyWEk18nhJNPKYSTTyWEk1clhJNfJ51RrSMpo0bN2L06NH4wx/+4KbNPfroo7jqqqtwxx13oLKyEv/6178wY8YMN7deTaJJoin43wKJpuAZfj+C1Zizz6gDsy5tvbn8kkos3lKAmWtzsSm7BCEIQduECJzcKxGnpCWiXULg87MlmrjjJ9HE5SnRxOMp0cRjKdHEZSnRxOcp0cRjKtHEYynRxGUp0cTnWW9Ey2K67bbbsGbNGpfRlJycjCeffBLdu3dHdnY27rzzTpx11ln4yU9+4vORNa/dqUYTd7w0dY7H80jMaLKspeyCCszfkI+563OxI78cEWEh6JIShVP7JOGkHgmIiwprFGSJpkZhq3MjiSYuT4kmHk+JJh5LiSYuS4kmPk+JJh5TiSYeS4kmLkuJJj7PeiNaVtPWrVtdRoCJpiFDhuD44493q8/t2LEDL774Im644QZXGFytbgISTdyrQ6KJx/NIE00VVTXYnlPmioEv2JiPgtJKREWEok+7GIzom4TjOschMjy00YAlmhqN7pAbSjRxeUo08XhKNPFYSjRxWUo08XlKNPGYSjTxWEo0cVlKNPF5HhSxpKQExcXFnuRRIH19OPTDdhcSTdyhkWji8TySRFNpRbVbVe7ztTlY+m0hrAh4fFQYju0c54p+920fi5D/LS7XKMgSTY3CVudGEk1cnhJNPJ4STTyWEk1clhJNfJ4STTymEk08lhJNXJYSTXye+0W0TCWrETNr1iyXqWTN/i0vL89NlUtLS9vX34qFW985c+a4VejU6iYg0cS9OiSaeDyPFNE07he/xoptha4e0+qsIliNppTYCAzpkYDhfZLQJbkVBapEEwXjviASTVyeEk08nhJNPJYSTVyWEk18nhJNPKYSTTyWEk1clhJNfJ77RTR5NHv2bEycOBHvvvuu+5n92/Lly/H+++/j3nvv3de/qqrKCamnn34ab7/9dhMfWfMOL9HEHT+JJh7PI0E0vfn+Jzjlwuswd30etuwpRVhoCDokRmJYWpIr+p0cG04DKtFEQ+kCSTRxeUo08XhKNPFYSjRxWUo08XlKNPGYSjTxWEo0cVlKNPF5ehJNJpSeeuopvPPOOxJNjRgDiaZGQKtnE4kmHs+WLJqqqmuwaGUGpr23ELE9h2BvUYWrv9SjdZSbKjewWzxiIhtX9LuuEZBo4l2bEk1clhZNoonHVKKJx1KiictSoonPU6KJx1SiicdSoonLUqKJz1OiqYmZWniJJi5kiSYez5YqmsqrarAluxSfrtqNeeuygfAoJ5X6dYzBaX2SXF0my2xiN4kmLlFlNHF5SjTxeEo08VhKNHFZSjTxeUo0kG4QswAAIABJREFU8ZhKNPFYSjRxWUo08XkeJJose+nhhx92K8pZs6lzCxcuxNSpU/HCCy/s629T5+zf//GPf2jqXAPjItHEvXAlmng8W6JoKimvdnWYrB7T8m2FsMymhOhwl8F02lFJ6Nk6Ouii33WNgEQT79q0SBJNXJ4STTyeEk08lhJNXJYSTXyeEk08phJNPJYSTVyWEk18ngeJppkzZ+K6667DBRdc4H5mxcAzMzOxZMkSnH/++fv627/v2LEDFRUVEk0STXjiiSfw+OOPN/EV+l14iSYe5pYmmvJLKrHk20LMWpuLjN3FqKmuRnJMGE7rm+pqMrVPjOTBO0QkiSYuXokmLk+JJh5PiSYeS4kmLkuJJj5PiSYeU4kmHkuJJi5LiSY+z/0imjyywt933303CgoKGtxbWFgYzj33XPz2t79tsO+R3EEZTdzRl2ji8Wwpoqm6pgZ7CiuwYGM+5qzLRVZeOcLDQhBZnoce0fm4+ZIzXFZTUzeJJi5hiSYuT4kmHk+JJh5LiSYuS4kmPk+JJh5TiSYeS4kmLkuJJj7PgyIWFhZi3bp1yM3NbXBvoaGhOOqoo9ChQ4cG+x7JHSSauKMv0cTj2RJEU2V1DbbnlGH2ulx8sTEfeSWViIoIRVrbaCSXfouCzUtw+69/xYNWTySJJi5miSYuT4kmHk+JJh5LiSYuS4kmPk+JJh5TiSYeS4kmLkuJJj5PRfSBgEQTF7JEE49ncxdNZZXV2LCrxNVjWrylAPb/ca3C0L9znFtZriRrLWZ+/hluv/12HjSJJowbN84XnhJNXMwSTTyeEk08lhJNXJYSTXyeEk08phJNPJYSTVyWEk18noroAwGJJi5kiSYez+YsmorKq7BimxX9zsHqrGLY9LnkmAgM6ZGAYb0T0S01CkuXLsWMGTMkmkiXzOzZs2HXjEQTB+iHH36I7OxsXHXVVZyADUSRaOJhlmjisZRo4rKUaOLzlGjiMZVo4rGUaOKylGji81REHwhINHEhSzTxeDZH0VRTA+SWVGLRpnzMXp+LzdmlCAsNQbuESCeYTumViNS4CAdJool3rVgkiSYuT4kmHs833ngD4eHhuPDCC3lB64kk0cTFPG3aNKSlpWHEiBHcwHVEmzJlCtLT0zF8+HBf9jd58mQMHDgQQ4cO9WV/EydOxLBhwzB48GBf9vfYY49h5MiRGDBggC/7s9WxR48ejf79+/uyP4kmHmaJJh5LiSYuS4kmPk9F9IGARBMXskQTj2dzE01V1TXYVVCBeetzMTcjD9mFFYgMD0G31Gic1icJg7vHI7ZV2D5AEk28a0WiicvSokk08ZhKNPFYWqQXXngBnTt3xqhRo7iB64gm0cTFLNHE5SnRxOMp0cRjKdHEZSnRxOfpOaKtSGcp/hUVFejYsaPn7dQRkGjiXgUSTTyezUk0VVTVYMueUlf0+8tN+Sgsq0J0RCiO7hCL0/smoX+nOESEhewHR6KJd61INHFZSjRxeUo0cXlKNHF5KqOJy1MZTTye9957L6699lr07NmTF7SeSBJNXMy33HILHnjgAaSkpHAD1xHNSidMmDABCQkJvuxv7NixmDRpEmJiYnzZ35gxYzB16lRERkb6sr9gdhISEuIeekJqzNI001ZdXY25c+di+fLl2LRpkxNNPXr0QN++fXHyyScjMTGxmZ6Zf4ct0cRlLdHE43k4iKa9RRVY+m2hK+RdXyuvrMam7FKs2F4E+7s1y146pmMsTu2ThOO6xB20uUQT71qRaOKylGji8pRo4vKUaOLylGji8pRo4vGUaOKxtEi33nor7rnnHrRt25YbuI5oEk1czBJNXJ71RjPJNGvWLDz44IMoKSlBRMR3dU+sWS0Em4/961//GlFRUT4eVfPblUQTd8wkmng8DwfR9E1mEZ74ZCtKK+oXTXWdtdVnsilzt5zRWaKJd2kcMpJqNHEBa+ocj6dEE4+lRZJo4vKUaOLylGji8ZRo4rGUaOKytGjKaKqbabPPaMrNzcUll1yCLl264Pzzz0dSUpI7WxNQ8+fPx9tvvw0rqHjiiSfyr6wWFFGiiTuYEk08noeDaFplomn61gYzmuoTTQO7xeOXP5Bo4l0Zh44k0cQlLNHE4ynRxGMp0cRladEkmrhMJZp4PCWaeCwlmrgsJZrq59msRZPN9lu5ciUuvfRSfPbZZ+jQocN+Z1teXo7x48fDpgc+9NBD/CurBUWUaOIOpkQTj+fhIJp2FZRj3vo8lB4wda64rBrrdhVje06ZO+FW4aHomhqFXm2iERb6PwaW0dQtJQpDeh48X1xT53jXikWSaOLylGji8ZRo4rGUaOKylGji85Ro4jGVaOKxlGjispRoasGiqXba3COPPIKPP/74oDOtqqrC9OnTXcEsy2xSq5uARBP36pBo4vE8HETToc6mpLway7YW4oMVe7Apu8RJpr4dYnBWegrSO8bC5JKXJtHkhZL3PhJN3ll56SnR5IWStz4STd44ee2lqXNeSXnrp4wmb5y89pJo8kqq4X4STQ0zCqSHajQFQqvhvpo6VzejZp/RtHbtWjdlzuo0HbjSnBUFf+aZZ7B69Wo899xzDV8pR3APiSbu4Es08XgejqLJJNPX2wrx0co9yNhV4laS69MuBucf19pJpu/WWPDWJJq8cfLaS6LJKylv/SSavHHy0kuiyQsl730kmryz8tJToskLJe99JJq8s2qop0RTQ4QC+7lEU2C8Guot0dRCRZOdVmlpKc4991ykp6fjggsu2LfCnGU7LVmyBK+++qqrrn/RRRc1dJ34+nOTYJ9++ilWrFixb7+2LKJV5rdmhc3/9re/IS8vzxU4P+GEE3DaaafBpgPOmDHDbRcbG4ubb77Z9a+srHRCbfPmzU68BdokmgIlVn9/iSYez8NNNB1KMtlUuXP7p2JA1/iAJJNRkmjiXSsWSaKJy1OiicdToonH0iJJNHF5SjRxeUo08XhKNPFYWiSJJi5PiaYWLJpMKJl4sRpMoaGhiI6Odmdr9Zu2bduGYcOGuZ8lJydzr6ogoxUWFuK2227D119/jdNPP91FM3H0+9//HmVlZfjnP//pJNmxxx7r5JJJpEmTJqFVq1b4xS9+gV69eiEjIwMPPPAAjj/+eGzduhX3338/Ro0ahSuuuCLgo5NoChhZvRtINPF4Hk6iqayyGlYY/L1le7B+V7HLZOrZJhrnHGOSKc7zdLnv05Fo4l0rEk1clhZNoonHVKKJx1KiicvSokk0cZlKNPF4SjTxWEo0cVlaNImmFiya7NRMNs2cOdO9yc7KykJRURFat26No446ymU7devWjX9VBRnRRNNvf/tbxMXFYcKECftF27NnD0aOHIk777wTl112GWxlPSt4Pnz4cIwYMQJ//OMfXc2pl156yZ37mDFj8MQTT2Dnzp3uRqExTaKpMdTq3kaiicfzcBFNJpnWZBXjw5V7nGwKDw1xRb/PDkIyGSWJJt61ItHEZSnRxOUp0cTlqYwmLk+JJi5PiSYeT4kmHkuJJi5Liab6eTbrGk0HnpplMZkwMYnTpk0b2FS0w7XVZjStW7cO55xzDiIjI93UOMtOsmlxJprsZ5aJZdPopkyZgg8++AD33Xcf7MvrzTffxN///nf3M8t6sr9bdlOXLl0adcoSTY3CVudGEk08noeDaDpQMoWGhKBbahRGH5uKgd3iG5XJVEtIool3rUg0cVlKNHF5SjRxeUo0cXlKNHF5SjTxeEo08VhKNHFZSjQdAaLJMpjmzp3rMn9ycnLcn7XNptNZ/abzzjuPf2UFEdGmw/373//G4sWLXVaSHbf9N378eGzcuNGl4VmGkjWrQ/Xyyy+71fNsSp3VcRo6dCg2bNjg5JQ9qPbt29fVc7Lpdz/72c+QkHDwMur1Ha5EUxCDeYhNJZp4PP+vRVN5ZTXW7SzBe8uz8U1mEUwydUlp5TKZTuwRj8iw0KBOVqIpKHwHbawaTVyemjrH4ynRxGNpkSSauDwlmrg8JZp4PCWaeCwlmrgsJZpauGiyItj/7//9P7zyyitOrti0M5MmtS08PBw/+tGPDpqexr/MGh/RMrGsiPdPf/pTXHvttWjbtu0hRdNf/vIXt7qeCSp7OLXzzczMRL9+/TBv3jy0b9/e1Wqy6XZ2zoE0Y2ZT+ayguh/NMrpsuuPo0aP92B3y8/OdjLSplH40k51ffPEFzj77bD925675r776CmeeeWaT7y87OxvLli1zWXd+tF27dmHlypU444wz/NgdduzYgTVr1nxXOy00HOWtWmNjZVusyCxGTXUVwktz0BmZOL5zNCLDAlhero6jt99hk8Y2NdaPZrXrtmzZglNOOcWP3cGk6/bt250c96Nt2rQJds0MGTLEj925sbPfv8GDB/uyv/Xr17vPs4EDB/qyP1vZtbi4GAMGDPBlf1aP0F7EHHfccb7sb9WqVe5lT//+/Zt8f5atXPvyq8l3BrgakJYtffTRR/uxO3dfYpnkVrbAj2Yv6uw+qHfv3n7sDosWLUJKSoqrkelHW7hwIdq1a4fu3bv7sTssWLAAnTp1QteuXX3Zn92T2bl17tzZl/3ZS4i0tLSDVqhuqp3bPa69BLZ7cz/aZ599hmOOOcY9Q/jRbEEjm4VhpUqauk2fPh2DBg1yv39+tI8++ggnnXQSkpKS/Nidm7FiNYUDTRJo7MG9//777h7Xyrf40ey51WoI19ZRbup9vvPOO262kNU19qO99dZbbiEuW7zLj2YvrZ5//nn3/X64t2Y9dc4Ejd3kW7aSXcCHuvG2mzr7YvHroaqxA24PDpapZKvL2VQ4k0X2QJGYmOimx02bNs2Jktdff93twrKc7O92I2KrB9gFbjeV7733HuzL5tlnnw3oUOxB6Y477nAc/Wj24DJ//nzfZIWJrS+//NI3WWHjaase1hZ6b2qmls1m43/qqac29a5c5p09nNmXoh/N5LE97J588sl+7A67d+92hfYHnXgStuVVYXVhAqqTeyI0NAzt48NwbEoJInIyUFNVQTkey1w08XPiiSdS4jUUxOrYmWzyS4yYZDJ555cYMdluMtQvMWIizX4n/BIj9lKioKDAFzFi15Jl2Np3kGUG+9Hsd89Ek71A8aPZFHUTTfZA2NTNBLbdk/Tp06epd+XiWzao3YjaPZAfzb4X7EGiZ8+efuzOlRmIj4/3TcTYd6yVM/BLxJi4szIQfokYE3cmRUw2+dFM3Nm5dejQwY/duftlE1sm7/xoJu7sd8/G0I9m99QmeVNTU/3YnXsmse8FPxZbMklo37H2TORHM0loz2N+iR97brN7QL/Ej0lCu6f2q8TMJ5984l6mRkVF+TF8+Pjjj11NY79EjGV+2/OzJbf40f7zn/9INPkBurYIuAkS+6Xx48OOdV4mil577TVXyNvOw24Ir776ardCnt2EXnjhhfjDH/7g/rTsGJsO94Mf/AC//OUvUVFRgTlz5rhV6axmk8WyDCa7KbGLz8y/1XQKpGnqXCC0Gu6rqXMNM/La4/9i6tzb776Hn4y9FR+u2IOlWwtRUwO0T4zE2ekpGNYnMejpct8/d02d83oleOunqXPeOHntpalzXkk13E9T5xpmFEgPTZ0LhFbDfTV1rmFGgfTQ1LlAaNXfV1PneCwtkiUo3HPPPb5lv1kihdUR9isjbdy4cW4mk1+iUKvO1X19NvuMJsv6sQG24th+vTVg/LpbBsrll1/uDK+JJhMT9qbTvpjM+P71r3919Zhs6pW93bXsGPuZva2wN7CPPfaYW4nOfm6S6IorrnBZW5bhZdPD7GeBNImmQGg13FeiqWFGXnv4LppWrsK0V/+NniOuwtJvC5xkapcQiTPTk3FKWiJiIsO8HrqnfhJNnjB57iTR5BmVp44STZ4weeok0eQJk+dOEk2eUXnqKNHkCZPnThJNnlE12FGiqUFEAXWQaAoIV4OdJZpaqGiy0zIJY7WFLP3vuuuuOyhNLiQkxM3RPNwklB23TXMzgWTN5JJlN9WuGmcFzv/0pz+5n1nq31lnneXmC1dVVblpPZ9//jnM2NYysIcr+zcrBn7TTTcFPK9YoqnBz5GAOkg0BYSr3s5+iqaq6hosXvMtJr29EOEd+qP6v5lMo/o1jWSyE5do4l0rFkmiictToonHU6KJx9IiSTRxeUo0cXlKNPF4SjTxWFokiSYuT4mmFiqaaotoP/jgg65e0UUXXXRQ4S/LErLieDfffDP3qmph0SSauAMq0cTj6ZdoMsm0dW8ZPli+G/PX70VIeATaxEfizH4pOLUPP5OplpBEE+9akWjisrRoEk08phJNPJYSTVyWFk2iictUoonHU6KJx1KiicvSokk0tVDRZFPOrPjk448/XucZmmiy4tq//vWv+VdWC4oo0cQdTIkmHk8/RJNJpm05ZfhgxR4s2lSAiupqtI6LwBl9kzHiqGTERXGny32fjkQT71qRaOKylGji8pRo4vJURhOXp0QTl6dEE4+nRBOPpUQTl6VEU/08m3WNJjs1m2JmKwzV12xaml+rTPAvX38iSjRxOUs08Xg2tWiqrqlBVl45PlyxF/Mz8lBeVYWUmDCMTG+N0/okITG6aVeRkGjiXSsSTVyWEk1cnhJNXJ4STVyeEk1cnhJNPJ4STTyWEk1clhJNLVw08S+XIzOiRBN33CWaeDybUjSZZNqZX4Hpq/ZiXkYeSsqrgPIC9IktxC8vPa3JJZNRkmjiXSsSTVyWEk1cnhJNXJ4STVyeEk1cnhJNPJ4STTyWEk1clhJNLVw0WZ2mrKwsV0fC/jyw2dS53r1745JLLuFfWS0ookQTdzAlmng8m0o0fSeZyjF9VY6TTMXlVUiKCUf7mh0I27EMd//ml7yTqCeSRBMXs4qBc3mqRhOPp0QTj6VFkmji8pRo4vKUaOLxlGjisZRo4rKUaGrhoqmiogJ33nknPvnkEyQmJqK4uBj2kG91mXbs2IHt27fjD3/4g6uwr1Y3AYkm7tUh0cTj2RSiqaYG2FVQjo9X7cXc9f+TTMN7J6FNxVYsnDUdd999N+8kJJpwyy23+MJToomLWaKJx1OiicdSoonL0qJJNHGZSjTxeEo08VhKNHFZSjS1YNFk2UwZGRkYOXIkbrzxRpxwwglYs2aNW4HOPuC3bNmCZ599Fvfffz/OOuss/pXVgiJKNHEHU6KJx5Mtmkwy7SmqwKff7MVna3L3ZTKZZPrB0cnI2rQG77//vkQTaQgXLFiAxYsXSzSReNpLlW3btuGaa64hRaw/jEQTD7NEE4+lRBOXpUQTn6dEE4+pRBOPpUQTl6VEUwsWTbbq3MyZM51Imj59OiIjI2Fvs5966im88847sGynJ598Env27MEjjzzCv7JaUESJJu5gSjTxeDJFU61k+mx1Dmaty0VeSSUSosIxvHciRqWnuJXmVqxYIdHEGz5INBFhAi57V6KJx/Ttt99GZWWlL9PrJZp44ybRxGUp0cTnKdHEYyrRxGMp0cRlKdHUwkXTypUrMXbsWHz55Zcw8bR8+XJcffXVWLhwoRNPlpnw4osvwm4m1eomINHEvTokmng8WaKpVjLN+K9kyi+pRFyrMAztlYizj0lBu4RId9ASTbyxs0gSTVyeEk1cnhJNPJ5///vf0bp1a5xzzjm8oPVEUo0mLmZNnePylGji8ZRo4rGUaOKylGhqwaLJTi0nJwcXX3wxHn/8cQwYMMBlL51yyim47rrr0K5dO/znP/9B9+7d8eijj/KvrBYUUaKJO5gSTTyeLNGUU1yJz9fk4NPVOaiVTEN6JuDM9BR0Smq174AlmnhjJ9HEZWnRJJq4TCWaeDwlmngsLdKUKVOQnp6O4cOHcwPXEU2iiYtZoonHU6KJx1KiictSoqmFi6aqqiq8+eabCAkJcanvlgL/3HPP4Z///Ceio6NhP58wYYKr36RWNwGJJu7VIdHE48kQTbnFlZi9PheWzbSnsMJlMh1KMtlRSzTxxk6iictSoonPU6KJx1SiicdSoonL0qI99thjrqarvZT2o0k08ShLNPFYSjRxWUo0tXDRZKdXVFSErKwspKWlubMtKCjARx99hLKyMnTu3Bmnn346/6pqYRElmrgDKtHE4xmsaKqVTFaXKbuwAjGRYRjULR7nHZe6XyZT7RFLNPHGTqKJy1Kiic9ToonHVKKJx1KiictSoonPc/z48bjiiivQp08ffvADIko0cRHbSuz33HMP2rZtyw1cRzRbdfiBBx5ASkqKL/sbN26cSzJJSEjwZX9WwmfSpEmIiYnxZX9jxozB1KlTXYmgw72FWCYQgJAaW8JN7YglINHEHXqJJh7PYESTTZGbvS7XTZczyRQdGYoBXeJxTv9U9GgddciDlGjijZ1EE5elRBOfp0QTj6lEE4+lRBOXpUQTn6dEE4/p7bffjttuuw0dO3bkBa0nkkQTF7NEU908m5VoMhe2efNm/O1vf/N8hZhIM9t+2WWXed7mSOwo0cQddYkmHs9Diaa9RRVYsCEfZZXV9e7IRNPX2wqxu6DC9YuJDEWf9jHo3TYGHZMiMbj7wW87JJp4YyfRxGUp0cTnKdHEYyrRxGMp0cRlKdHE5ynRxGMq0cRjaZGU0cTlGUy0ZiWabFW5JUuW4O677/Z8zmFhYTjxxBNdyp5a3QQkmrhXh0QTj+ehRNPaHcWY8NG3DYqmuo4iLDQEA7rE4dZRXQ7qItHEGzuJJi5LiSY+T4kmHlOJJh5LiSYuS4kmPk+JJh5TiSYeS4kmLstgozUr0WQZTbbK3OrVqz2ft2U0JSUloV+/fp63ORI7SjRxR12iicezLtH02MfforSi/owmiaaDCSxatAjz5s2DpU770RYsWIDFixfD5uj70WbPng27ZuyNlh/t888/R0ZGBq6//no/dqdV58iUJZp4QCWaeCwlmrgsJZr4PCWaeEwlmngsJZq4LION1qxE04Ena+Jp69atbsW5Ll0OzkwIFs6RtL1EE3e0JZp4POuaOvfFxnyUfU80WZG5vUWVWL6tEDa1zlpURCjS2kajT7sYuGp0/22hoSGuEPig7vEHHagymnhjZ5Ekmrg8P/nkE2zbtg3XXHMNN3Ad0T788ENkZ2fjqquu8mV/7733HgoLC3H55Zf7sj+JJh5miSYeS4kmLkuJJj5PiSYeU4kmHkuJJi7LYKM1S9FkgikzMxOvv/66W4rcRFPfvn1x3nnnKXOpkVeERFMjwdWxmUQTj6eXYuDVNTWuDtPMtbmYl5HnRFNsZBiO7xqHHxyd7GoyfbfuQcNNoqlhRoH0kGgKhFbDfSWaGmYUSA+JpkBo1d9XoonHUqKJy1Kiic9ToonHVKKJx1Kiicsy2GjNUjRVVlbisccew1//+lf07NkTJp527tyJ9PR0PPPMM0hOTg6WyxG3vUQTd8glmng8GxJNVdU1yMwrx2erc/DFxjwUlFYhISocJ/aIx4i+yeiWeujV5eo6Qokm3thZJIkmLk+JJi5PiSYeT4kmHkuJJi5LiSY+T4kmHlOJJh5LiSYuy2CjNTvRVCuVTj/9dJfKP2LECCearEbGpEmTcO+99+LCCy8MlssRt71EE3fIJZp4POsTTZVVNdiytxSffJODxVsKUFpRheSYCJyclojT+iSiQ2KrgA9EoilgZPVuINHE5SnRxOUp0cTjKdHEYynRxGUp0cTnKdHEYyrRxGMp0cRlGWy0ZieabOU5Kyx77bXXYs6cOa7QtzXLcnrqqaewfv16TJkyJVguR9z2Ek3cIZdo4vGsSzSVV1YjY1cJpn+zF19vLYRlNrWJj8RpfZJwSloiUuMiGnUQEk2NwlbnRhJNXJ4STVyeEk08nhJNPJYSTVyWEk18nhJNPKYSTTyWEk1clsFGa5aiyVYVmjhxIt599919528CatasWU42vfPOO8FyOeK2l2jiDrlEE4/noUSTrTa3OqsI01fl4JusItTUAB0SIzGyXzKG9EhAQnR4ow9AoqnR6A65oUQTl6dEE5enRBOPp0QTj6VEE5elRBOfp0QTj6lEE4+lRBOXZbDRmqVoMqFkU+QeeeSR/UTTsmXL8MYbb+Dhhx/e9+9WKLx9+/ZIS0sLllWL3l6iiTu8Ek08ngeKpuLyKiz7thCfrs7B+l3FCLNVJ1Na4cz0FAzqFo/oyLCgdi7RFBS+gzaWaOLylGji8pRo4vGUaOKxlGjispRo4vOUaOIxlWjisZRo4rIMNlqzFE0zZ87EpZdeiuOOO26/88/JyYE94H//38PCwjB8+HDcd999wbJq0dtLNHGHV6KJx/P7oim/tBKLNhXgszU52LKnFBFhIejVJtpJpgFd493/B9skmoIluP/2Ek1cnhJNXJ4STTyeEk08lhJNXJYSTXyeEk08phJNPJYSTVyWwUZrdqLJCn9v3rwZTz/9NAoLCxs8fxNNAwYMwA033NBg3yO5g0QTd/Qlmng8a0XTLb+5G3PX52L2ulxk5ZWjVXgo+naIwVnpKUjvGIuw0OAlkx21RBNv7CySRBOXp0QTl6dEE4+nRBOPpUQTl6VEE5+nRBOPqUQTj6VEE5dlsNGanWiyEzbZlJub60k02dS5uLi4fUXDgwXWUreXaOKOrEQTj+c3q1fj+ZffwEkXjsPcjDzsKaxAdGQojusch5H9UnBUuxiEcByTO2iJJt7YSTRxWVo0iSYuU4kmHk+JJh5LiSYuS4kmPk+JJh5TiSYeS4kmLstgozVL0RTsSWv7gwlINHGvCokmDs/qmhosX78NT74xBzHdByG/pBJxrcJwYo8EjOibhB6tozk7+l4UiSYuUmU0cXlKNHF5SjTxeEo08VhKNHFZSjTxeUo08ZhKNPFYSjRxWQYbTaIpWIItZHuJJu5ASjQFz7OqugZb95bhg+W7MX9dNhDeCkkx4RiWlohT+ySjY1Jk8Ds5RASJJi5WiSYuT4kmLk+JJh5PiSYeS4kmLkuJJj5PiSYeU4kmHktXzuxfAAAgAElEQVSJJi7LYKNJNAVLsIVsL9HEHUiJpuB4VlTVYOPuEny8ai+WfluAyuoapMZG4PSjkjC8dxJS4yKC20E9W0s0cdFKNHF5SjRxeUo08XhKNPFYSjRxWUo08XlKNPGYSjTxWEo0cVkGG02iKViCLWR7iSbuQEo0NZ5nWWU11mQVO8m0KrMIVVVVSIkJxXnHt8fQnglIiA5vfHAPW0o0eYAUQBeJpgBgeegq0eQBUgBdJJoCgNVAV4kmHkuJJi5LiSY+T4kmHlOJJh5LiSYuy2CjtRjRZAXCs7KysHXrVpSXl6Nbt27o2rVrsHyOmO0lmrhDLdHUOJ4l5dX4elshPv1mL9buLEZoSAhaVeajU00W7rjmAsREhjYucABbSTQFAMtDV4kmD5AC6CLRFAAsD10lmjxA8thFoskjKI/dpkyZgvT0dAwfPtzjFsF1mzx5MgYOHIihQ4cGF8jj1hMnTsSwYcMwePBgj1sE1+2xxx7DyJEj3UrUfrSHH34Yo0ePRv/+/f3YHf74xz/ioosuQr9+/XzZn0QTD7NEE4+lRBOXZbDRWoRoys/Px0svvYSlS5c62WSiqXPnzujbty8uvvhi9O7dO1hOLX57iSbuEEs0Bc6zsKwKizbl47M1udiUXYKIsBD0aBONrqG7sHXZZ7jvnrsCD9qILSSaGgGtnk0kmrg8JZq4PCWaeDwlmngsLZJEE5enRBOXp0QTj6dEE4+lRBOXZbDRmr1oqqysxDPPPIPnn38exxxzDBITEx2T6upqrF+/Hp06dcKkSZOQnJwcLKsWvb1EE3d4JZoC45lXUom5GXn4/+ydCXgUVfa3f9k3shII+74jIAIqCgrK4o6MMogIooIyM6jIpzPi6IyDigo4KuKGisso/hXFDRVFFBAQZZcdwiY7BLLvneR7zp0JCiTpW90nJQm/+zw+zphTp7rfqu6ueuvccxdtScO+tHyEBQeiTd1I9GmbgKCM3fjko9l46KGHnCX1MZqiyUdw5WxG0aTLk6JJlydFkx5PiiY9lhRNuiwlG0WTLlOKJj2eFE16LCmadFn6m61Ki6bS6XKXX345brvtNvTt2xfR0dHHRdPPP/+MSZMm4e677zblpBzlE6Bo0j07KJrseJaUAMeyC/HdljQs3paGlKxCRIQEomODGujTLgGtkiKwZfMmfPjhhxRNdki9Ri1fvhxLlizB2LFjvcZqBFA0aVD8NQdFky5PiiY9nhRNeiwpmnRZUjTp86Ro0mNK0aTHkqJJl6W/2aq0aJKqpRUrVuDOO+/EwoULER4efgKPwsJCvPrqq1izZg1efvllf1lVyvbS6Hjr1q14++23zVz8G2+80ewnJycHzz33HFJTUxEcHIwLL7wQItTy8/Px6aefYuXKlahRowYefPBBEy+VXfI+pYpryJAhjl8rRZNjZBVuQNHknWdxSQkOZxTim02pWLo9HRm5HkSFBaFrk2hc2iYeTRMjEBAAbNy4kaLJO07rCIoma1RWgd999x2Sk5MxatQoq3h/gyia/CV44vYUTXo8KZr0WFI06bKkaNLnSdGkx5SiSY8lRZMuS3+zVXnRJE/L77//fnz//fensBCJ8/XXX2P69OmQi8nTcWRlZeG+++4zokwaBr733nvIy8vDjBkz8NVXX+GCCy4wcunbb7814knk0pgxY0yzxrVr12LcuHE477zzsHv3bowfPx5Dhw7F1Vdf7fitUjQ5RkbR9PDDPkMrKi7B3tR8zNt4DMt3ZSI7vwixEcHo3jwWvVrHoUF82PHcFE0+Yy5zQ4omXZ4UTbo8P/vsM8jvoi8PTHx5JRRNvlArexuKJj2WFE26LCma9HlSNOkxpWjSY0nRpMvS32xVWjTJ1DlZZe7iiy/GW2+9dcLKHPK3Q4cO4cknn0RERAQmTpzoLyv17aUK6ccff8QTTzxhmpeL7BHRdPToUfTq1cusIHHttdciLS0NN998sxFR/fr1g6xkIVOJ5KJOcgwfPhyPPfYYAgICzN98GRRNvlArfxtWNJXPprCoBDuO5BrJtHpPFgo8xUiICsHFreLQo2UsakeHnrAxRZPuuUnRpMuTokmXJ0WTHs93333XPJzy5eGTL6+CoskXauVvw2bgujzZo0mXJ0WTHk+KJj2WFE26LP3NVqVFk7x5WWFOejDJ9LP+/fujZs2aholUM/30009mJboXXnjBVP2cbkNWy5PeUgMHDsTOnTshPaVmzpxppsDJNDmZjhETE4Pc3FxTlSVT5v71r38ZASVPYWWlPal+ktX1PvnkE/zzn/9E3bp1fXqbFE0+YSt3I4qmstHke4qx5WAOvt5wDBv2Z6OoGKgdHYJL2sbjguaxiIsMPmVDiibdc5OiSZcnRZMuT4omPZ4UTXosJdMrr7yCFi1aoHfv3rqJy8lG0aSLmaJJlydFkx5PiiY9lhRNuiz9zVblRZNULolkevrpp7F582ZTci99jWS1OenZNGDAACNzTu7f5C84f7cXQSZVSSKInnnmGbNqnogm6dU0d+5cjBw50lRkyRCZJP9dZNOsWbNMT6qWLVvi4MGDuOyyy7Bs2TKz4t6uXbsQFRVl/u50lT2KJn+P6Inbn2miSRp6L9qahrzC4gpBFhSV4Jdjedh2KBcyfS4wAKaaSZp/t64TiQtb/HfVyN8Oiibdc5OiSZcnRZMuT4omPZ4UTXosKZp0WUo2uW7v0aMHunXrpp+8jIwUTbqYKZr0eFI06bGkaNJl6W+2Ki+aBIDIpr1795rqJZEz6enpprKnadOmOOecc047ySSvV3oq3XXXXZAvaqlIkh9cb6JJGpsvWrQI8+fPNw2SRZ5JU3B5uvbxxx+ja9euphm4TK+74YYbHJ0bIprki65Pnz6OtvM1WJqdiyC75JJLfE3haDsRkNI4XqYkujGkWk0q0y666CI3dmemV65bt+6E6aOVtWMRuXL+SYP60pFeEoUVha0hFUu+jMCAACSFZqNz0NZTNpeppCKTpS+ZG+PIkSPYsWOHa1WQ8p0lYtKti20R1Pv27UOXLl3cwIn9+/cbKS7fxW4M+S1ISUnB2Wef7cbuzLGTz1/Hjh1d2Z88UJDvM3m44MaQz4JU1cpiFW6M7du3m0rltm3burE785spC4u0bt260ve3ZcsWBAYGmgdFboxNmzYhNDQUzZs3d2N32LBhg2lV0KxZM1f2t379ejM1sEmTJq7sT67R4uLi0KhRI1f2J9cQiYmJprWCG2PVqlWoU6cO6tWr58buzDWZvDfZpxtDHrLIsUtKSnJjd6Y1hnwWatWq5cr+pGdtq1atjs/sqOydyuq17dq1c/xg25fXJX14pX2IfP7cGHKvJdcQMqvEjbFgwQJzDyffZ24M6ft7/vnnIzIy0o3d4ZtvvjFS2a2iD1k0Re6/wsJ+7fdamW9UeirL/WxISEhl7uZ47i+//NIUqMjv++k+qoVoOt0hn/z6ZDU8qVq6/fbbMWzYMMj/lx9cucEdNGgQLr30UvNvubmWyqTSqXPyoyVT62TIf3vjjTdMFdOtt95qpt+JaPv8889NA3QpuXYyRDT99a9/NT2h3BhyoyRfdNdcc40bu4OIH/nhuOqqq1zZn9x4Ll26FFdccYUr+5PjJ1NFpcKtsofcxMsFqQjN0nHME4FF6fW9VjSV99qCAgNQPyIfF0TvPSXk8OHDRqLJ58KNceDAAVMd6db0CJE+Mk1Wes25MaSvnXxv9OzZ043dGaku8ue3YrIydyzTkEVsuSUmRYyIDD333HMr820dzy2/C/J9Jhelbgz5LMiDAbdEoUhsEU1uiUKRFSKa3BCFIipENLklCUVUyIWo3Ay6MeR3QW5c5OGZG0Oum+RGUG6u3RjyGyvtGdwSdyIORMLIQ1M3hogDET+NGzd2Y3dmER+RhA0bNnRlf7Lojkx9lBkPbgypdpXPgq8tLZy+RnkILTKmdu3aTjf1KV7uNeR3QWRoZQ+5Z5Lf2ISEhMrelcn/xRdfmMWY3BJbc+bMMWLELbElrVhEjLgltqQYQu4Z3BJbs2fPNvdfbomtDz74wNzPuiV+3n//fUjxiVv78+dDV6VEk1QCyQ2ZTCGzHdIgWy6yRowYYbtJpcdJ/yh58idf0jJENIkEkRtcWSJbPhzXXXedWY1OVt6RCpLBgwcbCfTnP//ZXISLHZYvin/84x/mJuDKK680FVEy7UB+3J5//nlH74NT5xzh8hp8pk2dS8/1YMWuzBMqmkpKAJlSt2J3Jo5mFRpm4SGBZopc27pRZtpc6TAVTTEh6Nwo+hS2nDrn9XRzFMCpc45weQ3m1DmviBwFcOqcI1wVBnPqnB5LycQeTbo8OXVOl6f0b5V7B7fEMqfO6R0/Tp3TYymZRo8ejUmTJrkm7qTdzdSpU10TaeI0xIVQNOmeN+apo1TtSNPr0lE6bU6eSkoZYGlvIomVp11Sfi+yRk6603WIKCqdOierzuXn55vV56ZNm2aqHGRlOXlCLz8i8mRLbrxlNT2piBIDLiLqlltuMX+T6oibbrrJcaUQRZPu2XGmiaaT6RWXlOBwRiHmb0rFDzvSkZbjQWRoELo0iUafNvFoVisCAb8RTRXRp2jSPTcpmnR5UjTp8qRo0uNJ0aTHkqJJl6Vko2jSZUrRpMfz/vvvNw/23ZomS9Gkd+womnRZ+putylU0yZQkqWoqHVINJFZdSmFFsJSWHYpokqlLixcvxvjx412bZuDLARGRJL2WZOpc6dQukU8vvviiSSfGUqa5yFQCeV8yFUVKqm+88Ubzd2EgJd3S80jKEocOHerY4lI0+XLkyt/mTBZN0uR7b2o+5m1MxfJdGcjOL0JMRDC6N4tBrzZxaBgf7gg2RZMjXF6DKZq8InIUQNHkCJfXYIomr4isAyiarFFZBbKiyQqTdRBFkzUqq0CKJitMVkEUTVaYrIPGjBmDCRMmuDb1kRVN1oem0gOrlGg6mYZUM0mvERFMr7/++inz9KWPhawyIVVO48aNq3SYVXkHFE26R+9MFU2FRSXYeSQXX288hjV7ssxUuoTIEPRsFYeeLWORFOO8cR1Fk+65SdGky5OiSZcnRZMeT4omPZaSiaJJlydFky5PiiY9nhRNeiwlE0WTLk9OndPlWW620qqlsWPHmmlyJw/phSQN1qSBtkxF4yifAEWT7tlxJoqmAk8xNh/MwdcbjmHD/mwUFQO1okNwSZt4XNA8FvFRwT5BpmjyCVu5G1E06fKkaNLlSdGkx5OiSY8lRZMuS8lG0aTLlKJJjydFkx5LiiZdlpKNokmfaZkZpaJJll6WzvmPP/64WXGrdEWC0h5N0pxLVu2YMmWKS6+qau6Gokn3uJ1poim3sBjr9maZ6XJbD+UYmPXiwtC3XTy6NYlBdHiQz4ApmnxGV+aGFE26PCmadHlSNOnxpGjSY0nRpMuSokmfJ0WTHlOKJj2WFE26LCma9HlWmFH6E/3tb3+DLFvauXNnxMbGmngRTVu2bIEs5S29jnr06OHyK6tau6No0j1eZ5Jokh5M0ovp201p2Hk0F0GBAWhSMxz92yfg7EbRiAgJ9AsuRZNf+E7ZmKJJlydFky5PiiY9nhRNeiwpmnRZUjTp86Ro0mNK0aTHkqJJlyVFkz7PCjNKVZPIJJkat27dOkizcBkBAQGoV68eevfubVZgCw931oDY5bfxu++Ookn3EJwpoikj14PFyelYuDUN+1LzERociFa1I9D/rJo4q34UQoIsl5arAD9Fk+65SdGky5OiSZcnRZMeT4omPZYUTbosKZr0eVI06TGlaNJjSdGky5KiSZ+nVUZZpU2EU2Zm5nHRlJiYiMaNG1ttf6YHUTTpngHVXTS98847uOu+B7FgSxoWJ6fhSGYhwkMCjVzq1y4BretEmsomjUHRpEHx1xwUTbo8KZp0eVI06fGkaNJjSdGky5KiSZ8nRZMeU4omPZYUTbosKZr0eTKjCwQomnQhV2fRtG1bMqa99ja6DvgTlu1IR3quB5GhQejaJBp92sajaWIEAnQckzkoFE265yZFky5PiiZdnhRNejwpmvRYUjTpsqRo0udJ0aTHlKJJjyVFky5LiiZ9nszoAgGKJl3I1VU0FRWX4OftB/DMrMUIb9gJ0p8pJiIY3ZvFoHebeDSID9MFSdGkzpOiSRcpRZMuT4omPZ4UTXosKZp0WVI06fOkaNJjStGkx5KiSZclRZM+T2Z0gQBFky7k6iiaCotKsONILuauS8HyHccQEByK+MgQXNwqDj1axiIpJlQX4v+ysaJJFytFky5PiiZdnhRNejwpmvRYUjTpsqRo0udJ0aTHlKJJjyVFky5LiiZ9nszoAgGKJl3I1U00FXiKsflgDr7acAwb92ejqBioHR2CS9rGo3vzWMRHBusC/E02iiZdtBRNujwpmnR5UjTp8aRo0mNJ0aTLkqJJnydFkx5TiiY9lhRNuiwpmvR5WmWU1ef27duH3bt3o6CgAE2aNEHTpk2ttmUQQNGkexZUJ9GUV1iMtXuzMG/jMWw7lIuioiLUjCjBtV0boGuTGESHB+nCOykbRZMuXoomXZ4UTbo8KZr0eFI06bGkaNJlSdGkz5OiSY8pRZMeS4omXZYUTfo8vWZMT0/Hyy+/jNWrV+PQoUMoLCxE3bp10bp1awwdOhRt2rTxmuNMD6Bo0j0Dqotoyi4owvKdGZi/KRW7juaZleQiizKRmLcD4+/4IyJCAnXBlZGNokkXMUWTLk+KJl2eFE16PCma9FhSNOmypGjS50nRpMeUokmPJUWTLkuKJn2eFWb0eDx4+umn8dZbb6Fr166IjY018cXFxdi0aRPi4+Px0ksvISEhweVXVrV2R9Gke7yqg2jKyPVgcXI6Fm5Jw760fIQGB6JVUgSah6Viw+I5ePgfD+pCKycbRZMuZoomXZ4UTbo8KZr0eFI06bGkaNJlSdGkz5OiSY8pRZMeS4omXZYUTfo8y80o0+X279+Pyy67DHfeeSd69+6NqKgoEy9/27BhA5544gnccccdGDx4sIuvrOrtiqJJ95hVZdFUUgIcyy7Ed1tSsSQ5HUcyCxEeEogO9WugX/t4BGTsw/+9OxMPP/ywLjSKJld4UjTpYqZo0uVJ0aTHk6JJjyVFky5LiiZ9nhRNekwpmvRYUjTpsqRo0udZbkapWpKbprFjx0Iu9sPDw0+IlSl0b7zxBn766Se88sorLr6yqrcriibdY1ZVRVNxSQkOZxSafkzLdmQgPdeDyNAgdGsSjUvbxqNpYgS2bduKmTMpmrTOGJnyO3/+fNx7771aKSvMQ9Gki5miSZcnRZMeT4omPZYUTbosKZr0eVI06TGlaNJjSdGky5KiSZ9nhaJp2bJluO+++7BkyZJT4qRp8ddff43p06fjo48+cvGVVb1dUTTpHrOqKJqKikuwNzUfX284hhW7M5GdX4SY8GBc0CIGvVrHo0F8mIG0dStFk+bZQtGkSRNYtGgRZLrl6NGjdROXk42iSRczRZMeT4omPZYUTbosKZr0eVI06TGlaNJjSdGky5KiSZ9nuRlLV5rr0aMHZsyYgUsuueR4rPztwIEDmDhxounTJF/AHOUToGjSPTuqmmgqLCrBjiO5+GrDMfy8Nwv5nmLER4agV+s49GgZi9rRoccBUTTpnisUTbo8KZp0eX755ZdISUnBsGHDdBOXk42iSQ8zRZMeS4omXZYUTfo8KZr0mFI06bGkaNJlSdGkz7PCjAUFBaaiSW7W+vTpg8TERBMv1Uw//vijaQguK9JJo3AOiqYpU6a4chpUJdFU4CnG5oM5mLv+GDYdyIZUNolYkqly5zePRXxk8AnMKJp0TyGKJl2eFE26PCma9HjOmjULwcHBGDhwoF7SCjJRNOlilhYMLVq0MP1A3RiykE379u3Rs2dPN3aHadOmoUuXLujevbsr+5OFfORBcbdu3VzZ3+TJk819QufOnV3Z3+OPP46rrroKHTp0cGV/FE16mCma9FhSNOmypGjS51lhRqlc2rFjh/mBXLt2LdLS0iDVOQ0bNjQr0MkF3dChQ0/p3+Tyyzztd8eKJt1DdDqIptRsj+m1lFtYXOGbKywqxv60Amw/kmskU0AAEBcRjLb1otC2TiR6t4mnaNI9PU7IRtGkC5eiSZcnRZMeT4omPZaS6fXXX0eDBg3Qt29f3cTlZKNo0sVM0aTLk6JJjydFkx5LiiZdlhRN+jy9ZixdfW79+vU4fPgwMjMzUbt2bTRu3Ng8STi5SbjXhGdgAEWT7kE/HUTTrpQ8PDJnl5kG58sIDADa1o3C+CsaUzT5AtByG4omS1CWYRRNlqAswyiaLEFZhFE0WUByEELR5ACWRSgrmiwgOQhhRZMDWF5CH3zwQdx6661o1qyZXtIKMlE06WIeM2YMJkyYgISEBN3E5WSTHp2TJk1CTEyMK/sbOXIkpk6disjISFf2N2LECNN/OjT017YmruzYh50EBEj5AhBQIramCo+srCwcOnSozHcQERGBevXqVeF3V/kvnaJJl/FpIZqO5uGxz3cht8A30RQUGID29aLw18sanQCHU+d0zxWKJl2eFE26PCma9HhSNOmxlEwUTbo8KZp0eVI06fGkaNJjKZlktfYHHnjAFGW4MSiadClTNOnyPJ5NXNiePXsgzUJr1Khh5j5Lo++ffvrJmD2ZNnfyCAwMNHPOx48fX0mvqnqkpWjSPY6ng2jKyivC6j2ZyPf86pA9RcXYcywfy3dlIOd/Aio8JNBULnVsEIX/iWcDQyqaEmuEoGODGhRNuqfHCdkomnThUjTp8qRo0uNJ0aTHkqJJl6Vko2jSZUrRpMeTokmPJUWTLkvJxoqm8plWqYomEU07d+7Ee++9h3Xr1pmGhdJ/afDgwUhPTzcNv0WYLF++HAMGDMDevXvxzTffQObVX3fddfpnVjXKSNGkezBPB9F08jvKKyzGhv3Z+HZzKjYfyDFT6qLDg9C9eSx6toxFk5oRpj+Tt8GKJm+EnP2doskZL2/RFE3eCDn7O0WTM14VRVM06bGkaNJlSdGkz5OiSY8pRZMeS4omXZYUTRXzrFKiSd5Kbm4u9u/fj4kTJ5rVW+644w7ccMMNePHFF9G8eXOsXLnSVDe98cYbZirdU089ZRqC/+EPf9A/s6pRRoom3YN5uommjFwPlm5Px5LkdOw+miezZVErOgSXtI1HtybRZpU520HRZEvKLo6iyY6TbRRFky0puziKJjtONlEUTTaU7GM4dc6elU0kK5psKNnHUDTZs/IWSdHkjZCzv3PqnDNe3qJZ0VQ+oSonmjweD2SJUpFNV155JcLCwvDkk09i7ty5KCoqwsKFCyFf7vPmzYPEfvDBB5g/f76pauIonwBFk+7ZcbqIpuKSEhzKKMC3m9KwYncGjmQWIiQoAM1qReDStvFmWlyNsCBHb56iyREur8EUTV4ROQqgaHKEy2swRZNXRNYBFE3WqKwCKZqsMFkHUTRZo7IKpGiywmQVRNFkhck6iKLJGpVVIEVTNRFNMnVu06ZNuPHGG/H888+b3ksHDx7EtddeiyVLlphu77t27UKvXr2wdOlS0+RMqpvkbzNnzrQ6Wc7UIIom3SN/OoimwqISJB/OxbebjuHnvdnILihCRGggOjeMRq/WcWiZFGmkk9NB0eSUWMXxFE26PCmadHlSNOnxpGjSYymZKJp0eVI06fKkaNLjSdGkx1IyUTTp8qRoqoai6cILL0S3bt0wZMgQ3HbbbWZ6nPRhysvLM9PkpFl4XFwc1q5di+HDh+Mvf/mL7llVzbJRNOke0N9bNMlKc6t+ycSCLWlIPpwDT3EJ4iKCcWGLWFzQIhYN48Ot+jGVRYWiSfdcoWjS5UnRpMuTokmPJ0WTHkuKJl2Wko2iSZcpRZMeT4omPZYUTbosJRtFUzURTfI2cnJy8MUXX5iG3x06dDDVTSKTDh8+jP79+6O4uBjLli0zFU/5+flo3Lgx7rnnHjRo0ED/zKpGGSmadA/m7yWaHnnkUaTleLBoWxqW7UjH3tR8BAYEoF5sKC5tl4DOjWqgZlSIX2+WoskvfKdsTNGky5OiSZcnRZMeT4omPZYUTbosKZr0eVI06TGlaNJjSdGky5KiqWKeVa5Hk7wdmUInjb5DQ0ORkJCArKwsHDlyBE2bNjXvVmTT5s2bUVBQYGTTeeedp39WVbOMFE26B/T3EE2vvPoa/nTvQ/h2UypW/pKJ1GwPQoMD0SopEn3axqN9/ShEhAT6/UYpmvxGeEICiiZdnhRNujwpmvR4UjTpsaRo0mVJ0aTPk6JJjylFkx5LiiZdlhRN1VA0/fYtFRYW4plnnkH9+vVNddNvh8iTv/3tbxg/fjyaNWumf2ZVo4wUTboH03XRtHsPnnxpJlpfciM27c9GbmGxafLdtUk0Lm4Vj2a1whEU6LwfU1lUKJp0zxWKJl2eFE26PCma9HhSNOmxpGjSZUnRpM+TokmPKUWTHkuKJl2WFE3VWDRJZdO+fftw+eWXm6lyF1100QnvNj09Hffee6+ZYnfDDTdAbpA7d+6MqKgo/bOsimekaNI9gG6Kpqz8IizadAgzv92AoLgGkJXmZHpcrzbxOLdJNOrFham+OYomVZygaNLlSdGky5OiSY8nRZMeS4omXZYUTfo8KZr0mFI06bGkaNJlSdFUjUWTTJH76aefMG7cOHz33XcICzvxhtrj8eCTTz7BpEmTzLQ66eN0yy23YNiwYfpnWRXPSNGkewDdEE3FJcDRrEIs2JKKn3Zl4EBaAYIDA9AwIRx928WjU8MaiI0I1n1jgBG2sorjww8/rJ67rIQbN27Ehx9+iIceesiV/a1btw5z5swxlZBuDIomXcoUTbo8KZr0eFI06bGkaNJlSdGkz5OiSY8pRZMeS4omXZYUTdVcNMlN2q233oqlS5eeUqkkokmWv3322WfNtLrU1FTT2+mtt97SP8uqeEaKJt0DWNmiSVaR2/p4KWwAACAASURBVH00D99sTMXaPZnIyCtCeEggzqofhd6t49GmbiTCgv3vx1QWFYom3XOFokmXJ0WTLk+KJj2eFE16LCmadFlSNOnzpGjSY0rRpMeSokmXJUVTNRZNMnUuJSUFV155pfnniiuuQHx8vHnHpQ3Bn3jiCfTr1w9jx441U1SkEuOVV17RP8uqeEaKJt0DWJmiKb+wGOv2ZWP+5mPYejAX+Z5iBHjyUCcgBX++7iI0SghT68dE0aR7XpSVjaJJlzFFky5PiiY9nhRNeiwpmnRZUjTp86Ro0mNK0aTHkqJJlyVFUzUWTfLWioqKIBdvL7/8MgIDAxEZGWnesUgoWYlOmoQ/9dRTaNKkCQ4ePIjdu3fj/PPP1z/LHGaU171hwwY899xzZsvw8HBTmSU9pGTISnqPPvoojh49ipCQEFx66aW47rrrkJeXh3fffddUcMXExJj3JkOaoss0QplmNGrUKIevBqBocoyswg0qSzRl5HmweFs6lm5Pxy9H88xrqBUdijbR2di9ch4effBe3TdSRjZWNOkipmjS5UnRpMuTokmPJ0WTHkvJJBXrDRo0QN++fXUTl5NNHlK2aNECvXv3dmV/L730Etq3b4+ePXu6sr9p06ahS5cu6N69uyv7e/rpp9GjRw9069bNlf1NnjwZffr0OX6dXdk7pWjSI0zRpMdSMknxxQMPPIDatWvrJi4n25gxYzBhwgSzUrwbY/To0aZtjtwnuzFGjhyJqVOnHncQlb3PESNGYPr06QgNDa3sXfmdPyAgwKxEFVAiZqaKjpycHCxYsADLli3Dzp07jYypWbMmmjdvbgTNOeecc9q9s+zsbDz22GOIjY01/6xYscLIntmzZ0Pej/zgL1++HP3790dubi7eeecd0/BcYuUDe80115j3Kz2nLr74Ymzfvh3/7//9P9xzzz0+XQRRNOmeItqiSRp8H8ooMFPlVu7OREpWIUKCAtC8VgQubZeAGvmH8N47bxo5WdmDokmXMEWTLk+KJl2eFE16PCma9FhSNOmylGwUTbpMKZr0eFI06bGkaNJlKdkomspnWi1Ek7w98WQiS6SKqaCgANHR0UhMTDT/Ph2HvMbvv/8e5513nmli/u2332Lo0KHYsmWLeS/yBEue9lx22WWQ1fNuv/12NG7c2EwRlKcycsH69ttvm/cqzc3lSzgpKQl///vffXq7FE0+YSt3I03RVFhUguTDuZi/6Rh+3puNnIIiRIQEonOjaPRuE48WtSOwZ/dOzJgxg6JJ4TCyGbgCxN+k+OGHH7By5UojyN0YFE26lCma9HhSNOmxpGjSZUnRpM+TokmPKUWTHkuKJl2WFE0V86zSokmEjKwkJxUBFY1atWqZcuDTdeTn55vpcK+99ppZ7WrTpk2mYmnHjh2oUaOGqWh69dVXzcpbUgX1z3/+E59++qkpG5dtmzVrZlbdky9iea++DIomX6iVv42WaMotLDYVTAs2p2L7kVxIE/C4iGD0aBmHC1rEokFcGKQoUc4ViiadY0jRpMOxNAtFky7PefPmYe/evaaa1Y1B0aRHmaJJjyVFky5LiiZ9nhRNekwpmvRYUjTpsqRoqsaiSRp+S1+iu+66q8x3KdMCpcpH5mSXF6N/utlllNe+Z88ePPLII5DV8aR31D/+8Q8zX33u3LmmDE9WyJMhUwGlekn6A4hsuvPOOxEXF2f6OA0cOBALFy7E2WefbaoGpIJLvpBl6qCTQdHkhJb3WH9Fk0xkTcv1YOHWNCzbno59afkIDAhAvdhQ9GmXgM6NaiAhKuT4C6Fo8n5MbCMommxJ2cVRNNlxso2iaLIlZRf30Ucfmd/gQYMG2W3gRxRFkx/wytiUPZp0eXLqnC5PiiY9nhRNeiwpmnRZUjRVY9EkFU0HDhwwYubkISJH+jZJtZM0CheBczoNee3S6Fsqk6QxeHJyMqRvk0gk6YFTlmiSqiaZbie9maQnU1BQED777DPccMMNpuJpwIABWL9+Pbp27Yqbb77Z0dulaHKEy2uwP6KpqLjEiCXpx7T6l0yk5ngQGhyI1kmR6NsuHm3rRZmpc78dFE1eD4l1AEWTNSqrQIomK0zWQRRN1qisAimarDBZBf3nP/8xLQsuv/xyq3h/gyia/CV44vYUTbo8KZr0eFI06bGkaNJlSdFUjUVTRW9NRJOs6iY/nFdffTWuuuoq/TNLKaO8VhFNN910k6m8atSokVlhbvPmzaYySabOyeoja9aswZtvvmn2KlLqxRdfNNVOEitPY6Wi6YsvvoBMdZBu9E6GiCZpJu7WaiPyntauXevaCoDSYF0k3LnnnusEi8+xUm0mUyBPWE0ltAYCGnUHgsMqzFss1Uw5haYvk0ydkxEcGICk6GA0ichE0P4Vp2yfmZlpBKUbU0SlZ5iITrea7KelpWHXrl2mas+NIZ8FqTbs1KmTG7szwnn//v3o0KGDK/uTPnYy5VhWM3JjyL5SUlLQrl07N3ZnVheVc6ZNmzau7E+OnXz+Wrdu7cr+9u3bZxaMaNmypSv7k8+CTNGW1bbcGCLppcJIpoS7MaSaWH6DmzZtWum7k8VKZHVc6bfoxpAHEMHBweaawo0h1zHSc7Jhw4Zu7A7btm0zq/zI6sJuDOmhKVXj9erVc2N35hpQqtfr1Knjyv5k1WIRhW6tRCXXZDLrwNeWD06hyEMkOXZOK/6d7qc0Xq5x5bPg1kpbco8gK2zLOePGWLVqlVl0SRYpquwh9zetWrVyre+uLMbUtm1b077EjSGzc8466yzXVi2TggW5xo2IiHDj7UEeOMo9g/w+uDGWLFli7r/cWpVt8eLF5n5Wfm/dGNKLVNqluPX+/HlPVbpHk7c3LhersoqbNNoWUXM6DRFFTz31lJkuVyqapC/TlClT0LFjR1x//fX405/+ZPpwpKammp5Nw4cPx6hRo8xF/+eff45vvvkGDz/8sJlCJ6vTyY+oVEhJ1dNzzz3n6O3KzfXf/vY3I7vcGBkZGeY9DBkyxI3dmRvPr776CoMHD3Zlf8JTzjs5jqXjWH4QPtwVDQT+OuXN0YspKUFiaB4GNsk6ZTORB3Lc//CHPzhK6UuwTOmUH41rr73Wl80dbyM38nKRIcLYjSH9b+QCURrvuzHkRlekpDT+d2PIza7coPXr18+N3RkpKaJQVgB1Y4hwFRnj1hLkcuzk83fRRRe58fbMAxT5TXCrSld+V+Q3xq2HEHKzJL9xslCGG0NulqSq2I0l1uXmRSqR3ZL0P/74o7mwd0vSy++C3Ji5Jc3l4j4+Pt41aS4X9yJF5AbUjSG9N0WiyQ22G2P+/PlGVIg8cGN8/fXXRpi7IXnl/cjsBzl2boleucaVm/kGDRq4gdPMcJCHjW6J0I8//tj8LogsrOwh93KySJJbUvKDDz7AJZdc4pokfO+998x9nFuSUPoCyzVuTExMZR86k1/av0irl6ioKFf299Zbb5kCDLdEmlTXyoJebokf6eksM5nc2p8/B63aiiaZmiY3qM8884y56Zg5c6Y/nNS3FdEi09vkIkleq4gnefJx//33m6cD0hRcJJJMg5O/S78p+f9y0SE3wU888QT++te/mr+LRLnjjjvMBaVUR9x9992ObyI5dU73EJc1dW5vaj4mfLbLrBrny5AeTW3rRmL8Fac+DefUOV+Ilr0Np87psZRMnDqny5NT53R5cuqcHk9OndNjKZnkAalUnsoNthuDU+d0KXPqnB5PTp3TYymZxo4diwceeMC16kVZdXjChAmuibvRo0dj0qRJrok0aXczdepU1yrSRowYYWYuUTTpfi5OySYCRp7OP/roo2X+TWSOlDrLF5T0MTqdhlRbSemiVBbIkJNFnlCXPmmRKXFinGWEhISYpxTyJEaqn0SgyVPf0umAkuvnn382Akrsrfx3p+WeFE26Z0dZokkE0897s1Hg+e90uNIhjb8PZxXg6w2pyC0oMv2YWiZF4LymMWbKXOmQ1eXiI0NwVv1TnwhQNOkdP4omPZYUTbosJRtFky5TiiY9nhRNeiwlE0WTLs/JkyebxYE6d+6sm7icbBRNepgpmvRYSiaKJl2eFE3l86zSFU0iXWSOt5Sr/XZIDwTpzyH/lidBMj1LKoc4yidA0aR7djhpBp6R58HnPx81okkagTdMCMOw8+ugVVIEAn8jmip6hRRNesePokmPJUWTLkuKJn2eFE16TCma9FhSNOmylGwUTbpMZZbFjTfe6MrUToom3WNH0aTLk6KpmoomeVvSmFiaqP12yDQzaZ4o/5YKIafVPbqnX9XIRtGke5xsRVO+pxirdmfinR8PIS3Hg7jIYAzsXAu9WschyFIyySunaNI7fhRNeiwpmnRZUjTp86Ro0mNK0aTHkqJJlyVFkz5PiiY9pvfeey/GjRvnWn8tiia9YyeZKJqqsWiS6XOyKo4Ip982oJT/LisByRQzt5q06p627majaNLlbSOaiotLsPtYPt5aehDbDucgIiQQ5zePwR+7JiE6PMjRC6JocoSrwmCKJj2WFE26LCma9HlSNOkxpWjSY0nRpMuSokmfJ0WTHlOKJj2Wkok9mnR5+pOtSk+dkzdeUFCAO++8E7169TplBTPp0SR/kyZkbqwo48+B+L23pWjSPQI2oulYdiE+WpWCRdvSzM6b14rAiAvroFFCuOMXQ9HkGFm5G1A06bGkaNJlSdGkz5OiSY8pRZMeS4omXZYUTfo8KZr0mFI06bGkaNJl6W+2Ki2apGopOTnZLLP+ySefoEWLFifwEAn1yCOPmFXbymoY7i+86rQ9RZPu0fQmmnILi7E0OR2zVhxGVn4REmuEYHC32ji/WSyk6bfTQdHklFj58RRNeiwpmnRZUjTp86Ro0mNK0aTHkqJJlyVFkz5PiiY9phRNeiwpmnRZ+putSosmaQa+ZMkS/POf/8S33357CouioiLMnTsXb775Jt5//31/WVXr7SmadA9vRaLJU1yC5MO5eGPJAexNzUdUWBB6t4nHgE6JiAgN9OmFUDT5hK3MjSia9FhSNOmypGjS50nRpMeUokmPJUWTLkuKJn2eFE16TCma9FhSNOmy9DdblRZNUqm0adMmXH311ViwYAEaNmx4Ag+paJJKpgMHDuCVV17xl1W13p6iSffwlieaSgCkZBbi3Z8OYfmuDAQHBqBdvSgM614HdWJCfX4RFE0+oztlQ4omPZYUTbosKZr0eVI06TGlaNJjSdGky5KiSZ8nRZMeU4omPZYUTbos/c1WpUWTvHnpwzRs2DBERUWhf//+SExMNEyk2kluGKWa6V//+hduuOEGf1lV6+0pmnQPb3miKTu/CPM3p+LTNSmQFefqxIThpvOT0LFBDZ+mzJW+aoomveNH0aTHkqJJlyVFkz5PiiY9phRNeiwpmnRZUjTp86Ro0mNK0aTHkqJJl6W/2aq8aBKhtHLlSkydOhUbNmxAwG8a3Mj/7tevH+655x7UqlXLX1bVenuKJt3DW5ZoKiwqwYb92Xhz6QEcySw0K8td0aEm+revidBgHxoz/eYlUzTpHT+KJj2WFE26LCma9HlSNOkxpWjSY0nRpMuSokmfJ0WTHlOKJj2WFE26LP3NVuVFkwAQ2bRx40YjmrZv3478/HzUq1fP/NO1a1fUrVvXX07VfnuKJt1DfLJoKikBDmbk462lh7BuXxZCgwPRuWEN3HR+HcRHBfu9c4omvxEeT0DRpMeSokmXJUWTPk+KJj2mFE16LCmadFlSNOnzpGjSY0rRpMeSokmXpb/ZqoVoEgjSr0lu7g8ePIjo6Gg0b94cYWFh/vI5Y7anaNI91CeLpoy8Inz+cwq+3nAMRcVAo4Qw3HxBHbRMilTZMUWTCkaThKJJjyVFky5LiiZ9nhRNekwpmvRYUjTpsqRo0udJ0aTHlKJJjyVFky5Lf7NVedEkgmnnzp147bXXsGbNGlPddMEFF+DBBx/E/v37MWPGDDN1rkaNGv6yqtbbUzTpHt7fiibpxbRydyZm/ngIaTkexEUG4w/n1MLFreIQFOjflLnSV03RpHf8KJr0WFI06bKkaNLnSdGkx5SiSY8lRZMuS4omfZ4UTXpMKZr0WFI06bL0N1uVF02ystzYsWNNn6Zu3bohJycHIk3k4lH+fffdd2P48OGmVxNH+QQomnTPjlLRNHHi49h9LN/0ZUo+nIuIkEB0bx6LQV1rmx5NWoOiSYskK5r0SP430w8//GC+n8eMGaOdusx8ixYtMlOpR48e7cr+vvvuOyQnJ2PUqFGu7G/evHnYu3cvbrnlFlf29+WXXyIlJcUsuuHG+Oyzz5CVlYUhQ4a4sTtzreDxeDBo0KBK39+sWbMQHByMgQMHVvq+ZAfvvvuuecgmK/O6MSiadCm/9NJLaN++PXr27KmbuJxs06ZNQ5cuXdC9e3dX9vf000+jR48e5trdjTF58mT06dMHnTt3dmN3ePzxx3HVVVehQ4cOruzvkUcewXXXXYd27dq5sj+KJj3MFE16LCWTXP9NmjQJMTExuonLyTZy5EjTKzoyUmeWircXPWLECEyfPh2hob6vVu5tH1p/r9KiSaqZtm3bhiuuuMKcUPLjsXbtWrzxxhv4+OOPzcXjzJkzsX79evN3jvIJUDTpnh0imp5/4QX87aFHMHtVCr7flmZ20LxWBG65sC4aJuhO6/QmmoqP7UXOty9av8mgmo0Q0fuOMuO3bt1qPldykeHGEGnw4Ycf4qGHHnJjd5w6p0yZokkXKEWTLk+KJj2eFE16LCUTRZMuT4omXZ4UTXo8KZr0WFI06bL0N1uVFk0yTW7JkiV44IEHMH/+fAQFBUGeZj/77LNGNBUVFWHhwoXmx/r999/3l1W13p6iSffwimh66plpuHrUeHyw4jCy8otQs0YIhpybhPOaxuA3iyOq7NibaPLs24CMl+0rEoIbdkTMqDcomlSOTsVJVq9ebb6/5ELDjbF8+XLzvSmVoG4MiiZdyhRNujwpmvR4UjTpsaRo0mUp2SiadJlSNOnxpGjSY0nRpMvS32xVXjRJX6abb77ZTM+IiIg4QTQVFhbixRdfNBVNUmLGUT4Biibds+OXvfvwjykvI6nnzdiXmo+osCD0bhOPAWcnmulz2oOiSY8oezTpsZRMFE26PCmadHlSNOnxpGjSY0nRpMuSokmfJ0WTHlOKJj2WFE26LP3NVqVFk7z5o0eP4vrrrzdzoAcPHgy54X799dfx/PPPmz4djz76KO6//37zNw6KpilTplT6aVACYPfBVPx9xrcITGqL4MAAtKsXheHd6yAppnLm01I06R1WiiY9lhRNuiwlG0WTLlOKJj2eFE16LCmadFlSNOnzpGjSY0rRpMeSokmXpb/Zqrxokulxc+fOxTPPPGMagefn52P37t3o1KkTpFH4ueeea0RTYmKiv6yq9fasaNI7vNn5RZi34Sg+WL4fAcGhqBMThmHdk9Chfg31KXOlr5qiSe/4UTTpsaRo0mVJ0aTPk6JJjylFkx5LiiZdlhRN+jwpmvSYUjTpsaRo0mXpb7YqL5oEQG5urlnVSP5JS/tv0+WAgAA0b94cF110ERo2bOgvp2q/PUWTziEuLCrB+n3ZZpW5lKxCs7LclR0T0a9dAkKDA3R2UkYWiiY9tBRNeiwpmnRZUjTp86Ro0mNK0aTHkqJJlyVFkz5PiiY9phRNeiwpmnRZ+putSosmWXVOqpd27tyJ3r17myWRRTqViiZZ1lduwDdt2mSW/OQonwBFk/9nR0kJcDAjH28uOYj1+7MRGhyIzo1q4Kbz6yA+Mtj/HVSQgaJJDy9Fkx5LiiZdlhRN+jwpmvSYUjTpsaRo0mVJ0aTPk6JJjylFkx5LiiZdlv5mq9KiSVadkyqmO++8E/3798dtt92GRo0aQQSUVDZJryaZVteyZUvTs4mDoqkyezRl5BVhztoUzNt4DIWeItSKBP7Stzla1I6o9FOPokkPMUWTHkuKJl2WFE36PCma9JhSNOmxpGjSZUnRpM+TokmPKUWTHkuKJl2W/mar0qJJhJI0A3/llVcgF4u1a9fGsGHDEBsbi7feesusdnTxxRdj+PDhuOSSS/xlVa23Z0WTf4c331OMlbsz8c6yQ0jP9QAFWWhQuAOP3TkYQYGVN2Wu9FVTNPl3/H67NUWTHkuKJl2WFE36PCma9JhSNOmxpGjSZUnRpM+TokmPKUWTHkuKJl2W/mar0qJJ3rzIptTUVPz000+YNWsWli1bhsjISISEhOCmm27CpZdeiqZNmyI0tHJW+/L3AJwu21M0+X4kiotLsPtYPt5YcgDbj+QiIiQQjcIzkb3+CzzxyD99T+xgS4omB7C8hFI06bGkaNJlSdGkz5OiSY8pRZMeS4omXZYUTfo8KZr0mFI06bGkaNJl6W+2Ki+aSmVTcnKyWV1u9uzZCAwMRNeuXfHSSy+hc+fO/jI6I7anaPL9MKdme/DBysNYnJxukrSoFYFLGxXi03dfwxNPPOF7YgdbUjQ5gEXRhCVLlmDs2LF60CrItHTpUqxatQpjxoxxZX+LFi3Cxo0bMXr0aFf2991330F+f0aNGuXK/ubNm4e9e/filltucWV/X375JVJSUky1sBvjs88+M/0WhwwZ4sbuTDW0x+PBoEGDKn1/8jAsODgYAwcOrPR9yQ7effddSK/Kq6++2pX9UTTpYpZr2Pbt26Nnz566icvJNm3aNHTp0gXdu3d3ZX9PP/00evTogW7durmyv8mTJ6NPnz6u3Rc8/vjjuOqqq9ChQwdX3t8jjzxi+tG2a9fOlf1RNOlhpmjSYymZ5Ppv0qRJiImJ0U1cTraRI0di6tSpptDFjTFixAhMnz69ShTRVHnRJL2Y5syZY6bKHThwwFxQyRS6Dz74wBzwAQMGmAtI+W8c5ROgaPLt7MgtLMaS5HTMWnEY2flFqFkjBDeel4Q6gWl48cUXKJp8w3rCViINPvzwQzz00EMK2bynYEWTd0ZOIiianNDyHkvR5J2RkwiKJie0Ko6laNJjKZkomnR5UjTp8qRo0uNJ0aTHkqJJl6W/2aq0aCptBi5mT576DB48GBdeeCGioqKwYsUKU920YMECY/jlC5GDokmzGbinuATJh3IxY8kB7E/LR1RYEC5pG48BnRJx+MBevPACRZPGZ46iSYPirzmWL1/uakWT9MqTRRtY0aRzHCmadDiWZqFo0uNJ0aTHkqJJl6Vko2jSZUrRpMeTokmPJUWTLkt/s1V50bR+/XrMnz8f/fr1M6vLlfZikt5Nu3fvxvfff48jR45g3Lhx/rKq1tuzosnZ4S0BkJJZiHd+PGiagAcHBqBdvSjcfEEd1I4OxS+//ELR5AxpudEUTUog/5eGokmXJ6fO6fLk1Dk9npw6p8dSMsnCMy1atEDv3r11E5eTjRVNupgpmnR5UjTp8aRo0mNJ0aTL0t9sVVI0ZWZmmgbgjRo1QnZ2tumvICvNnTxENklviW3btuGCCy7wl1W13p6iydnhlWly32xKxWdrUyArztWJCcPw7nVwVv0oBASAoskZzgqjKZoUYQKgaNLlSdGky5OiSY8nRZMeS4omXZaSjT2adJmyR5MeT+n5++c//9ncZ7oxKJp0KbNHky5Pf7JVOdEk0+XWrFljejBNnDjRvHcRSocOHcLOnTtPaGIosatXrzZT6B577DF/OFX7bSma7A9xYVEJ1u/LxhtLD+BoViGiw4NwZcdE9GuXgNDgAJOIFU32PL1FUjR5I+Ts7xRNznh5i6Zo8kbI2d8pmpzxqiiaokmPJUWTLkuKJn2eFE16TCma9FhKJmmdMGHCBCQkJOgmLicbRZMrmK12UiVFk6wqJE9CPvnkE/MmRSjJzdM777xjur6XjqKiIixcuBDPPfecWVmGo3wCFE12Z0dJCXAwIx9vLDmIDfuzERociM6NamDY+XUQFxl8PAlFkx1PmyiKJhtK9jEUTfasbCIpmmwo2cdQNNmz8hZJ0eSNkLO/c+qcM17eolnR5I2Qs79TNDnjVVE0RZMeS8lE0aTLk6vO6fI8IZtIpbJEkwilZ599Fh9//DFFkw/8KZrsoGXmFeHTNSn4ZtMxFBUDDRPCcGuPumheK+KEBBRNdjxtoiiabCjZx1A02bOyiaRosqFkH0PRZM/KWyRFkzdCzv5O0eSMl7doiiZvhJz9naLJGS+KpgdcW5Gdoknv3JRMFE26PCmaKpFnaWqKJu+QpRfTyl2ZePvHQ8jI9SA2IhiDutZGz5axCAr875S50kHR5J2nbQRFky0puziKJjtOtlEUTbak7OIomuw42URRNNlQso+haLJnZRNJ0WRDyT6GosmelbdIVjR5I+Ts7xRNznh5i6Zo8kbIj79LRZNUL8lcT1k+Xob8t1WrVuH111/H888/fzy7/HdZVlumzXHqXMXQKZoq5lNcXILdx/IxY/EB7EzJRXhIIC5sEWtEU42woFM2pmjy40N+0qYUTXosJRNFky5PiiZdnhRNejwpmvRYSiaKJl2eFE26PCma9HhSNOmxlEwUTbo8KZp0eZ6QTeTRggULMGjQIJx11lnH/5aeno69e/eiffv2J8RnZWWZVQMomiia/v3vf2PKlCk+nZ2p2R7MWnEYS7anm+1lqtxtPeuiflxYmflsRFNx6n7kfPVvq9cTGN8Akf3Hlhu7Y8cOzJgxA48++miZMZ59G5Dx8jCrfUlQcMOOiBn1RpnxW7duxcyZMyFL27oxKJp0KVM06fKkaNLlSdGkx5OiSY8lRZMuS8lG0aTLlKJJjydFkx5LiiZdlpKNokmf6fGMssLc9u3bTTVTSkqK1z0FBQXhsssuw+DBg73GuhkgwkxWyfvrX/9qdhsREYE777wT5513nvn/mZmZuO+++3DkyBGEhobiiiuuwLBhw5Cbm4vXXnsNcnMTFxdn/reMgoICLF68GGvXrsU999zj+K2woql8ZLmFxVi8LQ0frDyC7Pwi1KwRofLMaQAAIABJREFUgqHnJaFbkxgEnDhj7ngSG9FUdHAL0l8YYnWsguu1Rczod8qNpWiywmgVtG7dOsyZMwfjx4+3ivc3SFbGnD9/PmR5WzeG26Jp6dKlpuJUnmi5MaSHn8hJWXXEjUHRpEuZokmPJ0WTHkvJxIomXZ4UTbo8KZr0eFI06bGUTKxo0uVJ0aTL85Rs+fn5RsCIdPE2AgICTLOzmJgYb6Gu/j07OxuPPfYYmjRpYpZ7XL9+PZYsWWIqRSIjI/Hkk09C5MF1110HqcqSahyRaxIrH9jbbrsN3377LQYOHIj+/ftDqkzkvz/++OPo1q2b4/dC0VQ2Mk9xCZIP5+K1xQdwIC0fUWFBuLRtPK7plGimz5U3KJocn4LlbsCKJj2WkomiSZcnRZMuT4omPZ4UTXosKZp0WUo2iiZdphRNejwpmvRYUjTpspRsFE36TKtdxsLCQvOUv0OHDggPD0dycjLOP/98I48aNGiA7t27Y/r06ejduzcyMjJMtVN8fDwGDBhgfpzfe+89I6Xy8vJw0003Ydy4cejUqRPuuusun1idiaIpLceDWSsPmyql8kZxCZCe48GOlFyUlAAhQQGoHx+GxBohCAwIQMP4MAw8p9Ypm1M0+XQalrkRRZMey99DNP3www+mVx4rmnSO47x588w08VtuuUUnoZcsX375pakelopaNwZFkx5liiY9lhRNuiwpmvR5UjTpMaVo0mNJ0aTLkqJJn2e1zyjT6DZv3owePXqY6W8iff7whz9g165dprpJZJJMkRO5JJVOf//7383UnldffRUirOrXr2+klUz1ERnlyzgTRdOB9AI8MHs7CotKfEFmps01TYzAhAFNKZp8Imi3EUWTHSfbKLcrmiiabI+MXRxFkx0n2yjp3+jxeEzfx8oes2bNQnBwsKlEdmNQNOlS5tQ5XZ6saNLlSdGkx5OiSY8lRZMuS4omfZ7VPqNMAZw6daqRRVLFJD1GRo4ciUOHDpn3LqLp7bffNv0BPv74Y1PdJIJJ+lVJNdNXX32Frl274uuvv0ZsbCwmT56MWrVOrbKpCOSZKJoOphfg4U93IquCiqaKmElFU6ukCDx4VROKpkr8lFI06cKlaNLlyalzujxZ0aTHk6JJj6VkomjS5UnRpMuTokmPJ0WTHkuKJl2WFE36PKt1RhFG0ghYejA988wzaNmyJebOnVumaJIKJql4kmbFe/bsgVRCiZi6++67TW+mv/zlL1ixYgWaNWuGO+64wxG3M1E05XuKsfVgDgp+U9Ek0+MOZxZg7vpjOJZdaBiGBQeiY4Ma6NEy9gSmUtEUHR6MlrUjKJocnW3OgimanPHyFk3R5I2Qs79TNDnj5S2aoskbIfu/UzTZs7KJpGiyoWQfQ9Fkz8omkqLJhpJdDEWTHSfbKDYDtyVlF8ceTXaczvgokUzffPONmQ43YcIEXHTRRSgqKoJMNZHSernBlsokqXh68cUXzf8X2SRDGoQ/9dRTZuW5Pn364MYbb8RPP/1kJNWnn356fDU6W8gimqTPk/SMcmNIQ/dt27bhrLPOcmN3pipMVits3759+fsLDAKikpBT+xzsTi9BXmEx4MlHYMpmJObvRP24MOvXKsdMVhVs165dudskFKViQNYXVjmPBiXg0xqXlxubk5OD3bt3o23btmXG1Co6iquy5lrtS4IOByXi8xr9y4yXRvbSI6Z169bW+fwJlBUYDxw4gFatWvmTxnpb6Ykm1YQifd0Y6enpZnGDFi1auLE7pKWlmem5IqTdGKmpqWafTZueOsW0MvZ/9OhRs2qnLLTgxpD+RfKZaNy4sRu7O74QRqNGjVzZ3+HDh82qptI70I1x8OBB8zsoU8LdGPLdItXB9erVq/Td7d+/H7JASd26dSt9X7KDffv2QVberVOnjiv7k98FWSVXFmBxY0gvRFmx12kFt6+vTX5jo6KikJiY6GsKR9tJ+4To6GjUrFnT0Xa+Bss1i1xT+tqCwel+5ZpM3pvs040hvVDlXJHKfzeGXOMmJSW5thiRLAok3y1yzrgxtmzZYn4X5DNR2WPTpk3mN1baibgx5H5Lrlnk+8WNsWHDBjRv3tz07HVjyAJUco0bFmZ/X+PP65ICiTZt2iAkJMSfNNbbygrscr8nU9XdGGvWrDH3z/J768aQ1apnzJhhfm9P9xEgFz0AAkrkSovDNQKllUxSiSS9lS677DKzbzkMcjEq/SKGDx9uluiWm0JZWe5Pf/oTbr31VoikmT17NmTZ8H/961+mWfill14K+aL65JNPzH9/9tlnHb0X2Ye8jttvv93Rdr4Gy8219KuQKYJuDHl/wqa8BroFnmJsPpiLhbsK4IlIAgKDTLVSr5bRaBGdC+SmOnqZIg6kia4cw/JGaPoe1F8wwSpvflxj7L/4wXJj5eZMpKVMpSxrhKXuRL1FE632JUH5Cc2wv+f4MuPl/Fy4cCGGDBlinc+fQKneE/n6xz/+0Z801tvKxb1UBl5//fXW2/gTKKtL/vzzz7j22mv9SWO9rVz8ykXbNddcY72NP4HSf05uKK688kp/0lhvK9+Dcs6Ufqdab+hjoBw7+fz169fPxwzONpMLGpFp8p3vxpBG7iLuevXq5cbuzAMTeTAgD17cGMuWLTNi68ILL6z03cnKsnIhKgt/uDFkGr7cuJx77rlu7A4LFiwwN7ldunRxZX9SDS6i4uyzz3Zlf9KeQKRdx44dXdmfPDgUoVzRAyvNF/L555+bm125IXRjyENReTjm1kMd6ccmi+a49ZDlgw8+MG0t3Hro8f7775uFhBo2bOjG4YNUTF588cWuSHppHyIP1d2S5m+99RYuv/xy1yT266+/bhZ7kpXF3RhStCD3mW5JV5l9I/cMbklQKc64+eabXROT06ZNw6hRo1wTd3KPL8eQosmNT0sV3YfIIbmRlRv20hsiOWHkZmzo0KGQ6RgyFU4uMEQGylODBx980DxJkwv/J554AhMnTjQ/0iJtZLU5ufmQJ+sPP/yw+fJ3Ms7EqXOlfKRyafmuDDNdbs+xfJSgBAlRIbiyY02c2yQGcZHOjThXnXNy9lUcy6lzeiwlE6fO6fLk1Dldnpw6p8eTU+f0WEomTp3T5cmpc7o8OXVOjyenzumxlEycOqfLk1PndHlWy2xS0SSSSaY8lQ550imlmiKXpGpJmnzLkNI/EUryN+nLJNUyUiLbs2dP83d5GitVCvLfpAxSngQ7Lfc8U0VTVl4RvtuSioVb03AoowABCEC9uFAMODvR9GWKCvOtDJKiSe9jS9Gkx5KiSZelZKNo0mVK0aTHk6JJjyVFky5LyUbRpMuUokmPJ0WTHkuKJl2Wko2iSZ8pM1YygTNNNMlE0dQcD75cdxTLdmYgNbsQwUEBaF4rwkim1nUiTRNwXwdFk6/kTt2OokmPJUWTLkuKJn2eFE16TCma9FhSNOmypGjS50nRpMeUokmPJUWTLkuKJn2ezOgCgTNJNBXLynIZBfh4zRGs2ZMFqWoKDQ5Eh/pRZrpcs1oRCA40vct8HhRNPqM7ZUOKJj2Wv4dokp5xq1atMqXTbgzpSyPnjPS3c2OwokmXMkWTHk+KJj2WFE26LCma9HlSNOkxpWjSY0nRpMuSokmfJzO6QOBMEU1PTpqMnSl5+Gj1EWw5mGNWlosICcQFLWLRt10C6sWFwU/HZI4WRZPeSUvRpMeSokmXpWSjaNJlStGkx5OiSY8lRZMuS4omfZ4UTXpMKZr0WFI06bKkaNLnyYwuEDgTRNOTk5/CLeP+hc/WpmD74Vx4ikvMynJ92sWjZ8s41I7WW3aToknvpKVo0mP5e4gmWTFQFjBgRZPOcZw3bx5kGfnyVtDU2cuvWWT1zJSUFAwbNkw7dZn5KJr0MFM06bGkaNJlSdGkz5OiSY8pRZMeS4omXZYUTfo8mdEFAtVeNB1Kwd+ffgv1zrsWe47loQRAfGQIru6UiG5Non1aWa6iw0LRpHfSUjTpsaRo0mUp2VjRpMuUokmPJ0WTHkuKJl2WFE36PCma9JhSNOmxpGjSZUnRpM+TGV0gUJ1Fk/Rg+nr9Ecz+IRkBEQkICPjvynLXdk5Eh/q+ryxH0fSwC2cmTL+dDz/8EA899JAr+1u3bh3mzJmD8ePHu7K/1atXY/78+bj33ntd2d/y5cuxZMkSjB071pX9saJJFzMrmnR5fvTRR/B4PBg0aJBu4jKyzZo1y6wiO3DgwErfl+yAokkX8yuvvIIWLVqgd+/euonLyfbSSy+hffv2x1cYruydTps2DV26dEH37t0re1cmP1ed08VM0aTHk6JJjyVFky5LiiZ9nszoAoHqKJpKV5b7Yt1R/Lgj3awyJ02+m9eOwLX/W1lOmoBXxmBFkx5ViiY9lpKJokmXJyuadHmyokmPJ0WTHkvJRNGky5OiSZcnRZMeT4omPZYUTbosKZr0eTKjCwSqm2gyK8tlFuCjVUewVlaWy/91ZbmrOiWiaWL4KSvLFacfRPZnE61oB8bWRdTV5Ve8UDRZYbQKomiywmQdRNFkjcoqkKLJCpN1EEWTNSqvgRRNXhE5CqBocoTLazBFk1dEjgIomhzhqjCYokmPJUWTLkuKJn2ezOgCgeokmoqKS7ArJQ+zf7OyHIoKkFh0EPcN6Y265awsV3RkB9Kfu96KdlDt5ogdM6vcWIomK4xWQRRNVpisgyiarFFZBVI0WWGyDqJoskblNZCiySsiRwEUTY5weQ2maPKKyFEARZMjXBRNDzyA2rVr60GrIJMsBjNhwgQkJCS4sr/Ro0dj0qRJiImJcWV/I0eOxNSpUxEZGenK/kaMGIHp06cjNDTUlf35s5MA6VcDIKCkRCYacZypBKqLaCosKsGG/Vn4dM1R7Djy68pynRILkbz4I0x59MFyDzFF069oght2RMyoN8pktXXrVsycORMPP8weTRrfF+zRpEHx1xyLFi0yfb3kQsONQdGkS5miSY8nRZMeS8lE0aTLk6JJlydFkx5PVjTpsZRMFE26PCmadHkymwsEqoNoyissxvJdGfhy3THsTf11ZblrOiWiflgmXntxKqZMmULRZHE+UTSxGbjFaWIVwmbgVpisg9gM3BqVVSCbgVthsgr6z3/+g8TERFx++eVW8f4Gvf7662jQoAH69u3rbyqr7SmarDBZB1E0WaOyCqRossJkFUTRZIXJOoiiyRqVVSBFkxUmBp1OBKq6aJIeTN9uSsXCrWk4nFFwfGW5gZ1r4awGUUhPOYR///vfFE2WJx1FE0WT5aniNYyiySsiRwEUTY5weQ2maPKKyDqAoskalVUgV52zwmQdNHnyZPTp0wedO3e23safwMcffxxXXXUVOnTo4E8a620pmqxReQ2kaPKKyFEARZMjXF6DKZq8ImLA6UagqoommfCZluPBnP+tLCf/u3RluYGdE9EqKRKystz+/fspml4eZn3aUTRRNFmfLF4Cly5dilWrVpnSaTcGp87pUv7yyy+RkpKCYcPsvz/8eQWcOucPvRO35dQ5PZaSiRVNujxZ0aTLk6JJjydFkx5LyUTRpMuTokmXJ7O5QKAqiqbSleVmrzqCn3+zslzH+lGQleWa/GZlOYqmDcigaLL6JK1btw5z5lA0WcGyCKJosoDkIIQVTQ5gWYSyoskCkmUIK5osQVmGsaLJEpRlGCuaLEFZhkmfzhtvvBGtWrWy3ML3sAcffBC33normjVr5nsSB1tSNDmAZRFK0WQByUEIRZMDWAw9PQhUNdEkK8vtlJXlVh3BloM5yPcUIzwkED1axKJf+wTUiQ1DoOlz/99B0UTRZPtJo2iyJWUXx6lzdpxsoyiabEnZxVE02XGyiaJosqFkH0PRZM/KJpKiyYaSfQxFkz0rb5H33nsvxo0bh3r16nkLVfn72LFj8QBXnVNhKUm46lz5KLnqnNppVrUTVSXRVLqy3CdrUrDzSB48xSWIDg9Cv3YJ6NkqDok1Qk45GBRNFE22n1CKJltSdnEUTXacbKMommxJ2cVRNNlxsomiaLKhZB9D0WTPyiaSosmGkn0MRZM9K2+RFE3eCDn7u6w6PGnSJMTExDjb0MdoiiaKJh9PnTNns9NBNGXkevCfZYeQleepELxMmUvL9eBAWj7kf8sICQpA/fgwtK8XhSHnJlE0nUTAs4+iyfbTTNFkS8oujqLJjpNtFEWTLSm7OIomO042URRNNpTsYyia7FnZRFI02VCyj6FosmflLZKiyRshZ3+naHLGqzKjWdFUmXSrUO7TQTQdzizA3z7YDqlY8mXITLmGCeGY+IdT53CzoomiyfacomiyJWUXR9Fkx8k2iqLJlpRdHEWTHSebKIomG0r2MRRN9qxsIimabCjZx1A02bPyFknR5I2Qs79TNDnjVZnRFE2VSbcK5T4dRFNKViEe+ngHMvOKfCIXGBCA5rXD8c+rm56yPUUTRZPtSUXRZEvKLo6iyY6TbRRFky0puziKJjtONlEUTTaU7GMomuxZ2URSNNlQso+haLJn5S2SoskbIWd/p2hyxqsyoymaKpNuFcp9OogmqWTafiQXnpMqmvIKi7E4OR0rdmUYoqFBATirQQ30bh2HkKDA45QDAoDI0CA0TQynaDqJAKfO2X8YKZrsWdlEUjTZULKPoWiyZ2UTSdFkQ8kuhqLJjpNtFEWTLSm7OIomO062URRNtqS8x1E0eWfkJIKiyQmtyo2laKpcvlUm++kgmsqClV9YjKXbM/DxmiM4mlVoJFOnhtG4rkst1Is7cWW5imCzookVTbYfRoomW1J2cRRNdpxsoyiabEnZxVE02XGyiaJosqFkH0PRZM/KJpKiyYaSfQxFkz0rb5EUTd4IOfs7RZMzXpUZTdFUmXSrUO7TUTSVSqZP1x7BkcxCBAcFoG2dKNx0fhLqxYdBejLZDoomiibbc0VE0+eff47777/fdhO/4lavXo358+dDLjTcGMuXL8eSJUsgy9u6MSiadClTNOnypGjS40nRpMdSMlE06fKkaNLlSdGkx5OiSY+lZKJo0uXpTzaKJn/oVaNtTzfRVJZkap0UiRvOTUKTxHBHkkkOE0UTRZPtx5WiyZaUXRxFkx0n2yiKJltSdnEUTXacbKIommwo2cdQNNmzsomkaLKhZB9D0WTPylskRZM3Qs7+TtHkjFdlRlM0VSbdKpT7dBJN0qtp9S+ZeG/5YRzKKEBwYABa1xHJVBuNa0Yg0Ekp0/+OAUUTRZPtx5GiyZaUXdzSpUuxatUqjBkzxm4DP6MWLVqEjRs3midabozvvvsOycnJGDVqlBu7A0WTLmaKJj2eFE16LCUTRZMuT4omXZ4UTXo8KZr0WEomiiZdnv5ko2jyh1412vZ0EU0imdbsycQHK45gf1o+ggID0KpOJIb4IZnkMFE0UTTZflwpmmxJ2cVRNNlxso2iaLIlZRdH0WTHySaKosmGkn0MRZM9K5tIiiYbSvYxFE32rLxFUjR5I+Ts7xRNznhVZjRFU2XSrUK5TwfRdLJkCgwMQKOEcAzrnoQWtSN9qmQqPQQUTRRNth9HNgO3JWUXx6lzdpxsoyiabEnZxVE02XGyiaJosqFkH0PRZM/KJpKiyYaSfQxFkz0rb5EUTd4IOfs7RZMzXpUZTdFUmXSrUO7fWzSJZNqwPxvv/njIVDKVSqYbz0tCq6QIU9nkz6BoomiyPX8ommxJ2cVRNNlxso2iaLIlZRdH0WTHySaKosmGkn0MRZM9K5tIiiYbSvYxFE32rLxFUjR5I+Ts7xRNznhVZjRFU2XSrUK5f0/R5CkuwdaDOXjnx0P45WieumSSw0DRRNFk+3GkaLIlZRdH0WTHyTaKosmWlF0cRZMdJ5soiiYbSvYxFE32rGwiKZpsKNnHUDTZs/IWSdHkjZCzv1M0OeNVmdEUTZVJtwrl/r1E05R/P20k07s/HcLuo3kAAlAvLhQjLqyL5uFZyPvoQSuKgTFJiLrukXJjKZoomqxOJAAUTbak7OIomuw42UZRNNmSsoujaLLjZBNF0WRDyT6GosmelU0kRZMNJfsYiiZ7Vt4iKZq8EXL2d4omZ7wqM5qiqTLpVqHcv4domvDoY/jz/RN/I5mA2jGhGHpeEjo2qAGk7UX6MwOsKAbVbIzYuz+iaHr00TIZePZRNFmdSBRNtpis4yiarFFZBVI0WWGyDqJoskblNZCiySsiRwEUTY5weQ2maPKKyFEARZMjXBUGUzTpsZRMFE26PP3JRtHkD71qtK3roulICu771xQ07nsHdqXkGpIimW48NwlnNYhCaFAgio7toWj63zkWXK8tYka/U+4Zt2PHDsyYMQOPUjT5/alkRZPfCE9IQNGky5OiSZcnRZMeT4omPZaSiaJJlydFky5PiiY9nhRNeiwpmnRZ+puNoslfgtVkezdFU1FxCZIPZmDCzB8QFN8YQMkpkkmwUjT9enJRNH2Ihx56yJVPG0WTLmaKJl2eFE26PCma9HhSNOmxpGjSZSnZKJp0mVI06fGkaNJjSdGky9LfbBRN/hKsJtu7JZpEMv1yLA/vLDuEzfszERAYhIQaIWa63NmNaphKptJB0UTRJAQ2btyIDz90VzR9/vnnuP/++135dK9evRrz58+HXGi4MZYvX44lS5Zg7NixbuwOFE26mCmadHlSNOnxpGjSY0nRpMuSokmfJ0WTHlOKJj2WFE26LP3NRtHkL8Fqsr0boqm4pAR7juXjPz8cxLbDuSguLkF8VAj+2K02ujWJRljwr5JJsFI0UTRRNOl/wVA06TL97rvvkJycjFGjRukmLicbRZMuZoomPZ4UTXosKZp0WVI06fOkaNJjStGkx5KiSZelv9komvwlWE22r2zRVFICHMoowNvLDmLdvmwUFRcjOhQY2r0BujaJRnjIiZKJounEE4tT59ytaJozZw7Gjx/vyqebFU26mBctWmSq4KQZpBuDokmX8meffYasrCwMGTJEN3E52Sia9DBTNOmxpGjSZUnRpM+TokmPKUWTHkuKJl2W/majaPKXoB/bFxcXY+vWrfjLX/6Cnj17Qr60S0dGRoZ5Qn7w4EGEhYXhuuuuwx133IGcnBw8++yzmDt3LhISEiAXyTIKCgrwzTffYMWKFfjHP/7h+FVVpmgykimzwEyXW78vC56iEgQW5SLu6Go8ed+tZUomiiaKplICv8fUOYomx18h5W7AqXN6LCUTK5p0eVI06fGkaNJjSdGky5KiSZ8nRZMeU4omPZYUTbos/c1G0eQvQR+3z8/Px7vvvgt5eluzZk2kp6fjvffeM9nkaa7IorS0NIwYMQIine677z6zAkmtWrUwZswY0z9G+sj06tULAwYMwKZNm4yYkpXH2rRp4/hVVZZoOlkyFRaVIDo8GD0alGD5Z6/hmacmlftaOXXuVzSsaGJFk+MPdTkbcOqcFsn/5mFFky5PVjTp8ZRrjBo1auDqq6/WS1pBJoomXcxcdU6XJ5uB6/KkaNLjSdGkx5KiSZelv9komvwl6OP2Us20d+9e84/cqPz888/HRVNKSgq6detmRNT555+PzMxMI5oCAgIwaNAgPPfcc5g5cyb+7//+z1Q4DR061FQ7XX755UZM+TIqQzSVADiWVYg3fziIdXuzUCqZru2ciFYx+Xj2qSfxzDPPUDRZHDCKJoomi9PEKoSiyQqTdRBFkzUqq0CKJitMVkEUTVaYrINeeeUVtGjRAr1797bexp9AiiZ/6J26LUWTLk+KJj2eFE16LCmadFn6m42iyV+Cfm4voujpp58+Lpo8Hg8WL16MP/7xj9izZ4+ZNpeXl2cqlUQuTZkyxVQzffHFF5g+fTqKioqQmJiI7du3GxkVHR3t0yvSFk0imdKyPfi/5YewfFcGCjxSyRSEazvXQo8WschOP4qJEydSNL1g14eEosld0cRV53z6GilzI06d02MpmTh1Tpcnp87p8WRFkx5LyUTRpMuTokmXJ0WTHk+KJj2WFE26LP3NRtHkL0E/tz9ZNBUWFpr+SyNHjsShQ4dMdhFNb7/9NuRpmjztvfPOO3HgwAFERkaa6XKffvopunfvbkRUXFyciUtKSnL0yjRFU6lkem/FIazYlYm8wmJEhgbhmk410btNPKLCgnD48GGKpoNbkE7R5PU8ZY8mr4gcBbCiyREur8GsaPKKyFEAK5oc4aowmBVNeiwlEyuadHnKQ9YePXqYCn43BkWTLmWKJj2eFE16LCmadFn6m42iyV+Cfm7vRDS9+uqrWLJkCXbs2GFEjfR5ki/6xx9/HOPGjTP//v77741suvvuux29MhFNY8eORfPmzR1tV2ZwWDQ8jXriQGG0kUzw5CPwwCrULthtqppkiFCTiq1mzZqVu7/YkmwML/7G6vWkoQb+E3RpubHSLH3fvn1o2rRpuTEJJZkYWvyt1f6OIgYzg8ovn5djIzKwSZMm5eZLLEnHkOIFVvs7HBCH9wIvLjdWZKSIycaNG5cZk1SSij8WL7LalwQdDEjArMCeZcbn5ubiyJEjaNSokXU+fwLlM3L06FE0bNjQnzTW22ZnZyM1NRUNGjSw3safQOnJJj3a6tev708a621lKq78U69ePett/AmUfcl7rFu3rj9prLcVlnLOuLk/+UzUqVPH+jX6Eyi9++T7xenDBF/3KZ8F+b6uXbu2rykcbSe/RVKpK/0I3Rjy3VJSUmIqgyt7yLR4mQIvfRndGPI9HRQUZBYOcWPIdUlISAji4+Pd2J35zZOqb7nmcWPI4iwRERGIjY11Y3fmGiIqKgoxMTGu7U96evlaGe/0Rco1mbw3N/cnx07eoxtDWmPIZ0GOoRtDrqnlu0UeQrsxfvnlF/M9LZ+Jyh67d+82v3nh4eGVvSuTf9euXeYaQr5f3Bg7d+4014ChoaFu7M7cR8o1tXxfuzFk1o3cnwQHB7uxOyQnJ5v7Pfn9c2Ns27bN3M+6uT+Z6eTW+eIPQ4omf+gpbHuyaJIL7GXcwcpcAAAgAElEQVTLluHaa6/FunXrzM2LxLzwwgtmetyLL75o9io3b4888ohp/C1Pg4YPH262+/rrrzF79my8/vrrjl6dXNw/8MADuOeeexxtd3JwZl4RPv05DTtyIoGgUESEBqJvmzh0quUBCrKPh8vNi5TZ33XXXeXuLyjzEBI+HWv1eopi6uLY1f8uN1Yu8KXZuqzwV94ITt+H+Dn3Wu3PE9cQqVeW38hcLoBlSkZFS6wHp+5G/Bf32+0voSlSL59Ybuz+/ftNc3ipcCtrhBzdjri5D1rtS4IKE1sirf+EMuPlYkam79x6663W+fwJlB/8hQsX4uabb/YnjfW28jmT6V433XST9Tb+BMrKkytXrnRtOXdZOEC+W2R6rhtj/fr12LJli1k5042xdu1ayEWbfIe6MVatWmUktlsNl6UiTQTCFVdc4cbbM78rIu/69+/vyv7kYYqIuz59+riyv0WLFhmx5UbfHal+kwvRiy66yJX3JivRyk3ghRde6Mr+vvrqKyNhpLekG0NaCMiNrlsVMVJtJzeD55xzjhtvDx9//LG5WerUqZMr+/vwww/RunVrnHXWWa7s7/3330eHDh3Qtm1bV/YnFX5dunRBq1atXNmfzESQ2QYqD3AtXvGbb76Jiy++uMIHnBZprEPkRrdv376uPASUasIrr7zStQdkMm114MCBrj3Qef755zF48GBXHnjIAZ46dSqGDRvm2kMBqV687bbbXJPm0mbmT3/6k2uS98knnzQFHm6JUGk9I58Jiibrr6szN/Bk0SRPVkVSyE2gfMmJ+JEnrnJhKr2Z5ItBqlfkB1NuqEQ2ibSRv2/evNnIDbkR+fe/y5cuZdHWmDonkumj1UeweFs6cgqKEBESiMvOqom+7eIRE3GixebUOaCIU+esPvicOmeFyTqIU+esUVkFcuqcFSbrIE6ds0blNZBT57wichTAqXOOcHkN5tQ5r4gcBcj9gDzQadeunaPtfA3m1DlfyZ26HafO6bGUTPKQf9KkSa6JLWl3I/LOrWpCWfhL+jRTNOmeN9UqmzyxlR/ZOXPmmKfhIpzkyc7111+P22+/HT/++KOx2zL1SkoNzz33XCOapMxYnjDLNDmpcpJSxIyMDMiXlFQOyJNZOdnPO+88R7z8FU1ZeUWYvfoIliSnIzu/CGHBgbioVRwGdk48RTLJC6NoomiyPUF/D9HEZuC2R8d7HJuBe2fkJILNwJ3Q8h7LZuDeGdlGsBm4LSm7ODYDt+NkG8UeTbak7OIomuw42URRNNlQso+haLJnVdmRnDpX2YTLyS9CSKZ3iHApHYGBgWZOsMgj6YkhlQcypNRe/ptMo5OKJ+nRIXO/RUzJkFwiq+S/yXzbjh07Op5X7I9okuql2auO4Pttv0qmHi1jMeDsRCRElT3/l6KJosn2o0fRZEvKLo4VTXacbKNY0WRLyi6OFU12nGyiWNFkQ8k+hhVN9qxsIlnRZEPJPoYVTfasvEXKg/0///nPrvUipWjydkSc/Z2iyRmvyoymaKpMulUod1miSabCvfr9fmTkFVX4ToqKS3Aoo8BUMskIDAhAfFQwEmuEoEF8GG658NQmwBRNFE22H4/fQzRJpeH48eNtX6JfcatXr8b8+fNNVaIbg6JJlzJFky5PiiY9nhRNeiwlE0WTLk+KJl2eFE16PCma9FhKpjFjxmDChAmuLUxB0aR7/PzJRtHkD71qtG1ZoulYdiHGvZcMT3GJT+80AECd2FBMHtTilO0pmiiabE8qiiZbUnZxFE12nGyjKJpsSdnFUTTZcbKJomiyoWQfQ9Fkz8omkqLJhpJ9DEWTPStvkRRN3gg5+ztFkzNe3qLZo8kbIf79tCNQlmhKzfHg/7N3H+D3XEX9+DchdAgdJIIoICKIiojCj2ILVVCKqJQgJSAKht4CwYSWkFADhIgCCoIivSgooDQBQUBpKlgQ6UV6T8j/ea3/gXW9937uPWfuDflkzvN8n/Dlu3dnz+yZmfe8Z87ZB73w3/bsaFo2mQMPGIYfuPA5h2N++QeKaFqgpDoMfD0zKKJpPT2te1URTetqar3rimhaT0/rXlVE07qa2vu6Ipr21tEmVxTRtIm29r62iKa9dbTJFUU0baKt1dcW0ZSnS3cqoilXn0U05eqz7rYDDSwimnQy/dd/f31pR9PXv/mt4U3/9vnhHf/5xeHK33ee4Wd/6ALDgdil/3/4X+c464Hj9rn5qI6m6mhad1kX0bSupta7roim9fS07lVFNK2rqfWuK6JpPT2tc1URTetoaf1rimhaX1frXFlE0zpaWv+aIprW19VeVxbRtJeGNvv3Ipo209deVxfRtJeG6t+/6zTQchj4t047bdD19IWvnjocfM6zjAd/f4dmWj3FIpqKaFrXCE4Poqm+Orfu29n7uje96U3DO97xjrGitYvx+te/frBm7NHfxSiiKVfLRTTl6bOIpjxdulMRTbn6LKIpV59FNOXps4imPF26UxFNufosoilXn3W3HWighWjqeawimopoWnf9nB5EUx0Gvu7b2fu6N7/5zcPb3/72Ipr2VtVaV7zqVa8avzB6+9vffq3rey96xSteMXz6058eDjvssN5brfX7IprWUtNaFxXRtJaa1r6oiKa1VbXWhUU0raWmtS8qomltVe15YRFNe6poowuKaNpIXXteXETTniqqC77bNFBE0zCc+ql/Hz7/xF9Z69Wc5aKXGc53t+ctvfZDH/rQcNJJJw3HHXfc0mvqjKa1VD12p7zgBS8YjjrqqPV+0HnVu9/97qGIpk4lTn5eRFOeLt2piKZcfb7oRS8aTjnllOEWt7hF7o0X3O15z3vecNBBBw03velNty6LgCKactVcRFOuPotoytVnEU15+iyiKU+X7lREU64+i2jK1WfdbQcaKKKpiKbpMjvokj86HHynP1y48t7//vcPz3nOc4ajjz56BytzKKIpWct1RlOuQmvrXK4+q6MpT59FNOXp0p2KaMrVZxFNufosoilPn0U05emyiKZcXbpbEU35Oq07blkDRTQV0VRE0/9ooDqacp1NdTTl6rM6mnL1WR1Nefp81rOeNVz4whcebnCDG+TddMWdnvGMZwyXuMQlhutc5zo7kVdEU66ai2jK1WcRTXn6LKIpT5dFNOXqsoimfH3WHXeggXWIpm996TPDl559j7We5sDzXmQ4z60eu/TaOqOpzmhaayENp09HUx0Gvu7b2fu6Ipr21tEmVxTRtIm29r62iKa9dbTuFUU0raup9a47+eSThyte8YrDta51rfV+0HnVk570pOEqV7nKcPWrX73zTuv9vIim9fS07lVFNK2rqb2vK6Jpbx1tckVtndtEW3tfWx1Ne+uorvgu08BaRNPnPz587jE3XOvJDzz/IcP57/XyIprqjKa11suqi06PM5qKaOp+bd++QX11Lk+X7lREU64+i2jK02cRTXm6dKcimnL1ecIJJwyHHnrocOUrXzn3xkvuduyxxw43utGNhitd6Uo7kVdEU56ai2jK06U7FdGUq88imnL1WXfbgQaKaKqtc9NlVmc0vXx44AMfuAPLG4Z3vvOdw2te85rhPve5z07k1RlNuWquM5py9VlnNOXps85oytOlO9XWuVx9VkdTrj6LaMrTZxFNebosoilXl+5WRFO+TuuOW9ZAEU1FNBXR9D8aqDOacp1NbZ3L1Wd1NOXqszqa8vRZHU15unSn6mjK1Wd1NOXq0wdhbnWrWw2Xu9zlcm+84G4PfvCDhzvc4Q7DpS996a3LIqCIplw1V0dTrj6LaMrVZ91tBxoooqmIpiKaimjahqspoilXq0U05eqziKY8fRbRlKfLIppydeluRTTl6rSIpjx96mi/173uNRxyyCF5N11xp3vc4x7DkUceOVz0ohfdibwimnLVXERTrj7rbjvQQBFNRTQV0fQdoqnOaMpzOkU05enSnYpoytVnEU15+iyiKU+XRTTl6rKIpnx9FtGUp9MimvJ06U53uctdhuOPP344+OCDc2+85G6HH374cOKJJw7nOte5diKviKadqLmEZGqgiKYimopoKqIp06fEveow8FytFtGUq88imvL0WURTni6LaMrVZRFN+fosoilPp0U05emyiKZcXfbe7YADDjjAPQ447bTTTuu9Wf3+jKuBIpqKaCqi6TtE08tfXoeBZ3mz6mjK0uT/3KeIplx9FtGUp88imvJ0WURTri6LaMrXZxFNeTotoilPl0U05eqy925FNPVqcJ/8voimIpqKaCqiaRvurIimXK0W0ZSrzyKa8vRZRFOeLotoytVlEU35+iyiKU+nRTTl6bKIplxd9t6tiKZeDe6T3xfRVERTEU1FNG3DnRXRlKvVIppy9VlEU54+i2jK02URTbm6LKIpX59FNOXptIimPF0W0ZSry967FdHUq8F98vsimopoKqKpiKZtuLMimnK1WkRTrj6LaMrTZxFNebosoilXl0U05euziKY8nRbRlKfLIppyddl7tyKaejW4T35fRFMRTUU0fYdoqq/O5Tm2IprydOlORTTl6rOIpjx9FtGUp8simnJ1WURTvj6LaMrTaRFNebosoilXl713K6KpV4P75PdFNBXRVERTEU3bcGf11blcrRbRlKvPIpry9FlEU54ui2jK1WURTfn6LKIpT6dFNOXpsoimXF323q2Ipl4N7pPfF9FURFMRTd8hmuqrc3mOrTqa8nTpTkU05eqziKY8fRbRlKfLIppydVlEU74+i2jK02kRTXm6LKIpV5e9dyuiqVeD++T3RTQV0VREUxFN23BnRTTlarWIplx9FtGUp88imvJ0WURTri6LaMrXZxFNeTotoilPl0U05eqy925FNPVqcJ/8voimIpqKaCqiaRvurIimXK0W0ZSrzyKa8vRZRFOeLotoytVlEU35+iyiKU+nRTTl6bKIplxd9t6tiKZeDe6T3xfRVERTEU3fIZrqMPA8x1ZEU54u3amIplx9FtGUp88imvJ0WURTri6LaMrXZxFNeTotoilPl0U05eqy925FNPVqcJ/8voimIpqKaCqiaRvurA4Dz9VqEU25+iyiKU+fRTTl6bKIplxdFtGUr88imvJ0WkRTni6LaMrVZe/dimjq1eA++X0RTUU0FdH0HaKpDgPPc2zV0ZSnS3cqoilXn0U05emziKY8XRbRlKvLIpry9VlEU55Oi2jK02URTbm67L1bEU29Gtwnvy+iqYimIpqKaNqGOyuiKVerRTTl6rOIpjx9FtGUp8simnJ1WURTvj6LaMrTaRFNebosoilXl713K6KpV4P75PdFNBXRVERTEU3bcGdFNOVqtYimXH0W0ZSnzyKa8nRZRFOuLotoytdnEU15Oi2iKU+XRTTl6rL3bkU09Wpwn/y+iKYimopoKqJpG+6siKZcrRbRlKvPIpry9FlEU54ui2jK1WURTfn6LKIpT6dFNOXpsoimXF323q2Ipl4N7pPfF9FURFMRTd8hmuqrc3mOrYimPF26UxFNufosoilPn0U05emyiKZcXRbRlK/PIprydFpEU54ui2jK1WXv3Ypo6tXgPvl9EU1FNBXRVETTNtxZfXUuV6tFNOXqs4imPH0W0ZSnyyKacnVZRFO+PotoytNpEU15uiyiKVeXvXcroqlXg/vk90U0FdFURNN3iKb66lyeY6uOpjxdulMRTbn6LKIpT59FNOXpsoimXF0W0ZSvzyKa8nRaRFOeLotoytVl792KaOrV4JZ+/8UvfnG4+93vPrz1rW8dznrWsw6HHnrocMIJJwxf/epXh6c97WnDySefPFzgAhcYnvvc5w6HHHLI8M1vfnPQOfDUpz51ePazn73xUxXRVERTEU1FNG3sONb4QRFNayhpg0uKaNpAWWtcWkTTGkpa85IimtZU1JqXwXlXvOIVh2td61pr/qLvsic96UnDVa5yleHqV796343W/PXjHve44ZrXvOZw1atedc1f9F0GQ8PSV77ylftutOavjz322OFGN7rRcKUrXWnNX/Rd9rCHPWy4+c1vPlzhClfou9Gavy6iaU1FrXFZEU1rKGmDS+5yl7sMxx9//HDwwQdv8Kv2Sw8//PDhxBNPHM51rnO132SDX97udrcb8/2zne1sG/zq9Lm0iKbTR+8rpX75y18eHvWoRw3ve9/7hmOOOWb4/Oc/PxxxxBHDve997zFIXvva1x7JpNe85jXDaaedNtzvfvcbPvWpTw3Xve51B0DhGte4xsazKqKpiKbpojnokj86HHynP1y4jt7//vcPz3nOcwYgYxeDHbzgBS8YjjrqqF2IG9797ncP1dGUp+oimvJ06U5FNOXqs4imPH0W0ZSnS3cqoilXn0U05eqziKY8fRbRlKdLdyqiKVefPXcroqlHe1v6LdLnxje+8fCgBz1ouOENbzh2MWFKX/3qVw+PecxjBkzmW97ylpFoet3rXjcceeSRwwMe8ICxaoJV1QG16SiiqYimIpr+RwOIpjoMfFMPsvz6IprydFlEU64u3a2IpjydFtGUp8simnJ16W5FNOXqtIimPH0W0ZSnyyKacnXZe7cimno1mPz7b33rW2Oie/3rX3944xvfOFzmMpcZvvGNb4yJr64mBNPVrna14QMf+MDwwhe+cHjb2942dji94Q1vGLufznve8zY9URFNRTQV0VREU5Pz2ONHdRh4rlaroylXn0U05emziKY8XRbRlKvLIpry9VlEU55Oi2jK02URTbm67L1bEU29Gkz+/amnnjq84x3vGG5wgxsMb3/724dLXepS4/lLr3jFK4Y73/nOI8Gkg0l300EHHTQ8/vGPH4477rjhjne842B/9vnPf/6x3XrTPeFFNBXRVERTEU3J7my8XRFNuVotoilXn0U05emziKY8XRbRlKvLIpry9VlEU55Oi2jK02URTbm67L1bEU29Gkz+/V5E00c/+tHhM5/5zPDpT396+MIXvjA84hGPGAmoJz/5yePh4f4dUeWspk3G1772teG1r33tcPnLX375z751ynDqZ/5rrdsecJaDhgMveMml15qnOVzsYhdbfr9Tvzmc+t8fXlPeWYcDL3iJpdeecsopAzLtohe9aI68g842HHiB7116L+TgZz/72dXyTvnGcOpnP7Le/A46+3DgBQ5ZKe9zn/vccJGLXGThNaed8vXhW5/96FqyXHTAWc8+HHj+xfJ02Fl7F77whde+X8+FX//61weH4+9S3pe+9KXhQhe6UM9jr/1btudctl3K+8pXvjJc8IIXXPsZey609dccfbxgF8PcrJldymMTSP5dDGuFPzvf+c63C3EDW+CvdylPZ++uDvHkW5x1uAt5/OYBBxzQ3Hm86Qsn78ADDxzOc57zbPrTpuudJ3mWs5xlp/IU3M597nM3Pe+mPxJjHb66qwNfYYizn/3sO5V3jnOcYzjnOc+5qWqarofJ6JLMXQzY2VrZpTy25x3uYsDUdjXsUh6/uYsDiZ1DK8a2HA3SovtPfvKTI4bYpTyYjD/bxfjEJz4xYmr+ehfj4x//+Jif7FKefE/828X42Mc+Nuazu5L33ve+d9z5tCt99uiwiKYe7W3ptx/5yEfGjiSVa18AkTT5utzzn//84aUvfekoFfjXzXTxi198uN71rjd+JcQhze9617vGw8Gd3bTJALQlg2eERbvJvOra0kBpoDRQGigNlAZKA6WB0kBpoDRQGigNnNE1oPi3q4JAr66KaOrV4BZ+rwrpxHzs/UknnTR2xtzkJjcZP5N63/vedySeXvaylw0veclLhqc85SnjYeG+OPfiF794JJt88vB5z3veFp6sblkaKA2UBkoDpYHSQGmgNFAaKA2UBkoDpYHSQGlguQaKaPouXB22DSCMbnazm40t/Vo3HfjtDCZtqu95z3uGww47bHjlK185HHLIIYOtIk984hNHgklb8PHHHz+21NUoDZQGSgOlgdJAaaA0UBooDZQGSgOlgdJAaaA0sEsNFNG0S21vIEtb3Ac/+MHxIHB7Pu0VjvN3bHH78Ic/PFz2spcd74iMcjaCPbC2vl3ykpfc2R70DaZUl5YGSgOlgdJAaaA0UBooDZQGSgOlgdJAaaA0sM81UETTPn/BNb3SQGmgNFAaKA2UBkoDpYHSQGmgNFAaKA2UBkoDu9JAEU270nTJKQ2UBkoDpYHSQGmgNFAaKA2UBkoDpYHSQGmgNLDPNVBE0z5/wTW90kBpoDRQGigNlAZKA6WB0kBpoDRQGigNlAZKA7vSQBFNu9J0ySkNlAZKA6WB0kBpoDRQGigNlAZKA6WB0kBpoDSwzzVQRNM+f8E1vdJAaaA0UBooDZQGSgOlgdJAaaA0UBooDZQGSgO70kARTbvSdMkpDZQGSgOlgdJAaaA0UBooDZQGSgOlgdJAaaA0sM81UETTPn/BNb3SQGmgNFAaKA2UBkoDpYHSQGmgNFAaKA2UBkoDu9JAEU270vQ+kXPqqacO//qv/zq86EUvGt71rncNb3vb28aZHXjggcMFL3jB4Sd+4ieG6173usPP/dzPDQcffPA+mfX2pvGVr3xleMtb3jK88pWvHN797nePujXOdrazDT/wAz8wXPnKVx71ea1rXSvlIb785S8Pb37zm4e//Mu/HOX927/927flXfrSl/72+7vGNa6RIu+///u/h7/4i78YXve61w3/9E//NHziE58Y73vuc597uNKVrjRc9apXHa53vesNP/RDP5Qibz/f5Jvf/Obw7//+7+O7e/3rXz984AMfGKwf40IXutBwtatdbfxz6KGHDhe+8IW7VUGe9WFtkud/hzz3J+v//b//N/z8z//8KL93fOMb3xjXf8yPvK9+9avjbS960YsOP/3TPz1Ylz/7sz+bIq/3ebf1+/e9730Du7nmNa+5LRFnmvt+4QtfGN7//vcP5z3veXfiYz760Y8O/nzv937vcPGLX3zrev7IRz4yfOxjHxsucYlLDN/zPd+zdXn7XYCYCONc9rKXHc5znvNsfbr/+I//OMogT0zc9vjrv/7r4fu+7/tGeftxiB2Xv/zlh0td6lL7cXo7ndMnP/nJ4b3vfe/wYz/2YyO23/aAD+HTH/7hH96JLYiz8MwVrnCF4VznOte2p7fv7/+a17xmzFnY3lnOcpatz/dVr3rV6Mf4s13Ie+Yznzn82q/92nD2s59963PbbwKKaNpvb3SL85F4/t3f/d3wm7/5m8OnP/3p0akgRGIccMABY6D4+Mc/Piagf/AHf9BNNp1yyiljQv3iF794JLb+/u//fhSH2JLcBrEl+cwgtr72ta+NxM8rXvGKkYgh2zjrWc86zvfHf/zHR+LnZ37mZ7o1LQl6znOeMzz0oQ8d7yXgSbYNujzttNMGwd5c73CHOwz3uc99umR+7nOfG/74j/94eOQjHzneX0Cfy0MEmevhhx8+3OMe9+iS96EPfWh4xCMeMbz0pS8dQfslL3nJwfuM9+d/u+b7v//7h9/93d8dfuEXfqFLnh9bl4gtxAjgQn8G+Yitn/qpnxrf3+Uud7luWW7g/tZKyPvUpz413ldiG/IQab3Anu294Q1vGPX0H//xHyORdP7zn3/41re+NcoTaIGmD3/4w+P8HvzgBw+XucxlmudI3t/8zd+Ma/M///M/R3nnO9/5/pc8ti6pvv71rz8ceeSRA6KydViHgMrDH/7wcU3M5R100EHDF7/4xdG3/OIv/uJw//vff7THnuH53/GOdwx/9Vd/Nf4XIRG2jihApNHlVa5ylZ0C0Wc84xkDEHzCCSf0TG+t39Ipco8fv+IVr7jWb3ouIo9PPec5zzn6n20PRMzzn//84WIXu9jw67/+69sWN8ZHf6wdvmbb401vetMYExGw1um2B//CBvlyOt32kOjyDT/4gz+4E+Ln937v98bYeJOb3GQkt7c9nvzkJw/nOMc5hl/6pV8aLnKRi2xb3Ijd+LSb3/zmW5dFwKtf/eoxDvX66pe85CUDv/gv//IvI4kL7930pjcd4zi8EuM2t7nN4I+YtO0h1vPTcNsu3h2sQd6P/MiPdBWSvvSlLw2///u/P/zpn/7pWND40R/90XH93fjGN/5fhBLbc91d7nKXkbxrHR/84AeHxz3uccNrX/va0bb4qVvc4hZj8XRKrj73uc8dC5GS+R7fAh895jGPGTEZXESee/KRU0LpT/7kTwbv8Ja3vOVO3h99Kpx5f2x+2wN+46fha/ipdSCnn/jEJw7//M//PPrEq1/96sNv/MZvjD55et/f+q3fGm52s5uNudE0L9xULp9x4oknjnhM8YS8293udiOGnhJKd7rTncaYfu1rX/t/+YBN5T3lKU8ZnvWsZ425g3UOr//Kr/zKOFfrNYb5aqyAu3cx+LvDDjus693t4jnXkVFE0zpaqmtGDXzmM58Z7na3u43GLvgAD0iQ6fj6178+Jm2PfexjR7DWQ44AmID0b//2b4+yJbIBKsIBCJqCE2dz8sknd5FN7iX4SOYl8ALClIgxT7IQQLe//e2HBzzgAc0rQ9X07W9/+6hPzvmGN7zh/wl25Hz+858fiQzJ0qMe9ajmzibyEGj3vve9R3mA2BwckYeMevnLXz7+OfbYY8fg3DLoUtfbSSedNNz1rncdn3sefOhY4vKHf/iHI3miYtAD7t0DsfXnf/7nI9Gjyj8ltpAnSAwB6yEPecjYddczJOjk6fhBcgLAU3nWzn/913+NwQvx00NOAmuSIP9FOrrnHDwgSQVCgA0A9/5ah84p8iTqgjx586oR0CSpft7znjeSFA972MNaxY3kw1Of+tTRvoAYHW5zeYg03XgveMELxk4/77B1sCsk76Mf/eixg+GQQw75tj75FmsTCLdmbnvb2w73ute9dkY2AT5Ibraz7YE0eOELXzgSP3zatgdi0vsD1oCobQ/29+xnP3vsLrKutj3+9m//dvBHN5piy7aHZIpf51t0/G17ILvf+c53jv6cDW57PIjvGAIAACAASURBVP3pTx9gCqTCLjq2nvCEJ4yYRiK8C3kSYkmnxKYnuV73Pdz61rceifpb3epW6/6k6zo+xbtDZLQOJJNY9tnPfnYsLvLN/IhOhnve854jcSbeG7/8y7883PGOd+ySB7vAJOIDckdsQ8KYwxSfKGRZn3SqANk6yHva0542Yk/JrgJVyJt2JiOZXEensGnreOADHzgWHOE/BTiYT6yDoRVwzBe2UNhFMCg4thYhxHP4T9yGjxA9MB+s4j35t9CpZF93prjQ2g0qnslN4CD4T1wTA/iQO9/5zmMuETr1jr1f+KYHd8JKxx9//PDGN75x1JsufQQI/09+DDqnZ0RoT4cYAulJT3rS2G3muRU1YJQ5Jvyd3/mdMa+Ac1uJLbEFoaMo553o5nnPe94z6lBRkC+JDh/PYN4Kxq1dP9YJfAs7hzxdn3wjHyBviTwCQejd6aifks2b2AWMBcPzKwqp1gmM/ZM/+ZPj/HTzBQ51Dcx/gQtcYBMR/+daNhVrQbHNnMQbOp0SW/wbcm8/dNsV0dS1ZM5cP+awVZJ0AGiPXMSSIyskhNoajzrqqDFhah2ClCDHiajEYeanxBZZHIOKLuNFoLR24Ug2BVZOFTC60Y1u9H+CD3m6kLRnS150HLSSB3SEQAIugBUBf07a0VuAKkEYIEA2tQyBAnmkM0xCr5K0TB4gwBH6DSfcMgBBz8xJAxPTgDu9H70LJLrfAEbkZMvQKYGMA8SACQTZImIL0aRSANDQe2slElHxZ3/2Z6OeABvy5sHOuxO0yAMwEDet8gAnwEglWhK7qGIU9uA9S+YFytauJgEf0CZv0dy8I/IARokAcu+YY45p7mqSMHtm8lSwFgGHkOc9q7Ihmlor5bZy6iagH0EekJn7Fvb2spe9bCS7ARp+oXWwc/5wncHHSDx3QTSxU5VtYMY63vZAXFpXwJquyZYhmfDu6HSvgfglS1xoJZoUBFRYEUh7Dfaggi5hayWa2Dp5bHCvgexFMJG3C6JJkuP5JC8Sqm0PNiDp0JHQmnwqYOjM4PP3Gvw6DHDEEUc0E038vThkne41+BjxUcxqJZoU88T1dQZMJQ7timjiW707/qx1wH5iKYIFBhQHkDwwnwIFv2U+ErUMokkXL2yADFdAsibEb3Hpvve970gqiU8SfevTc0lMW4e48Ed/9EdjsoswI09hVZy/3/3uN3YcwdqwNL+nc0QC3DJ0J0vQxTJYC+7kIxXL4ELyzRGulVT3Ek0wLoLAGo+4bm5iuDjAhyC+JNz+3ks0wSE69hWG3Nt7Ig9Wc38+mTyFOPi0l2hi4wgz5DtiAKEDY/JZ3hO7DmKCT/Asrm89auCtb33rmAtZI4hw8qxDxJV1K28JrI2w8Z6vc53rNBNNiuls7eijjx79EyIEsSb30VCAzDJP6yiDaLL2dDLBrnREniMU5D3/8A//MBLL7B1eySCa7IhBxrFh95SP0DFdsgsEoryE/WUQTexJTkWXiC3xW46g+9m6RTIHDqVT/noXW6pbfMkmvymiaRNtncmv5UBVMnWOLCIpQj2AAOfAwbm2dbgHxtxWKE58GbGFEBEojzvuuG9vrdtUJoNHIEnmAdNlxI+5CS6uEaRUJFuGZxaEtYnqxFo1VLyQBxIdjqplIGLoUdVlr3tIdCXYCDwtzy0DWSWw6xRRwVk1rCvEHRApeLSMIMcEXoF4GbEleAiQgJ0W2dZKK8BmfoCZhHlZxYg8gUtSTB4g0DJUlsgzt72qi94x8gC4a92e5B6IH1XAve6hJV73GsDR2mIvgbXGJXl73QOJzXYAjtYtkEAme2C/gv6iPf6Sm0jMVJpVEVsHYI3skLw4Q2tVhRFoRYC1Ek38kqRBwrvXsD4BHoC4lWiio2g/X0ce4K2Ts5VokvR5b5IuXTWrCBa+jL+WgLYSTaqKSFTkpuRPC/2yoRgDsAKurUQTYI9E1T0k3q4ii/lOsUry0ko08S06efipvYY4iXiWALcSTfyYmId03Gt4f3QpwWglmnTsSRzYs+r/qm4CJJokm99r7WiS1EqUYCTvZFUFXEconOT9tRJNti2zP2QHUmJVdV9cf9CDHtRFNCHhJPTrDL4BpuohmhQfEFbuERhQIi/mI83MCdEkdnhvPR1N7Nd6swZ+9Vd/dfSNfCScRpYCj7XonUkQe4km9quDR1eDeSK2yINF+XA4Rhe6rg0Jfi/RpBsFSYAgkGQHjlf4lMjbiSDR5+9gNwXAno4muA4ZSKcwfHQLw7S2ysPs/JeEXqHXVraejiZxHUFmLehoMtg9/OsdIr3EYPEDvkX89HQ0ORYCQcAGxSK2ByvAX/wc/83e+HB20Es06Yz3Dv1Xh1gQPzGfILesowyiyXuDW8XPwNTWpxiMvLdGFfgRUdZUb0eTdx/bOAMjhTwxg0zENXnecW9HE5/LB2uciG4izQvWkA59OZeud3MUD3o7mnQisnN61fVlbYq/5uN/sz/4EB4tommdCFPX7DsNqDYI+FhnjmfZQKJI5AWZdarAy+7DqG9wgxuM+/L3IraAc85AUtAyBFrBHYASXFeNTUiiZfeJM3eACEB4VWcGMAK4CtQCTMsgT6KkegYII3WWDYAGALBVsXV7oIDq/QvmwFG0ts9lCiI6RjhzgQqAaxl0hMyho73IKuQnICD4A5Mtwz3o0Xvb6x7Wse1lSJHWszHivAT3QAosGwBVkChAALDYMoA+VV0kE3Jr2ZAIAlCIIqC7NRlErriPREmisGyo5LFP4EDXR2syiITRRaXKuMq3CP6uIW8vv7BKz5Jqa5w9sMFV5/fQuzXTSjTpkkCKkQfYrDpUHODn19ldK9FkS8vjH//4kazw/lYRLHHOFr/eSjR5J3xGVAYB+WWdgvSOMAUkW4kmvpNvMUcVYn5q2QAaEdk6f1uJJvLYsPXNl62yP3qQINqu0Eo08S3iimeXGK06a01yLVFjo61Ekw5IxA9Ar8thVXVfNxk9WputvkXiJ3GWoCEJbBFaNiQzEirJTKtvkSwjCuEW3Uar1gE7pc/oqmzx1d4fMkDi6b+rYnt0bPd0NMF/Ej7rjX9ZRWzptIJdeogmhSr+SZydFpD4AfHHO9NZrPMAxrG2WgtIcKTimu4M721KxIiJbNI60hXDThQcezqavDskAYJMTJjK0+nN53gmMQO2Ebd6OpqQPkhiPnPehRVHCyBNbNPjU3S8Okpir+LWsnUL24qdnnm+LnV/sm824r2yb/iGLlptXUEHYY4MDaIpno088ZcPQMSwb1v0+ZbWrXNx7MPUPwWxZecHEkqnnffIV4uVPR1N7Fc3qfwrOl2CiIEbkKHWvndGr70dTYqV1iX7nXfWsD24lm9ln7G2/O/WrXNiHbxC3rxYTJ5jIZAyupDketYqYqZ165wcQJGUH5viQO9QDsNOFCTpUoxERPdsnfNb/gMuD2LLuoT36FEXs7Wi21BcqI6mlohYvzlDa0A1U4Iu6AGkDJzBAPnxRSwgC2HD6TDO1uSFoqLa4z72rK9Krjl8DgPQaBmcNSMXEFUpVoFtwZezA+w49NahIhesuc4th0oiLlTEEV9AiCSQPlXwBJLWczF0YgVhJfBz1OQJ/uQhz4ALiZkA6XqJdWuLNkct4dLCrAoJtJgbIKE9VUWEcxUsbGMS8AHG1q1l1h1iS3u5hHfZF4O8Zx04AL6EsfUAcl0jkkHrXEK/TB67ULkDzHVxtJ4LZT0AUZJrlUjB2EGP7E+g0rUhCfRuAVOVJWC49Wsc1gNbV/0kTxcDoAsAkmddkic5VQF1ToUEpFUewsP7E2RtPQLyyQMG+Z2Qx0Z1OkoEAMZWeRIg+rQGViXoZCFKrWFV19YRZ6TpPGB3ANKy0XtGE9sDqK0VVUGJ17JuCeuG3wSAWn01edYdeToA+MRlwN17lHx4nlaiid74Q/bHthBIqq6LRtYZTUCn9n2kBfJ9WSdd1hlN5EhS2CG7WvYxgYwzmvgoCax1Tpcq4cuGLis+VjLRSjTRpbUiyUSMrPKJSF6AHOHWmnyKZcg46xLJZJ0v89cZZzSxB8Q5sgn5YZ0v2/6QcUaTmCbh4z8lhkjcZSPjjCbvn9+UpN397ncf/fSyoeMAUdRDNHknCGrPvqggJwFV2BRjkXt00Uo0KbJJLuHAOSFJz/wJ7Afb6HqylhULW7fOwUDiNJyEdJ0OdkkevI3kYidwh+tbcZl76hqBNyWz8wJgbPdnn3Angl7BqpVook/2JkkX0+e7EjyPLkK2yR+I67YBt9q6eM3e+E4EyRwfxAeN2CYbjbNWW4kmxIdY6/3NnxlOQnqxEWR6EFsKha1b59zL1k32NH93cXyEeK/QQfcwkm651jOaFFN1mvNTi7A5XKoIAwPr8ueD5BatRJN7KfbbdbGI0BEPdYrBpfIn+je/VqKJvxTLEVyLdMS+dcGZF9LH33uIJphdfiXfWURswRa69eFDeS95tXWuFXXX786QGojDoiVpiB3MrMDBmfs3ThwoFJw4UxWonk8Eh1PhOBFbSIEgtiQaHKnAa9ucpFelpid5kXRhlRERtjgJrggnRIxk13xdQ55nU82ShLcOySfyhy45WOQLhxlfnFPxxeqbuyqI4NHqUD0jeXFmkACySJ65AliSDUCqRx6dARH0xHmaT5wt5FmsF6y9dQKMSsBXdZes0jOAJKhbA55Zq3kQWwAihw2EINMkS/ZCI5umh21u8h49P9ID6BOgvBvAW0JInkSRPGSh5BNBiERplce+zAH4k2CbK9vzx7/FIeSeQbKo4tXazUQP7hmkMXnA1CJ5gjRwCNi3gsOQF7ZMHiDvPYZvMT92IUCbH/ts7TgIEtv7B2q8O1tq6AtRomsKiJEEaLdng9ZV75eMAEGknDmtOjzWuvEMPb6Ff0Sk6R7RvbCsAzXrjCbyEJOqf5HILLKnjDOa4r5BPlp3y7o4EJh8HrDWep5XrE/rgQ2y8WV2DIxax4i01uQl5CGx+ehV8sQjdsoWWkl68txDnOXXJM7LtutlnNHEt0icyUMqIy2WdbxmnNFkfmKNxFICxGct21qNqPB8yJOeQ1jJkzi7B3nLEj2FFn6NvGXPtE5cEm/EGnhFMrNsIITZyypyaC95fHFsDYptZMt+k3FGk+5hMYHPX+YT2bkt1chgpMUqsm3V/MxNRw3SJ7bOTa+HM5A/ig627IkZ4kgr0UQesgNeia1zc3kwomSXb/VuFSJaiSb3lujyZWKCYul8mGN0qcY2ur22sy/TKX+CqOKfzFF8nQ+2EvhdXETytfpO+lSw1M0kX1jkV8izpvg5ZBR5rbiMHr0/W56szUXElmIc8jLOgEUmtBJNYrp1Z8fBIryF+IHtET/yI7kFbNZKNLkfwiOObFh0fIlr+BXdVvw1PNX61Tn3UnzQkaabflEh0TV0KkdRfJevtH5VD2nOfhFpy3JVHeLRSaWI2/PVudCjNbcotxLvNR8g08RkmLGIpr0iUv37vtMAEIZAEIgkDVjsGJyCgAL0M8YeoBZgm+EhtlSsAKk5sYWYIA8zvai9c5MXECAivjgiqZgTP4CqbhLEj0DWQ8R4tmizBRQFW/ONQRbgGAfHtTrvOXDhvDgx724qTzCSjHmHWot75QUBouIo+RKUVXliAAHIJbL879bulLhfBDygNLrA4v0EseV8DtsiJN8CWSuxRSayUcAjD3gDYKbyJN+SP/JU5IG1HnlxGDYSQpJNn1PbA86sF2BO0tIjK+zP+yIPIYEAicEOQ573lyGPLZBnvfAtgNJUHjuwPjPkWQ/uD0DosAHmzYnOPAfAav0DoiqywFMrWIs5TAnBVX7Ds3mGXt+C9ACorcFlxIE1zA+QtersoXX8aHTVxXta9Bvy+Dm6bD2oPu5LR3TlnS3zHXTuGsl8r3+J9+I+y2zLM/nj33vtb5fy6AnJwtYRW8sSIX5HrJLktCZn3h/70mVEl/ziMpIF2eZaxatePME/G+x8+nWf6ToNwt5zLbtmHVtwTRTeVt0rS174LLJWrXPPtMpe1p0b/ACP8RmLyIq4j2IMcmS+jWldOa5jBzCLNbKqU0LsgEthzx7STlc8W0BWLSKw6VryKalWfEQc9Hx1TjEDoaNrfxFJGPJ0eUh0dQf1fHVOwc8f9rQqQecLYBj67IlFSEC2tAojxFYlcnqx4Lry+DExHp5o9dXsVycoXIJIW0RWxG4PBIqiMZKhtSsGxtXxhdyKQ+LntuQaBV6kBsKpZyube8uDzIuulvlEc4Q3xA2xvcd3kmcNrMo/Qp4YxCe0yvP+2LK8YNUagFvkSnxd61qhy/iSI1tehic9j8YDXXewWW/c28TXbuvaOgx8W5o9E9w3kveYaoD5VnZ5kcrmxJaEcJpcT4mtHnAxTV4EKs5OQuS/MTg+iXwWETOdbyShdDrVp8Db49iWLcNF8siJZDt7+UbHG0ARg7xeMmuuQwEIKEVsIUamxBZAgdgSxATO3sQz5kSeIIu4mMpD+CCzsuRN50qPQOA2be/0lLcL30IGUAZwqlJbMzGAAMkRYGHdtLaCZ9vRJvfbNRGza3mb6KKu3VsDuyS2PA2Qz4euIn48k2syiJ+9NVBXrKuBTYitVcTsuvJ2eR0SRmyFJ1dhWXHftb1FuXXlKcB4Lriih/jZpS7PDLLkC7AszLCqAAFnwBHwYA+mR3joctmL+EEGI7R6iZ8zwzvc1RyD2Iov6i2TC5fKPWHQVhJtV3NaR04RTetoqa7ZWAOCcHwNZOMfL/nBquRT9cX2LGfTZIxVxI/n0Cmgumt72bYHcEEeMmPVQaZZzwH4kCcwrjpIOEuetWILgQDc2qI9f5YAwouILYBNxRJga/1q2TryAGyA0NpUsVQZ7O0aWUfnOkvIQ6r1dB2sI8s10e2EVNuFPNvakMDktbagT+cWXS/RXeDfourvHVqbbG8Xtk627Z1Ahurntgfb0zUCtPZUydd9TrZHniTO+tz2II8tIJazfMuqZ2YLuvEQlD1bV9fVC1sQhwDSnq2r68pDyPIvtl61fiVtXVmu0zEi/vGby7bXbXK/va5VcRbfyevZ9r+XnPh3XV0SCV1ku9gi4Uwz3WHLzvxa97nXvc52Np2Lq868XPde61znWANxwRy3PaKrix9r3eq1yTMqhOgis+1/F3FWzCNPt9aqLzVuModV1+rWQtrQ5y5swdwk9I7I2EXXCF9mN4j319sdvY7Odebx07ryMov/y2TrzNPZRV5vEXed+dlFwI+x9V3Is9PFzoRdFR2dT+iYiF28u3X03XNNEU092jsT/hZwtx/Zl3x0b9iXbO+8fcDT/dc6j7QC+3JGz9BGSJ4DaxEg5LmvPypJMXSvcALrfKJ52fMAmO7jIEHnNAk+2mFtybN1JobgBLA5r8KztQ7yJEH23zvUFbCNvfrTpFbbJsDmqxU9BxJLpCXN9nf7fD3gbvuf+U0JJcHe1jNnTNBF66AnB31r30UMSLwcjurchmnSJzGz91xy1nNoKD0Jrr4aY/25H3nu6WyfGP7NehKEfZWjddCT4OqwUgmYZC8+UzwllJB2DpgXhFsPKfWMEjwttfZvkw1QO3jRWQvT81nslzc/7dXTeW86T0kzWc7j8C7Jc4ioOUyBrjOonB8hKPYQd9aBrwc5zBUgAzj5Fn+mhJI1xf6cDdWTMAF+9ue7H+DnXA4HpLKFKfD0TPyKLw71DL5Qm70zwhAtDkclz3+n8pw7EF8japXHV/JP5meebMHatN6nhFIczu15Vh0CvddziAVswXYSRBlbsPWEvCmhZE2xdaSr99c6yOOjnFfCp7Fl8/Pl0blvsZ6QInt9jXLVsyDd2Z61ICaxK3bA/qaEkq207M+ZX61fgfMckliyyBRzyWPndDollNie89Mc1t96Tgx5klhn6dlKinykQ2uTTqdnoVm7zk9T8Gj9MAV51iQgbc0A0u7FTyNXp4SSa6zl+Lx063pBIPm4hfiAVCXPGTz0NiWUnO+C+DH3HiKNrTubhm+RmMAt5LH1aRLNPvmeuQ/fdJ78L3n8hvcFrzjzh+1Nu4ado+Lg/J4469nEM/pEDliPDqomz7qZynMYuHfXE/fIc3wCeQpE7C1wEruYdvfYEu+MuNYzmsgSW/lg9scu+Evvx58poWTu1qfzJXu2zpHnIHMHDvMztkSFvGmc5Vdd59iGnqIA+/Z1MrFdd4zznqx3MqeEEhslz1avHpIe9oMB2Z4CjnPZFIT5kKktwBnILf/WY3vwlrO62B4CwkcL3JNvmcbZOAfHmuk5304nOwzPN/JlttuLNXDEdJeFIxbo2/rsIe7oMb5+aD3CLewMPpuSEj4+A6+xzR5iKzCu9e698GGwJaw3leeIAbbec0YT+5PrwPBsnW8hDzaBqaeEkvN46dk66unw44PFPjGXDvkOvppup91EyHKxr+eMJvOTL1gLion8M3mO12DrU3kwlPxwFyTopvFm0+uLaNpUY2fi6wFep/0D91hkQSI+V42w8DWOSPwEFw6O028dAD1iBYAKeXHej33H9rDGOR8MEpiRdLQOBIRk2QFxqhyIIIFPx4P/3xcfkFuSbkmOP4Bp6xCgOGwAgsNBBAE2nI3AEYekAiK6tZBR9va2DjrinDlwwME2M/IEC8/hAHcg3zt1SLKEicNvGZIDAdGhfuSockgO6VhS6BDtOKAYSSOhcj5BazLo3iocvv7hvVkvyAr3RvCQh7AwrE0HJnomAaVlkAfcOyRa15Q5WRc6DNiAcxskoQbyEjFrrQLjLQMA9WUo7wNIAYzYAnlAt69UqJQZCEkJo8AvcLYMQRewt96QPIKgzixkEPLO/OJLNACdQ6cdotoKSNkZO+dbyCLTeRvINckuPQdhgWRSuZY0tRJbQDTCFaEscQFU6Di+cOXeQSBIJpw1Qh+tQ+IZBK/7sjnyAG9fU5I8BIHQ+9U5z6ib1NeKrBF2ZW16pwgndo4AAmCyDgNHbPL/fBWAFPLIdn4eWwe6sw4DRx45TJqNmxOS2fzYNIDN1snL+OqcdY8gtD7FPLYnYfD+gFxfhZM8GRlfnRP3JBLWHX/MHoBSf8RUh7MGyZPx1bko5jgHUXwjjy7JE2cdmhuHD2ccBq6jzSfv3QuYJ9N7EjMkFGJUnOmTcRh4HGgsEQx54pC4RBbbC1vP+OocDOJAaj5DYuYdijnihHNTxPaw9YyvzolDEl2+0tqEV9gZGeIvW4giYMZX5/gWBSjrw1oxr+jicw6NuBdFwIzDwJFM5Fmn5ie+k2eNWJuIsyAn+Rnvs4fY4scQTeIsvZHL1pHHzsdhe+IFUs/6hJ16SF4HRbM9a9M8xL3oJieP7YkXcCk/hPjpOQzcPZFoCEkka8jjy8R1JBZ5cZ6Md9r61Tlx3fMi4L0v/pPtiQ9sD8YN8k7yrfCBiGntzmQDYrciqdgjxjnnRpxge2JDkHc6VOBf9tjakeZ5+SydiTCnmMPW4UNxlrw4j4k/ZzPWZ2sndhy6Lc7SEQLJuiDDIdIK8EFueS5xng9vJZr4MM9rPnwk0hyW8fxsEpEV91Y4QujJBVu7fmBX70MuJK4jremW3SMPkTJBZMsVXAv/thJNSCZfWHR/BJJ5ysvEc/NDIAe5Zc7ORW09XytIJvdle+RZl/IDZCh8iGSObZVsk/3soruvFdeu+7simtbVVF03JiWcFoctQZeUMRSMN0KIs0ZEYdgziCb34DjJU4EjT4BCKOgkYqzkqhz3Ek1ArnkgkySUklqALRJ8iRSmHiggt5do4tAkywK76hJCgDyBD6GgYshh+3dOsJdo8p58plRyBhypBJInMANVwKp3K6HnUHuJJvMwLwADmAbabIFAqtEvEANoeLdx+F0P0WQeSD9BSUASDMhDKJBHLgDij3faSzQBuuSp8ghU5FlD5gVQWI+IF8FesOglmsyLHoEZibvgB2wgXehZMEI2Ad0ZRBOghtRCmnlH5CEgVZtUOQFw5J01k0E0AVBILevSuiAPScLO6NOaJA+oyCCaEBXmYT2odPIt1pCqqsPBdTqwBcRZBtGkWg3ck6dCRx5/imBF0ulgRCAgznqJJiSILxxa+/wVu5IMSozM2ZoFCK1NSZs5A+SIyZYBPFubAJMkRkJBXnSRIBZUjZH1knuVZPbS+oVQ9svG6Y/OAFLy2Ij5KW7oMpCw8LN0D5ST3zIAawQE0sD7AwDZnnUvWTHEDQk2u0E2qWZ7zy3D19G8P7YuiWXb5CFmyJMESv7Yuk47Ptb6ae2gClu39ugsCkgKBeRJXMg79NBDR/LEQbMIL+C4ZVjzyAMECP8BWIsX3pP/X0KPQJDwZhBN7E48jWo7eXyyxNb/710pUIj5GUQTnYmnSBa+hTy+BZkgBsMR5PF1GUSTL7+JoeyJvxbXxR9JFBtk59a+9ZtBNIk/Yp0EVJWfPOQa/83HsBHrCB7MIJrcj78kD5FMHh/mXZGLyDAvBEIv0YTwjOQ1vjrHR4p7/DLb8+6sWwRGL9GEdOGrJOzx1TnyYEP4QhLPFmBBCXAv0eSZJehkISH4Mkk9fGl+/o44Z9+Sau+0h2hiBxJohKe8ACEgXoi/7A9BJ0aJs/xCL9HEvpCu5sA/hTyFN/L4Foep83X+3ks08R+IA/fUtRgFpOh+5VsUfBQZ+YVeoomuYFlFdsQPuxDv5F0wFFtgn/BZBtEknitMyxv4D/KsQ/FXHEAUkmfdZBBN1nrsKolzjPzdOxWn+DoEHrySQTQhkpDSdOWecAQ9KhTwcfQqzlpHGUQTwpZfEdfZNnliqvfJDmFuvgX+LaKpBV3Ub87wGhAUASeOLlhWQR/5A+SrUgpkqrEAT29Hk0CHwQb0o32QPNVrLYwSfMkGwCG56eloCgJLkimxDIacI5DYILc4Ac4GOPRsPR1N5iC4+4MoiBZU8lSTAQ165Nw5dYCqp6NJooI8kjwAKyEPqBFsAQL/Pz16j95xT0dTbIOiL04c2I5zr6wjQV7CKdkAJFVJQi8G3QAAIABJREFUe4gm93Q/+gKqQ57E1prUGotcAkQFRPPt6WgS3IEXwR5QnMrzb5IKa0lyI6n3Pns6mrwLOqPL+MRzfIWO7VkrAIFArYOrt6PJ1kr6EhCjeyIO5pcIkwdwSPQRr70dTTqL3APIj2ptyLM1iDxJAACJpOjtaAL62IIulajIsQUkDZsE8pETQCKA09vRRA5SgI1FtS/kAcd8gK44gBVRoUopiWkZwDpbsCYB/KjIxWek/RviHHGAAIptwq1EEx9sbYoJgO5UHluQ6Hu30ZKOKOwhmnTxsWfkNd8R8uIsO/9Gp4oU7I/v7iGaELdIHkkKohPYDtuTyEvo+UuA2zsUm3qIJraHxEJ2IpCm8ti65A+RAOSbl/+vh2giS7ePe3jukKc4MbV1CSedW5s9RJO1rouCX4yveol7YhS7pk/VXsQ5XXqvtha0djmwOfGWPO/HCHliInlIEfK8a3aDIJluGdzEDpGEbNszR2dWfF3WuiRP3JA0Wlf8j0Ja63Yh8Q4u4zsjrrN1fgCWsVXV1ii2KXFEarD71iHBQ6r671QeP4DoVVShP/L4H3ro2aqHFJGc+e9UHoxhLfFl5qOwoyjS09GEwILzYAREcXQXsAXEvXcLj1or4jlf09PRhJhTNPXstlzF1hny2Jl/I1ciinhWhOzpaHIv29j4DjhiKs+8YFu+THeMNWr99BBNyGNYmY6mtscerX0YHpHtmcwX9u3paPI+xByka3wNke2RJ+7AtrrGvGNxHfHT09EERyiIi53hL0IecpIe+Uw5CgzB7/V0NIl3YpBcJ3IwvgbR7F3BDOKerjxYqbejyXsTt6edUggRXb5snW8VY4855pjR1ns7mmBpvoq8wElxgDZMhgzlTxBfdNHb0cTnwmXWZthCnFFrTmIjm+C/vN/ejia4h32511QeLI3cEodhXe9NDKyOptYoVb87w2oAwMe26vyZf9KWM2AswBPgywHoJOnZOud+nA7wOT9YFZBi9BIzwRroUUVo3ToXZ4xwZsDgdAS5JVBIrAVGQFvQaN06B0ggqhASgNIieZyOjiYBRVuzYNm6dQ6RhlxBHvgzlwfkSzjpUyAGsui4desckOt9AGqAynQEmeY5ADeVa+/XHFu3zgGdOjMEJ+3Kc3kctn8XGEOeynLr1jmkBzInkuupvNhyCWQhGFQx2EucK9HiAJAtEnYAXgI6HWwPyWRuAqMqjTWKdGrdOqdLwvshTyVyOqwLdiZhkpjZsmfNqDa1bp2TXOtmIG/emUEeGyePHsxJwLauWrfOeTeAIBAxbWMPAgEIVs3Spi0Jta56ts5JEBBIOjCn5zOEPM8iqUCoAxj+tBJNwDrQaV2w57ktANfm7xrJEtvTst1KNCGqrXPkvER2kTyAXBLgnAX6VMlu7WhiywCn7Tm6C+a2Z37mhlDTNeL98metHU3WHPJRO31shw2ZdKziyk8ig+kTeQJ8t3Y0Ab5iHmLLNtW57Yl71i0SJuQBwq0dTeIaMg7JpHNiLk9HmnUrEdTBgshmp60dTdYCUsI95h9HEIf5ArbHj7IH/k7i30o0sVvFIr5+fig1eQo45hdfQRUXJDytRBNMoBuTvCDSQqfiPh+teMSnIEmD8G0lmpAryHnre7rNgm8R19kC/2M9Sq75zR6iSbFDTNBFND0/hDxdrxJQ75ge+TykTA/R5F3QkQRzeuZNkIX0DUfBpvy25L5161xgWGTO/MMrbB3OkBDq5kDMwoDibOvWOb4DxuPH5nE25MHUCF+Yk2+nz9atc2xZp657zp+ZPBhf5zDSic514plv69Y5xbbotJnbgoTevOAGcRZG4q+Rbq22jlTlPxFpCpfTQZ71r/tUtwgZ8Iq417p1DgYUH7y/+TOT599i+1zI05HTunXOs8N37Gn+cQS2Tt9ISWtXgZVuHT3QunVO8QQBSt58Cxd5OtPIs1bEJfGfHbZunePLxCHy5l8R51tgUsU/5BfMax2T3bp1TvyUf8kJpl8C5FuQd2xN1xrSjly4v2frnDUp77Pu5vL4EvqTf5JLZnxhsCVn+G76TW2d+256G9/lzwLAC0IACyJpPhgn5ybQq2pJqHqIJgkM4+Z4VDnmI77+Rh5nIWFqJZqi/VvQCTJiLg9IBMo5N1UM3TGtRBN5gLtAgMFeFMiRQ4AaHejYUdFrJZrIk5hwYJKiRV98isO7VUMAKolAK9HkXqrFkksJ3zwoxrZEwEBrtSBmnq1EExJO14R1B3TOvxhEHpAmUEliJKnktRJNEdSRdxKZuTy2YP0itxAIbIG81jOavH/kgCoIYLrIFoBICbjrAFHETCvRZH17bwAgcnWRPLaGDDFHoFXVrpVoAvDJo8c5MUk2EKzazDaBG6CcXluJJiRudNnMk2vygEQJr0qrRNS67CGakLjsAVEhYZgP8qJ65tn411aiydpjA0CupGL+BSa2ANQAyfRJt3TeSjSRRzfIQGtlDvDJA5i8X/7S9ZKzVqKJ33cfa4b/jK6R0Cl5YhViVscDmwHgWokmfoMf5KM89xy0e57Y1sIWEFJiRCvRxG/wUbZMqxIvkgfUs2+2IBEgr5VoQtzxwaq6EuxF8vgW9i2RMS9xpJVoknh6bnagu2Y+dDCxPUUINqFyTe+tyaeYTZ6Ea07ckU0eG/eO2Z7kSkLXSjR5dnEN2aG4sGh+/AF54jtZktFWognJq7Cjm2DRxx/ERrbHn7BRJFAP0eQ+iDv3WPQxBvJ0OIpFfDbZPUQTzCPpQ2wt+nqdWMzf8QmSz9B9C5zmCxEd4ktsnZveJ86jQhSKH8gRdthKNJGna4Qt0NH0Azfkkof8sXUour7Ns5VoIg9xJw7pmpjjMvIk0zp/ous7imUt+oT/6VPBA2E8/4KW50H++HfxCqEM37TaOj+MCLWdjT+cf42MPCQhfwkPu5a8VqIJUSiusGUdYovkIb7IQN7Rhf/dSjTBt9Ydf73oq6ZylMDUdI9glqe0Ek38Jnmw1iIdkQdHeB65H1u3tlqJJvdC7LD5RQemk6eAzR7YBTzPr7cSTQhJPmVR3LPe+R1riX+Jcwt7iKY4WN9/px9NCNsiTz4rb4JhkGt1RlOL56nfnGE1AJABicDmMgJCoAJ6ODhOwNaC1iH50lkhwEr4Fo0I/M4ZwgQLIq1DOyinKjFZRGy5b3RzqIAChsuea51nkOyZm+C7DPjFuUYq2EANh946OC46EnRUBxcN8rwzIF8FCuBoGZI9gU5gBKIWAbGogOqQUwWV6MYB4ZvKdC/JlyBFXmwvm97HNSrNugU4cs4+DghvkQfU6nQgb9FXZ6xN8hAMsZVt3hGxrlzJLFugKxWxRV9JcQ3bExRdi8DUfdAy3EvC5I8q06LPKcehrGxdFyOfMK9arisbAJRUsl+J5SIgFhXe+PqQZLz1M9axRQ4hSt4yW4gDWAX7VpLXvdke4B6JxTJ5wKjExfx7vmhpbXp3KnbTL2aG3NiWyBbYqCrkouLBuu9PQilplujaxjMfscWaDhQF2IGEp3VImBEIiNR5h597hjz+gI+V9EvEWwY71inBnyEOFiW7bAEQlZQhhfmy1uSTPHYeB/0vsqnY8iyZ13XAl7V+BY48VVb3Mb9FNhXy2IC4ZX6tya4Yw0fphvFe5smud+Qa2wNtrUEmSwhaP+nuXvCBBAGxNS8KhDw2Y7uEefV0HZBnHSCqJEHL5CHqdQPoXJOAtn6JKraN62JYRm7yc8gtBAld9hA/EkpEEp+xjNyML/OSpzLfGte9G0UP8dq7i0P353ZMnq5Q+IhOe746R0/8mXsssr2I6wg3WAlx0PPVOVu4rQVYJLaXTecX8sRz226QMj1fnaMnxLF3Mt+ZQG7Iiy9/KTy2FpD4DdgOSaGgM/0ydcxRTLSGFSnYHl/WSvxEEcK8yFvkW8iLbh8kPV/W6lvIU6zhM8lbZOvkWcMIZbHK/FrJCh2YikfIrTgkfm4LyBjknUKOvEHHTyvx415Ifv4pDolfJA9uQ9qxCXi4lfghj54UWMT2OXFHtmuQd3TAr/N7cwJz3TgPR7Arelr07twHho9OKn6h56tz8KSCTXxtdNFzkodMU5i2buqrc+u+zbruDK0BzhQI5bwRLSpWq4wttpq5rrVKF8kCeUDEOvJc1xqgQh5HLtCuYpHpgzPQ+rgocO71sgFRiSfdINPoa5UzyZAnsaabdeQJjJh0Tn5eYdtrbvFbjt+cBAXM/SL2PnROH+Rx9JtWXlrk0YG16R1vKs96VEEVSP3Wetlrfj3y6I88xBI9kee5FwXgAInsgExrc9MA7Lf+AF4hz3uZtvnOQXDIY6PLnmvZuvEezJE8z0ym+a2S5zfeg/ltKi+eI7as7WXr1hf9Gy0Aw2/NKb5oQu4q3xLykN0tviXmx2fQJ/2sApmu8f5c0wNoPLd57iXP+vW+W+Xxu96ZNbmJPLY6b8Xfy5fFs/qteVlznnuZTUXcc513vMznLZNLL2R6Tu/fO3SPVfKsL9eRtym437U8BJW5SP6sOYNul9l6xL04GHXZdcv0KebRn7XCZ9DpXvIUm+hxlQ9aJk9Mtz5Cnuclb/rJ6ulvza9XXqxr8zPXVbbOXtiPuW1qC3OfTx5Zq9Y4eeZHHy3yELeelRzyzHWVPL7M/KyvTeP6dH6e2x/3WBU/w7eTt6ntLZJHR6viWa88nYvikPVofnvJg8n4MhhwUxzht2IC3ZBFpve4Kq7r5iBnFd5YZnveO3vyrNbBuvJabX0qj8/ey9bFLP7P+m3xLbYaw+/0Q09itWdf5lvonj+CIeh92XXL9LlI3irbs07Is75a5NlBgZi3/unJGlhlUyEPYddCoini6AiL4nPYxarYTO9ytk3j0PSe3ou147lXvROxmbzpWU574ZXv5n+vrXPfzW/nu+TZOB2txKpXtlOpmi2qhGQ9LmO0fWBRa2iWjOl9OC2t4K3tups8E4Ctwm7fu/OnVAVtQdiU0FlXJoDm7BuVYRUsWwdU2hdVeta956rrdNTEWUEO9FNNWdRdlCHLPQQM8pwVRJ6qUmtlf51nUnkjT0VFBdL8Wiv768hTmdJKC2CYn46D+dakde6z7jU6FrUKAxW6DVSn5luT1r3XOtfpglH1BnrJ032zTd/CHgDD1tb1deY0vcb2LfOLAzytzdbOhXVkB8BvrZiuI2N6zS7l8S06La1RtsfWVdpbkth15qlKy9YBQx1Y5LV2CK4jz7xUOoFM8qyZ1g7BdeTxmeYn/uneML9FHRXr3Guda3QxqdSaE18GU2zTFpxNZOuHDjTydA5t0y5s09Tt7dwp8uClFnJ6HV26RmeS7UY6fXwZyXb4bW6zgJEkuD2E9Lpzc50OCV1mdGl+27R18hBbraTYJvOKa2FcuK+HFFtXro4p68X651vEWXF9UwJpXXm6ZPkWHa4wJ9+yLYzrmXScxJEX5PGd28K45NkizVeL5zC8+W3T9pwBZauf7h32AHNuWshY9925TkeRbj3rhDxnOPaQqXvJ1uWlW48exXbytrU2PYujSqx/22PNUVzvIZD2mp/tqHDtNmXs9Qyn578X0XR6av8MIlslRSu4Fl/bFQRjIIqRAovZiaF2QcYPGMZhxNsinYB62zmcPYX4EaS0024rKCLRbAnQem67AgekW0WSvQ3SSRIBrEl4yUPMYOVDXjbphEizRsxPImPtAN6RGGaTTogDcsizXczfbbUAvrdBOpmPLUn0KTE0X2Aq5pdNOgGjiElkoYMzVW+Am22RTjoXybOF1HY4INg7I28bpBMSO+TF1yVtjyBvG6STLYyIO3NBvNLlNkkn4Mm5Bb54Y2unCtW2SKc4JNu2qyBdJZ/bSgytFWDb+Tax/snbFvETtg7ks0EVP+312yKd4uufyIrYAm5tBimTTTrF1z+dseHrUCqe/HPIa90mugxmWC+29UoKyQOCxT7bvbZBOrEFfsX2bdsQkUzOX9wW6WRbBL9pjjAFO7etc1ukk20RIU9BQpdmJIbbIJ3YOXlwGRLINllxz/tjF9mJry1G7IC9IX7I2JZvsWZtS7f1le/UGRU4YhukE0xmi5DkPYgYpOu2kmuYzLl43pF3JtYpIG0rudbdR5d8i7iu+8fa5Fu2QTo5K4mfZutsD+kj7m2LdHJWEhI7bB1+VwTcFukkljsLU+7A1nUOwe8hL9v2xFh+GoZnC9YmO9gW6WT7aMhTaFEc4Fe2RTrxYSEPxiaPHZLnYzPZdmHLnS2k5Ip7iC3HiTjgfxukk5xEwSNkmN+ZiXQqoukMQvacno8Z53kA+pwq45Q82eesYoeg4fQQQz3bPWKOHJt93UFsCVLuHcRWJukUXw1CVETQAEij+2cbpBOZCC4BAxiWaAsg5s0ZIYEEydbDVudrJeRJzCQU5HGy5AGn5iqxaD1TZCrPWontjsBNfL1MB5C2WIl9zC+jWj+Vp3UX6RRfHgESgyShz4xEjTyt4Agm8nTkkKeyDKQGSZKVqGm5ju1N2oudqeP9eY9aqQVGh3p6d4vObdrUb0zlIUHJAxatUwQlUEqeebaeazB9JvJiixLfIrkgz174IGWsT/IyCCGV3SB+gH1zCtLJWsmQMZ3f1NbNydzo1NqROLEFa8X5B71JmzXJzgBu512xPwAnOu+ySSfy2Dd5DlEmT9fBtkinqa0jZRC9kidzto7iq3D0ya/1jrntRWIvKRX3dPYCwsiSbNtTEOCjEQnxSWXne5Dnv1m2F76FrfvyHCKIPCRQkDLmmWEXbCFsnT+RFIq5CEvgXtIruWALGd0IU3n8JdvjXxBs4qwEn0zV7WXnc2yyhkIeu0A6hTyEpUOzgwRihxnyxCE4gi9RhECIin90DLewQ76NbjO6H2J9IH7Yujltk3SK+dGfbg5FAjbv/2cD8WEFcb2XEIKNrEc6JGsqQ8zLJp1sD7I+yPPuYCb2Zj16Z9mk09SXibPOnHNWnrOarEU+E4ZHBmV04SGyrE1/+Euy2DpC1NyQMnyZmJtRmJjKE9d1FrJ18qwPBBB58GdGB1nIY+vkIUnIYxdwbZBAzu5q2do19zvWB13GB4L4afbovSJinLnm3Yl7GaRM2B6ZYrs4K0cxkDIaAKxTfjRbHlIt5qfYongr9wtf1npcwlSnsW1clzQMr9sWNjQXPg2pBluLs5tuO1wUM5wrCj/wnZ7fujgzkU5FNG2CJOrasRICyCBJONj4mpIKpbZcSSEjFUhax5TYUg1BOElmBEgAODqPkE8ZnUfmxIEjXgDgSAaBDyAtiJHWr/os04N5AqdkAx62SQnGqvWehWxzBVBbPy87J4FCnoCIHCGPo7UFJkgn8hZ9lW7T92l+kcgA95ysdykx5NAFrJhfz1le8VxTeQJIyLMFBtAWsJAkwFzPWV6L5OnMCXlBOgE15AEdGfKAiiAoAURkApmSKImuCmV0AGYkMlNbBxbZuvfHRoLkIo8dZlTwQh6741tifgAAefFlHklUq7wAiCGDrbMByZr1H7YOvPUSP4tsz/tDkugMABTNkWxJGyDM9thFywgiJmRYhwCiDkN2D9xEp1/r1/qWkcrmxM7IQz5Zq9Z/yFv0daqWOcZv3D8IXwQsn4nA0xVHDxIYsQjBnLH1MwjRSCzYAdtjF4orOnuBfQlwRrElbIE86z/kIYGC5CIPCZQVA8V18hCiIU+ngLhuXuRlxdwgYCWCbIFvoU9+W6LGR/Od4lBmosbWdHSEPHFJnI2vcCFKM+WZ31Qe0oQ8dmF+umF7SaBp8YMtsENJrzjLF/CX5Emgemwhkk9zQsYgSfgWMd66CGJLYt87p7mfIVuhEwFrXkgheMn/z/ai+6H1S4FT7IB0tT6QvGxPHEA2ieMImQzSNeSZU8hDxvAn5CENQl72ds84v49sOEICLBbpQoIbxFm4DIGeRfgGSYIo5FvItI7shkACIRJg3Ix1Exg3vhKNVEPaw7zWP3mSfB15mfL4TkQveeYH0yPVvEfy+JZeQpRdsDdzQ9CzP/L4TvNG0vPTsISCfEbXTMjjm8mL2CAmwiohj+1lyaNL85ObxPymJJf5wYS98oKA1UVl/ZOH5NJ9K0eJ4gBc2LNWpsQWrOLLnzCu9eDecmb4nW/JILZ6sNU2fltE0za0eia5Z1TwkBRRrZe4cbDARiRtrZ95psY5scXpRHss0kkyEVsLetUexE8cxBbED4Y9SCfyACqJaOaYJolkCcgqeBx7tHbSpyC56KtHmz5LgFPJhfcVnUf+i3FHysT2uowtIuHQyRNAVEckpQCrqgFQc/Ob33wExRmkUySGIU8SSh7Qj5RRPbzZzW42yssigcjyB+kUnUcSX/cXRMjTedQrz7sLsIiQBBaRJeYncQrbQ/Z6j72kU8gzN/KAYfJ0ViEYrA+BP+S1kkBTAi/snjwBmc3zLcBpnLmCRAB0WuSFrZuT5E+yC4zyL/6OdArip+eLQovscmrr5oMQAm6AVD7VO5M4md+iz5WvY+th33yZ9QhAWZPsLWTEGXEZnX7sLToZQ55kV7Xev9FhyMs+Yyx8S8wV6FbRtm6CBOLL+Jhe26N7+gvwzRasTX8UQqJ6HudMZJBOEWetVYlvyEMqkCeRCYIyg3Sayou4zt6919hCQZ6kplde2IK5SQT5S+8OASsRRhjSpcQbWdlLAs3liQc6UlXtrR9dceYW3QGZ8oLkQtBINsxZ13LI49d6khlrMwhYc7E+zAthosNKJwfCMPBSa5ydE1uIH+sDwWVOCnLmFMnuOv5q3Wum80M6BSEkMUTQiLOx9bO162/aZYvY5U/gFXGWDJ0OfBlZGfYdsVxyTR6SgjwkL3lB/MAsvfY21/PUl5lfbP0U15EyYhDfyQ4zCi/xgRHrBNaEWcQl/hSpDCMh8xRCem3BXKfyYGlxljzzJg/mJI9vyZTH/sRz8rxL7xiRhpSJjtte0ilsgS7hvjiygq3LGeQKbN16zSCBpvKC5NIJpPAoZ2B3IS+LBIr3F6QTeUECwUjReQTT95JOUztEOsEvYhE/ypeIQ3EeV2sXV2AVsY19iwNsTpy1HsigQzbXKmNdX7rL64po2qW297Gs6RYRyQzgAQQAj9qOMfo+c9s65skuw5TokoOYAYCD2FJd6x3TZFD3FjCF+JGwYZwRTeQB+RnbNBZV8AAPSW90yghcnKmg75PzHG3GmAJHAAPQUbUI0gk54vOmnHrGCCCHoORso3PFukEecuY+cdr6Sd35M4Y8pAV5Uc2WZKggeIcOymxN6pfJs24Ax5ifJErA8t58PjurqyS6dCQyupu8P38EZ7Z329vedrj1rW+dsr0n7BCQQpIANdESDOywQ/JudatbpWzvmcubEkJBcvnMrU/Xt1aap8mnOSGYAUQgAHmCzIrOHFXQzDElhFQM2TiA4xn4VLLZXs/nwackLxnINAAKQFSxlhjyZRKn1o6AqU6mxA95fAl5fLZEiX8mT+LUmuwuewfTziOJU1TPETRxjsYd73jHrs+RT2UHKSPOsb2oviKdEGrswJ+scwwjzpLH9sKX6Ypg67e5zW2GW97ylmkftpjKY3sxvyC52LrYnrFuplsjrRs2wBYkUCrOOuScEyT5zei0mMpDoiF8yYuz/pBO5C37bPmmfmAqj/6iozjO+kM6ORQXsdBCni+KQ9FRrOPcu5NkI2Al1Uin+KT8pnOJ6+fEj6KcxIlvQWyx8SB+MkjeRX4GThLXp4QQ2fyZT8H3+OwoeIh3ZCBGFDzEVh+PsTYQajBSb0FnTmLDDnGmmdjKh5DHd1qbGWtk7stiuxu8y3cqvsCgumP4ldvd7nYpOCJIIPLMLeR5h/4/78wZVsiSrHlGRx55086qILkcuM23ZBBq0/lZK3xKdAJ5DiQ922PrGVsHww4RGHaByFOsVTFCvkKPziBDdmUQGFN5fEt0AsVZf2ze/LzHjK1uIU8cIA82YxtBcsHU8kuYOkNe2D19kiEu6PoL0gkedNZnz7ubElt8Cxm2YMYX/6J4q+iRMadWH5/xuyKaMrRY9/i2BqZJGyIBmELQSOAYataQAMYWPoBUlVdCH91UEk+ONWNMAaJkPogYzo4TV61H/HAMrQNYwqILQNNBtnkKhgK+6oh5qsYcc8wxreKW/m6alMZhuKqiiLWHPOQh6fLC2Vor5g8II4AyibQ5mKJLAQuQI09wJC+LSAt5084j8yNPMAH0yevZXrroRUy7dCSiukmADTp+6EMfmnJG1XxtskP6jHNCBH9B0VcVW79ghaDz/BKTKcic+hbyEJPkCfYPfvCDU77GNyWYAcQgflTrAUR2gPhRec0e84qhxFBSg5g56qijUsRNSaBIzvgzYCrO6jj88MNTzmvzwNOzQaz/IH5UJZEFgD15PR8JAMzImW8LCrDIfyKdxAj/td1TJTtzTG1P4SMOhgbq73SnO6V/CXMqT8wjD5nHFqzP1u2Xy3QSdsHW2SbSiTzEofnN41avbqNDLraISGRsLVKd9zWyVlJ52XNN5SG5xHby+GhEdvbX8aa2bv2KseRJYJCFrdul2LStlXP9RJxlCxI1fkVS/4AHPCCtYDX1LWI5Ww9iS2cY0kkymL1WvNOYn/VCtrhHvq/t2vaWMabnAMGc9IeIsV4QrQhXREzWGaJTeeJPED9BcsG45PWQvMh/fnNO3Ip1bN16ibPwYFRx3dmCmWPaXa94hHTysRW2Lja0dqbtZevmRh4SiDwkHnnbsPXIV5Bc5DkTFt5U9Mg4E2s6V+smSDW2Lu9CYBx77LGjTjM6txbJsz7Ik6OIDY9+9KPHLuLezq35e4z5hbzoPDrxxBPHbbStRBo8uehrd/OzBR3jovghRmR1GE63ystHYBXvTWyw/uWWfFn2u8u041X3KqJpV5o+E8qZEjQMqQccCgq2KcwB9DT51LEiIPvUqf/NWFsHwCIxmm+RmxI/kl1OVUKISecIWgaHyalwmD6RvArsB+kkmc+o6q563gCOAMcu5EUbtyApYco4tHGjPgmNAAAgAElEQVSVLsO5AwGqWL3bJEKWRBPg184bZMu0I69XnmRZ4gUYLdqGhKhTWZaweG9kWyutVRHdIMCfysqiMz6QycCozg0dd73yJF2IFXpydgMyYn5G2ZQQonckSev8VgHSaN0GEHWP6KJEiiDutjmmhC/g1GrrQVC7xzwhmSaf1qvuUIkHUKMDrnVIhOhtTjROiR++lTykq7NqJGktAxCTJIgtQPuyEWDRf/mVbfuW6ASyTvmWbLA9nWeQTuKIsQt5cTitQgt5reB+Og/PbzuUdTJNfqddM/RIXus2idjGIiFZROb4kpRE03Z/zyEmiEWt8qxxv0UWL0oobQXRGaOrMEOejihz5DNt03Hf+fauqR3ym1lxb558xvZSySe/iShRrMousCxKROE38vnN1uRMMYrf13U571YK4gAeQzohthRIEHc9xyqItYiqeQI7lRdn4SleKbC0dmzx9Y95zGPG7vFVzxwxkB3SQ4atr8JlcR6X99Zj6+vEkyCYda7sSl6cLZgpz9pDsLJ1cTfe0bRrJmyh9QygpzzlKeNWX1v7F8WzI488cozBCoRT22uV54u2/PAi8se7vf/97z92gCJi2Lu5t9q6+8nh+GqdezrI2cQcU8b5X+aXdVD4fJ0GduBbkE4+XoOchMF7OqjWsYdtXVNE07Y0eya4L2MT9CS2qpyCZAwG6/yIVvJlrj5OFDi0NUcCbR/r/IDZKbElgLRWJjit+MLQ0572tKVvcko6mW8ru02eyh9ZnErrfZY9qPsjsYASWx3udre7je3t2sqXDc8g+cvqmuI8faUQiaBTCmkouMeQBHuvPZ0Np6fJAYIqIo961KO+fdYOAK/z7Pa3v/3Y7p7RWm+OcX6XToJFIDO+vGfbR8b2PKSW9aLat2h7IVJLIqGTIqPaaX2oFOtW4l/4mTjfQMU/axtSrBd+S4eNZHBRNRrB5BrVY7bUQ/yEzDg8G2moHdufGMCS7ZwAT+9A+gBsukoRhWxaB+bcN05J10iuW2STJ1m31nXtLRtZ8iSCJ5100pgs3/Oe90wHYjp3JGN8vQ5ZSYK/W/PLhi07tg1kfMWTDGtOjNV1ZkuebXJsIgY5OrQyztpqeee9v7FmxD6fQ/c+DSQ9W9e9lLWF2n2tFdgACbOoE0RVnH3794ytXu4nKfN+Ft3vsY997Ni1qUMy48uFfLVuJfjFOnFPnRPIXAli1jakeOdILbYnbi/CLY9//OPHcxDJljhlEFt8priAZEZYKyrGQEwcccQRKR19fD6fQo6Ch/Uo/s2TvSBdrSv6bSWVyXvc4x43+s1VOGgqr4f4oUd+yhY13WbZBBJMe/TRR4+FC3PSiX/cccf9r1g39x2wEuIrw/bc29oQv71DRQ07K8SeGOyCfbQWcnp9X+/vrX8YXTxC1CN1xAFdmP5kzguJFF+3W0ROk6dApYOwh/AJnchV5ATL7keW+CDettrcVP/OzoM7/ZGbOHtU16D16/y81mLDsnfsy+oKATo8F92bLTzxiU/8dlf4toit3jW4zu+LaFpHS3XN/9EAp6aFEFkh8AmyyIQYDEdyCBBkDNUbQFS7MrIC8GeguijsP85qV/asABFnI0HjfLKJn7k+zEWi+YQnPGFs5c1uL5eU0Jn5YOolsLZVqbYuGyr+8ZWq3vdnXVgH9sBL6GOtmHcMpCEQ4jC8TYcqON3pbFh3CCKqjwigjGF+AC5d23cP8AI0CFIJooCpAtMz2IDqsMqGDjhbgKbJJT0DVEgfydvJJ588BsvWAaSRp5oCrEmWpl0q7J48hJAuLusLEdw7osoYBwTHuVMq4gCA8ykAAAAxI3GybpCv/NVd73rX0Uam9/WFEDqgz4zhDAUJmG4G78w6MecYQBySEGnZO/hpZ4NJPvk0wFQHhTMN4ks/WWdSeFb+S1em+YgN267AkcO3eYfWHrDb82Wtub4R4t4TX+Xe3o11yC6WDTaH1MuwBSST9YewYGuxXqay+bAHPehBYzK/6UBK2+JgK8C6Q0cKX55xSL4ClS0diGx2HUS1Cj3SBJHOb/Z0iZiX7U3+WCeSMXOYkq2xvfLpT3/6+G/O7OvpwPau+GBrx5rRfTrtoIoObZ+9lsiozLcWxqbvLTr3xCF+ht9GBiExEGtkiUU9cWEqj02IN3SGsPAOp0kmrMHPSOgzhiKLta6Llt803ymO4LcV6xD1vUNMoz9FOsSdNalwY078p1iYkeDGc+oq5TMVbPiPzHsv0gX9WZ9woHekeJtJTNhahNhFFMAqsZ1ySgzOnwtpDj9lYG5yYGnrU3eatTKNs2TDgK22Lv/huxTG1h3iOpzYujV2KoePsRb9F26OQqYYLN4j95B2vQfWIyTZgm5EmGtu43SrEAKvPPOZz+xeu2IuW9MhFQfRT22BPEVd+YLdK4imDJJ0enC8br/puUziD8yJ/Mog0bxHOSuZfCi7R65Ou7/EA8WCDIy77vrc1nVFNG1Ls/v8vogR4EIl7rDDDlvozBh/1v5qYAJ48kcA4dgESFUSCbhuBACq59DceGVkAYmSQfPMALqrlgPQKSgLWiro5M9BBgCgmvDIRz5y45U17fQCepFIgi4nt2xweN5fhlNVpX7qU586zlFgX9SFE10iLW38ziixfRF5tu7gxAGajGTJFkpdHJI173BaeZAoCvrO31CdaD23yLyQWQKSIOvd0dW8tRd41OrvsHHkSc92MvPxvtgaedbNvPJCHuKCLCCqR96idzc9G4bdsw+6BhhtX5t3Na77/qfXPeMZzxgBMaLJOlJNBj6BfUO3BV1ICjOGRIg9IMkXHT4a25EyQH9sqwoQBezHgc4IUOsRgSgBzeh+816QFwAnwkcXWM+a30vfKtS6tRAEOiatz/kaRMYiRiRTm444J8XvrH/vBsE6rYrP70k+/51hC2wdySRZAEgXFVQ8V2snBeLRetApte5gc2wj4+uBcZ6H+0liImGwjiQcOjzYiHXUM1SP+V/JvMF3TkF9bG0WD5xDIznuqWDbZvLkJz95JCTJEUcXyeNrdH3oKOmRt0g3062xSDZxCNEmYZT4Zwwdkta6Yo81JDEUC8Ivk+Ma2CVjIGEkodaDQuMcJ9GxLYotOGL+fNNjGWA0thi+U3KvG8G8rNseUjLkel/ejyMfEHM6qDIIl2V6R0SyL+uCTtnefJuTA/hd0/KhlPgKqbXvfcQW2CkxOH+2wJyt262m90MwHX/88WOcRTwuKqggZ1q358UB5tPO/L3WuDXD12UUd/gYnUx2KohxoTPrCCErb3FWUm/BA5ZUTBRrvce5zYWdICoVG3VR9rw/Nm5NwtWr5LEPuC2DoJ+/t+mXV9mJYg+cgXTLOlOLbcPzcCUboWeFztCvtSl3KqJpL6uqf9+3GgDqHSwnWek5w6BFQdODULHbOh4kg5yA/fK9A5mlmorU0Q0gQM6dK+OXoAlkvYM8h7li0OcVurg3R6Ri3XPgeO9ztv4eCEUOCEAqAhnVh+mzxGGS0466vZ4VqPdOM55FMqHzzZYuoGYeZNkIcsEWgh4iND7/jXACMBZtIxOctPkim3q7SeKrcrp5/AEk5okuMoQ81ZheecveGRDMrnVxSUytJ0DcVz8yvlqGaJJA2BKFUNKRwx7ZmqQJcZJJNCGZvEOJ7zzh3Wvd9v57JJ98DjLdIaHmbt2uOuNoXbnAIVsAngA0tjAnXBAUuh96zoGK50EyI7CRzMvsHzBEHJwRt+Xq1vLHF8IcrJpBXk3fpfWwF3E2f/eeQTzKIEbYAvtGRiw600t8JQex0GPrCCZ/rE1rErEzr/S7v4QNadDbTYLAI09ywsadNTKXp8PInDPkLbNPsQeWsY2JDxODEQc6rDKG98ZPwoKSUYSe9aSbQreFxCmTaFLYdD//XUSMZMxp2T3iwxd8J8Ke/+bvHv7wh6cc9g9T68x23hO/xs7mNoYIFafmZxa2zFsRFakVH1NYdA9FJLrusb2WZ8v4jWIHnfIdih495Mei54li7SribP47fsWfjGdhY+xYN9OcuLJW5SdIGw0BPcSr7kGExwknnDDG0UVnJumQpGM+rjcuwEbk6ZDy7IvOSoI5Q16GLhe9X00MyERFYngQ6cpeMgqA5CGaxAnxD17iOxH0Cg+IUbosoinDE9Q9zrAaYADavVXHMrpCNlWELSESJEmgyoWgyeFqBe4dqv9x8v8y4kew4ABvcpOb9IobO5h22WHkgcnj5BBA/jsfAhfwiBjqHdpuVSjoVLvrfhtAp22dAt8ifUk4nv/8549BpOdrV7FOVPoRP7aMzs8ZicQ+I/iGPNsugA2dBduUN10XSBCBPv4gvWyroT9g5zKXuczYKt4LashENEnmkdUAmtZzPkUSzE7YAlvP6mhyb34LUOytNm5qS5IkhDxyxlY689bJxI9bT72DrUtsEYNIjEUgHIDiWzLOMFqHZM4kleknzhBD9gKJ86HTQqdDSxfA/F58C5LavbK6UHrfcebvVeWtGUTnojOmdAWJx7YtSHpbh2KR9YhwsR4WHZLt//cnw3fGdliJiSRPkWHenZIpL/Siu0JxjH8x1ygEKhLY7sWP8eEZncpkIn34ZGtT14/EHlGPdPI+xT7nUGV1NPlIhCQT7srYfrTJeootO4E5JZ/mrqNEPOodCB9d+rDsso5JNmDuPbYQzxkfnJhvJ5vOwxq1fjPirPsqyilu0N2ijnoYA7GV8W5hFtvdbcGyZvbbUBiiL12Ei7peEGx0Ka73fPwiciDdQ4oddiTMifhFpGirvkMeIteuA2f0zQvCmfLiOQO7IOT5L/aIYIXpbc8Tg3VPZcQHMsUDtu7d2flgu55uWt1o5m07uWeqjqbWlVS/O8NrQMICyOj68anOjG0Xq5Qi8CK3JJ6SJLJtpZF8cgQOChdMstjmvYgfz5q1tez0WAxxuDEgSG/ep6RJ4qsFXpVVx0jGWQeSQYBXdVpl1xarbQ7rgrN2+OOywckD/xkHzapqsgEBClkxPfQbcSGht7XHeQESnN4RXQhZXQV7Pc+u5Xl3Ai6gqFJmDarcIbQBJvPO7OwIosk7MmKbrqTJVgaVJiR2FtGERHNP21kkKZnnyy16l7YWA/aIEWeN6P7RgaZaaNuHTkmdDhnJZ7TRr+ouBNSyugn3WrvZ/85H6jqwRYCPRJrpPpAYAYuSbVv0HJyfcTg320NiIwQl9QDoNgffr4prjS4bunD4zp7Pqse9Y+ucZEmH5nSwD1t3dW/oLMzYbhLJbVZXwV7vYtfyHO4sFukudZwAvwUbSZgQBtldQEE0xbZUpIUiIH+DYILT+NcsogluQTYhzpBbWXhv2XtUdGAP7A9pKDGUaFurtkBJPvmAjHgUW8v2In52Fff3Wtub/jufwi/SJTJeXII7xT/dr/Ro/er6znivYhCSCQaDvbYdZ615a0UcWDbMGwbM6P6OrXPsbE48KiaxEUUKZyplrE/z2mXc3rU8X9RTdOcrYSOdmjBnfMAgQ4fTdRFEU6x1sR6ZrVAn7smZ5DJFNG3qaer6faMBVV2n4qvuxHk+88nZIiFZzBgCkcAO6Es+OVF/BH1O+4wafEM3nIzgoK1dMsjhGIIvEOfrCllVGQ4caBKgyBOAkSFaVpFL/qsSZI83Yqh3IGLiXBrvcVHCICl74AMfmHJoqGRJm6991YsGx64rRkeJzoreIbnWYQQkWYfWpTkCOrqPdN4JXPSdsVUvnpcNCkq2kummUt3yLKogGeenhBzgGsFr696yYQ3ZjpLx5SQEoUP/bUW03UkVKZKk3ne16PfIAQnhvOMA4PdvUWHOICXJZ2s6iMxzWWVONTLjMHDvTFeItceXqEhKknQTAafbSD638Y5W3dM7ckA38s45Kv5uKH441wiJkfUVI+eV8Y3sy72BQbYvqefDdMHRszO+Ms6O8PEE89K+L/YtIgPFRb5HQtE7kJGKR/zKosHOVcnF/oziEl+FVLYtFpkcNoa88/8B+ZJF6zarkmxe0aVJfnwVTZyCJTK6KUJ31qMOo1XnuEhmIqHpfX86lOlOfEMIsu/5+VC9Mqa/tyaR//OtOfCMOUvc2EpGXCBXsUoxR4cr37loTdgylVEgU2iw9U9hU3xFysdWnjgHKjv5zHw369wL2QMnOdjafKNAIJbDR7bsZhC8nkVXu64YOmVzzg9CPulWlFA75N3h1fxATwdOzBvucs6q97doC7frbC0jM+MsWevOF+CQk4sG36YLSfdmxtlbCu9iOZwyJV0R9PC2uODM0KzYF3MSG+xOQODprhMT2Lm8rHfL8VRvjhKRL6w6D1G3lm7CDDtEYItpbDzIpcz5zNcE/L7oS3L0GsXBbWyXX8cvZF9Th4Fna/RMcj8AQ2vjoi85hAoEY4ewZgxGiRRRDRAEA9xkOJhFz8e5cXKCx6LOGPI5ARWajKGlWNVWhxGQKDgIINo3OXZJjAQng2zixLRoSyocNKsC6e86cgRmIA4IEDB1XPQOa4Wsvc5RUa23D7p3eHfmNK8sceACJDAuOCG2Mro4PC9ZAI2EXsUOsEH6CCSqvkBbxrsL3SBwHSRoi5J1ghCMT3NrudWZ1rNNb/oOkMkSWRW7RcNaBRbNMePg5+igYtvmBoxaQwBNBiBcNAeVVbZnjSJ5bTGhU0mbhInsrO0Dkk+ge9nWMs+nupZxHhu9IWF8vQTw9H74LoRn1nzm+kT08CXOGgF650PS6YytOGy9196RMBJQ6wWBBsQjDpE0CAXEiDiUAbjZAtLV2tBO7+/8s4RM54gOHQfWS3QztpSLC3yn/y7rdOBX4t326pLerHe+cjr4NzGCb1P4sDYzYi8fKUnR9eL8pOikQlyI9XyKuU27RHvnqDORrxTfyZdoIgbFBv5U8pLx7jynzjc4SRxfNCSf8aXLDIKLHzMncQ3JTC7iE6mcFevm8+AvkWlszVDwgFf4HO8NDswiCa2R+HLtsrNxJPIZRQG+yxlbOvfYtthDh9ldYVN9wmb8GZuPYuP039k6m8jolnRfJK85KtjqzjI/2IlPg7kRFciMDLIJ7mJz8WVQnXd07GNCfDM7IZ9/yYjz4ixfjUxetlbEWbgzw7+Ie97Z3E8j0WwnVQClT4RMhj2Yk6KwM7vE+Ciw6IDRycivea+ZxU05iq2PsTa9U7FO57f14kDrDBLN2lTMgCGWfbRIzFWwQ1pmzFHccx+xh+8Si7wrncsZ72uR/7c2xdT4upxzKz2DbXRylG357N4Yuunvi2jaVGN1/agBTm5Vi6hrJDIZlQn34rw5AlVHzpVTA54kLByRakx8GjnjFQmIjJ7Buy8ZgBvjFzA480c84hGjQ+8dAoQWc0EIMBUcIgk0b0BcdwOHes973rNX3BiQdIw4z8rnQf1dgiQYSiY4P0QT4I046R3fTdtpEKPam1V8BM0MQBr6ia+sWCdIC2vfu/TfzAPzBSXrBNmELLM2daiZj8AICAAeKr8Zw7zi88DT+wVBqUMH4QpwZCSfZCBIEGbApyTbGgJgotKK5M0a5iaBYX/ABVnAr+orO4nDsq9whSukiNzlttywPfqUCCLNrUWEjGTF/69ql9F9E8pxHhkAyF9L0kIGMC/x1f2jWzLjcG6kOB/F5vjG6aGv9OysBe9PxVenYe9AtvKRiEhn3vg7X+mAVLHIekE+SbYlp70jPuG+zlfutkUcRrznZ/gU/0WeZ5wTE7FdDPKH3xR/rM34oEHmNjfdZ+xcl43uAlVzSTSinJ/WVYFEzDio3txgJH5ynnzCMXy4d6arwvbArGRGXOC7xABJrvuKC+QoPmR8IS3WNRymC1rMic/WK86xhUc/+tGjz9b1kEHykolIW2ULrln0NdYWO4wzjLwrpAXfZc2LPRJA8+U3M7ZBxfMpHknakY78pXjEp4lRfN2d7nSn8eiBjG2r4qo1YVuj7WpBEETMYCfkKjJZP70Dxnzta1/77bMJ/d15hfw2XG0rmFiBiMrwLfw/7LLXV+4y/csiHZHPB/gABj3r2MpaM1FUZRe6bfkTmNa7JCMLj5kXG9ddisBSaLAuHFsi1inIiYcKaFlbFNmXWDN/fzr46ZI8xFbGNst4b3C0opW8z9qhP7EdnmH3GYRWyJJHijPRHcZPs3e5pf8fBtVdlfkOe2249fdFNLVqrn63Uw0wetVG1Zyo7iKAdCAAANoeAceMrV6ctu1r7gmw6QIA2iQRwJOKNWckyVfV7h0SMoBXwk7e3LGocmH2ESTOB+kdHDdHanuZYCGBBqSQBbaSCVIqapIz1db9Nqwf555ok83o+gHGEJ2AoQSJfgMMC0zWrjZnQUQ3R2810hlGEj7PDrRYF6qSAChiS4UEcYJ4ytjesuz9m6e5q8CyTcRrRmWQPXg/tvAAoJGwA2vAFPtkm4JwxlC9ZdfAO/+iCsrG6di2OcSJ93hGtQXEJBBviwRfIsnW4XOb29xmTGoAHsAtg2ySlOkWIfPe9773mOQCqLoa+BNbNNifD0lYq70D6FQZZ1e2F8/JFrKQynw44NY7rHdbEflo68GalGgj8cQCtoggMfdt2l7vPFp/Ly6KFZKLDKIwuoX5RERPdPnFQdkIRDbI/iTcvUkFO3A/xJK4h+wxdFF4b7qmo6siixxZpGskBuKAj1NA4st7vgwVMiQtcIk5InRjy5pt+damGI+syCKbdFnzjxJPRbfwK2xdlxPSCZGRQbq2rtme34k3un7ECHFHpxsM5sMezv1BXiuwZBAHiptiuAQaUce32TbLr/Ffust14OjYynh/SHId7Lr5nNM3JzoVdG0FRgRlFFnEBsSW+1mbcLt1b/3bJg+z6GJBXmR9Qr7n3Wf/ViFX/DDHjFiroIEA5KfEo9j2GFtK+QAdY2RZP70kCd+BdBFHvR+EoIKDWMBnWpfmZkfGNjtxxAi24Tl0wtJBRpEF7kPwyCv5q9g2xw78gV3MrVePsa7ghziuhF+BdeUIMLRc03rhP7OaNbLX8yb3K6JpE23Vtf9LA5ymRAUJs2hwgAHkelUnUQfegTOBnzPlaABVYB8TrVoiCegd7qfagp0XaAEMf/cHsFJxlVyrvvq0be8QIFRadS1pRZ23ntrCJknkcI444ohecePvvTuBSvD3GWIJqECv0wCBADwB3Rlg272RI8itZUMCAXBkAJpVClIxk/iaK0ef0ZEGIALb1iSygm5VqIP0NHey4uB1Oo7DU1tepm1Jgh5ShBzvcUo0sQPJNxIxI5lf9YzWigCtcwR5kJFcA8AAhKqmOUbAJwtwYgveI0IjYwjmiFwt6EgY95dYIJokhJ5FkibwZw1+Szfhsu2Itu9kbcs1H9uFJHzIAVs8VcwlNeal4wewyjivTPLAhwFL3p33Za0CpgoBziyLrZ1Aau/gq5EHfLQEZp7wsT1n/fAtGee2WIOKG74GZ5uvrSxIVoSB+OCwVwd5OhcqoxKJsPOOlm29oj8EjG1mWZXkZe8EISkxpXOVZElH77AuxTdbfcUJNh8HjSOZkNfWk/dr/aim95w/p0NSohIdWeFD+GO+WxcHf4OEzega2ct3IrhVsBEzGecYwSNiOmxkK1QkYDAGjKQI4d8k+hlDYsanSDD5FHo1F3/oWfLp/7N9NWvwV7oIYcJFQ1dQxhct3dtZebo1/BdGgRsQdc5DQ2Dzb+baWzwiy3lvSCz39/z+Dj/z04ggxT9xSlzIiOvmxUeL2zqF5wk0TIG4ZHcZX0flO2FqhBZ59Gk+iFG+ReFIAVein9HdF4dz81fLRhzOnbE1cNX6VriCxxAV9J2xTRamRDyKM7p/Yi7yhCDTbTOld36PDfYQoghAa917IsPfg2hCkot5iET/nkGa7+U7FQvYCtyScZYSshxmt97hl1iDCsXySjtLxIusw7ltD9XRx5cg5tgDf0I2fy0eINSy5GX535b7FNHUorX6zZjoAdeSL9UIRgGAA7yAI0eHGAK6MwYjVz0SmCSzgD6SQMLGkaooA4vLErdNnkG7pmRM4gmc+bvkHYgT7AFiyZIEX5KTMRBoEkLggl6jdRhoRHapJEvYMogfz0tncb6WoODv5hl7rzm+qbPtmaO1EId4LroPRyoAA1QZX1XirAWGRcRAnF+haojYy6gMWovHHXfcCDzjbCZVJIBe1RMZi4gCECWl1qx33fougQdrQpKLeJwSTWzRlkjJNbnO59jmEAgFX+uWzjMAKVsDSIF74Gk6ED/+TQcg4JbxWWlEErtGLEnMfH0uiCYJLl2rzmd9dY6flEBL+iTNZLC7+OKjtaNFXVW7d6iQeX5gybYg/gTBBSgCvN6fvwM5QFvvQMKrwntPCFV/tz7YnQIBW2En/BtA1zvc17tBrFr7qv9RDQfukeX+f8ln1tkREmh/AHx/ptsXJGuSlqyKrnVorVifi0ZsHzfvjG3Atl3xZcjj+TBPa1Ncl2RkAGDxE3mFSPMu2R+SFW5gE9au7hHvVJWXT5VgtA4FIp3DEiaxZko0WbM6cmAYsagnKVvn+XSGmadOOMRdRpeDLgNnWiHK5kRnEAu6SDJIXnMMEgn2Evv8N4gm7y+2gGR9dU4cRQbCS8gdxRs2wJ+Jq3CEA5kzClbuxw/zizqH/d16RaohgvgXvs7fM7r72ACyHJkq4YWbyEbEIGaQ5mKQTmXEU+9gb7YBwwn8h3UYBIH4Cu+av46VLOIgtrLFdrXYls+3kMGnZHSn0A2C+uijj154TqB/R8SatzWa0UGl2CbGLiJAYW2x3npBLGR0xYifiArbc71L97RevDPPAmOaX3xcBUnaQ9KLCzojYXm4eUo06ehnI57HtvKMIsuq9W3dwoc6363bDH0qLPDJ/Mmc6JRT6Dqiy4y1Ym7wiEJSYPQp0cRXKyDJpTPibK+v6P19EU29GjyT/l6CAhBq55W0C4pxZoVkBlnCkUsGMwYH5/4MXSDy9yCaBCkOAgiNAyl7ZdpyYW6SJZXbILI4NQSB6jXw1HJmkgqLQKBlOYZAIeEUeKfBFhttPeIAACAASURBVPj1b6o8qgVZXQ69+tnk9+YQn/6e/k7wRVAgRoBG26EyKhNAqORZ51IMgcjWCCSlhB548veMypnk2TkxOpsEefclX6efZN7aQcRKAhChCEPdFa1bv5xlYm5ADYBLdwgsXSm6AOjUOgGAM+Yn+bRHXWfFfHi3ArS1rDqaARJVrBG5QNIiQC3hBITZQ0YHFfJa9Vay54DJKdHEz0h2ka6IkoyBFJEwSSiATkSXdYEUQXADUXyrCmHvkLwAYxIx8/N3cw2iyZq1HqPDqVceX2VuyFDrL8A1GdanM1388e74802H51cA4DNi8P9sIs4EjDXPv0heJG10LQk9ow3xgO9cdDi3c/3YCkLSnwxw771JUPiTGNYKnwn4SrB1HAHJGb5F4q47RTXZeidfl48DiMUClXrkha0fCDdgnG9rJWUQn/wmHyIGWE/mgZjg58wVKanjJ2N+dKmbQCI2H9Yn/40YyfqqHgzkXmxvTnayTUk13KTTKGPAR5HgWiNTosnadBSAuEDXGUNM4Ksk2dajbmxzVoSMrc5ZHT9RPJHQWvP+bj5BNFkviIPoQOqdn1iKeJTQWv/WumSe/bM7ZLM5u6alwMK2xABdSjH4Fb6Tn5yeVaToKAF2vhZ76CEoevXS+nt4etH5aHyKmA7j2/aMyM6wdeS8Ypv8JwbcoPsMMQPzyYmySDs2IH6zQTgJjnnoQx865hbWKSwjLpAn1vJ78pfWIoiilS8vBqEMg1qXOmnhXX4HCZzRrfX/tXe3OY7jyBZA522p//V2ew3d65uHUzMxIATakqmQnVZdAoUqlzNF8ZIMRtz4IPzYjnSXKnI+rgPrkxyDd1d/IoyQuRy42/VAdvpewENXf/BiE5Av9t5INCF/OUGsqasdHqv765XfC9H0Clr52f8hQHESsigVguDymSJPeFOgED+MTxu3owmttSk9UwjoSDQ5OCgZDmIey47mgJKihFDTr8+MXwYLw8ZYKclIhVebA5A3TLTU0UbYILw6Ctrq0xwRmoxeWG4br7wxEoJXNu8hwoNxb247PJFF2o23VTg4GKJ1nXxnAUhEk4OWMsbbrh+EqIPYIU+BdHghJnlgGeKIwzPpBAwmZGcVBYejNSICiMezq+aHuUeUSRkdowWtDwSXMUshIgu6FCiKsPXg2Vsi17gpidaMiLWOKBUkOWPQ/kb+IevMKcNXtJj9TiHtuD4ent6fIU9JYqTBVlQOeSIKgCzjQeNBPNsYKRQWRobn2Rsj0STyjcykiHbccud9Ge9kJ3KVYgtfUSvGVSl11uhKtB1PH+VL7ZQjzb5HSniPjigAffIyiooReSeyd9vsQQZ3R4TRozFWBCrCzfmHOOhInbPWnU9V70P/dTU4uWa9PrpW/sh8bH/Gmvf+5CYySf9kmvGZ60rHMjb/zzD2s6vFgj2XF5ki7+yzzzXr0t53vktH6fCQe64znrE0pj4yOslOpIHoo86boRh65BcjdLv+RFCSOfSZLj2C3BK1S86IEBPR4Dwgu8lT/TjXRRV2NGemte5v6xERgvhRZJmDSTqRsSPqzzZnjbXGWEfQ0XFHogkhSj9E3nQ4PLwvOU12Wov2g7NQ/TxOHhhyaFkzK2ctOYyMeJRyuMULvvp0DnakdXq+/Ub/of/ObhMzb3SXLmN+tgbIAOSF6EXECaw7UufIJrJzLPxPdtYtheykDkdcjck6R145u8mvSi+2ZkUN+9vY6IX2vEhDhO9qzR+4WZ/WIDLL2ecsEOGD7BXp2uW8NUZ6C4fiuE7ITPvC33WxQQdJqD/7HDlHN9lixFHmfejcHTqn/jg7zJFoRfoJAlkUIUccHZGspkd0nUVn5eGZ3w/RdAa93/h3HVoMZ+GYNr3PNr56JzwEDhLKQClyZ6FC9DDmsfeEK+8ZQ9NnhrDoERuzow6Hd62CzhXS63OF+foeUXEmtaxuxDiKSyn7HRE/+lQvyeFDeaIYbpuoKoc+b+TVDYkozJmXbqV2kXlh/PEkKQzokKBMUQKfNcoaA2aFLByf6/0Z7zCjdGq8n4wZipq1a2z2BwLKoSW8+Ewh8lqPFKYx2sGhRLFY9VrN8DpifHYehowW60EEA6PPQawpEo64ZigioBgcHUoGxbCMT4a7PeH/EBTCwaUnVi2Ejr1ACTQOUWKMTp9FMomg1Cc5hpBk1Jxt1gkjpdJNpAWRyebLmmR8ImBEa53dB/WusCPfzA155XPdKub/7E9/VuauUn5HImQPo3qPjogfxifSTAoLD+esjo+IBIq3+mlXN1EjCooy8q3RVxvZRE7ChqwyVz4jK541yrZz/6zSLeIHCcMIqltjkbrWDQODl7eIJZdXkEVnb6UyRs+2JuvSBmuEzOy+qWlmfFahc5gbZ6fxiZgQgcIIREhUejYdCTmKNDhb52pcF/BD+iIBGWHO4Yoe5qRCAjEMu8ZIH2GUMQqRAyIjybTSG6TyiSLuIM3JGueQCEqRKHQFslS0m/IJHJuMQ+d4xyUYcK1bJmtd+Ozcqxuw6BirOqB17znbGxCf7XPz1rVGOU+QI9YLG2FG7ohSEaXWUdJgTxaS4faJqLEVIs3vOkuR3n6fk8hnhM+z5mftidV5rGcjIDmfrf1af4glhA8SvYgmZy1bjNxkH60STfqt7ARjtD+0OtPJzpUz/RFWpdtWP36uHMXWJXnd2R/HEczsbzKm5gfxi/By7lubXbo1HQbZhFyyJ6wfewJJL/qMfX2HaKb/rpH/+/X3v8fZ3Nuh+f63R4CQFQVQtTYY+QQcRUMkjNoSVYCyAyzLs25f40lisBN2FFFGuzx2QrTT4O1475/4DAJNugLW3J9ZWHQZZyues1fGzJvN84mU4UlYSRdCElgTIh0Y7wwunxkxe01UBUVRyPHqjUYUQdFLCnnyLnkO4w9hQfEVNUKxskZ5gEXrIEiF4682ewGZxtClZNh3vEwIDAYGHLuU3/EdGWhCqBmiVZttdQzPfs94eD6tz4q4c/Dz/lNWu72eo/FZinjtgW7jU7SnNWGdIrIq5N58IXtEO5Gh0jA7WkWYIualW/GYGRtll+JEAZ2Fi3f0fbdnuLSBM4XhaW/P6idQhruuWH+GH7nHy4r8QnDPHAZ7+CM4pbkbB6MZ8YSUdH4/a9aPc0M0C0Nn1XipG1ytUWkYxkThJ0cZpuQAYkTEiNRqZz3i94wCjtiyxxl85onTBflPppIr9uUV555zglNCg90V8hkxgQyRhouErELICGxGvDOWDO0ifoylUlfHq8g9H4b+dPbF2QhDRBOiHCkv1ZjBXWnjHBQdFxsYmzGJ0iI7pcpZI3RM/dlzMIVtp8G7t2e/9XuRffQk9c/IqhnR4v+smavxFJ2NkBXB4n04DV5tdFZpr+Sf6ChkhM9k1p7s5IQQySyCf9UBgjimR9Ih6GL0Cnve3qfP0i/pnMhFkYX2jlTd1f6MSQaLaDNEoH3NUUWfpUtUOmvnfi8cnXEyMOw10aBnxvBobpxB9ro55OgrPRDBLGWX7Fy1EZ71SUaPjjP4ddZ5fHVdX/HziWi6AtXf4JmUC0KHgkao+cyItiEJBBFHogO60k1AWlEcIh7KE+n/qwBrJ8nk+fKf1U+pK5jHaaVYi7TgUeto+iPcYAbXbaNYU546CugSbIqLM3YZKlccDOP7I0REZ8xuIKzi3EKYeQ5XPFmUP4aRdScKC/ki5YlRuNcYNgwNER2r0XDGULehIUa8D0UCaQBjZKw/vBYUKNEH0ohWiwoiCigN1idizX5QK4LHxbq0D3h1KVJdDbHsEKbE8No5hB268sz11aXY1/tWahCvlvWDtDOvdQ16Z+pjF0ZHn2P/UQitEx40BiglnIFvbqWBKGKK/Olq7zQGzZn9h/ic3ZYmyoKHlYLc0fSHMJEWYh9um33IO9hRo4mxSbl2rpH/VxtEjAcpjzyf22YPUvp5tp27K8SF6CVrkZfWHqbw+uws2mtkrqgmtTRWo7esS5EwZBdyHgFDdyBjyDXngZQoJILv6BrSpVZxJ+vJSmQSskKqPwILQW8diYhFVKzWz5thJtrb+Sfq1Vg0e0D/6vtwQnQ2mMKOceaMcL4zBBlp7yBAO8eyfZZ1wMC3l5E9dQsxAgMp5DwUobJaw2v27lXHyN4of7wz1lnbfQ45E4yF86EuZhnfCbmGGOm4dMNz67Zh0VnOoW2zNhFqHTWapGjTbRWq70qlfLbW6CsiQ+y/bbNHjAnZg5BZiS4Stc5xg7wRBUNm+QzTvSaKmS4vQm9VD7QepR4jW43Re5CXzl4kOucB+cYhL52b/DmDuzNWVKlLdBD/+rHXyBc6migg9ssKafcIL7YXB4izxjjIfWuf3SVa8ozD4dFep58JnODgNBZnAuLnHQTo3rr51u9DNH3rzP2A96bo2vy12SvMt27kIehWmWcEAGEiSoRQozQxJAi2dzQKGiMQeTG7KteYEQa8qx2NUFMHQH8Od0qTGhWMTR48kTcU4I7aCpQlHh0hmxSz7c1eHeMZn0E5lGKJHKk2FudGHlDsV/O7xzTHUvwqBH1vLOZZ5IwIBekbq63qQlVIsXXv3+P1pEgn/48Mc3itGkuMT0oDg4uCw4Mt3YTiLaWMgkXhQeyt3mw34kABNX88PRTdSmVjzKiVJCrNOupYmzP8a34r5WR1jur3GJu8ga80nseugraV/lUk60ig+7c1TL6sEMCU3EoJQFaZG8oaIqGrRtEebva59VC1ybY/b5+LpEIudzTpLdam/ebZSFFKIeUQ0YUMrYKpZ/ujgFLsK022W9Hdvp+UJ8r7WIi/inMzlBgXUodWi3OPaY5kcq3NI+k1CCnkOdl95jp5BhOSx9+1x8lNn5HZ+mDESUnUzxmvsihXc4jkIYMZavQKRp+i8fYM0sznM/3UPCJCEFlkv+iJKuLsbEcemj+GVMd19du1Yy5rHuG6et6MzxW1Mavp+GxfiU7rItPKAVG1wnx2DlUdl0obXxmrSBSkLb0TkcV4pifRj2Ypsmdlyez3kbaINMb0jICgC3vHLieEaEHO4iImEPX0MeeGtcuJhNhaSS3bjo8eqz+ZD/SWTsfwDEsOAQTvGGFUxbkRCOSWOmar0YulY9btoyVLjyQHcTTSq8iZFedqjdeZR3bqG572OQLMM31G4uvHWSs1+QzmorbIK7LT+Yckpz8j62AgXZXu0XWrHhuQ081aHNPIrFE6O13Xn476WjPZaX67dE7Ph9OsLtkzOWL/rZCgV8imM88M0XQGvd/od3l1GCwWPaPcZ0rwzAsywkKIr4T0I1woKIxCQsxnXnCh9lc3igtj3TWedSParM8K8z37Pg4KCpyIBgcjLzFDmAeB9wCxIJKEscRo6mi8ZRRs3l3ExzYFhMLGMD2T3lXvWcrh9uaksVZFFUzsGNsrz7B+HWjG3+G1G/s27lHpqPDYUgheec/xZ0VqycEXxcBA4R0TeScijAJn3SCiFEbtKEisACQFAmklfLiUFWOjxNkjDHoHaVczL0gsa18f29skKTMUnRXvGUX+aCQiY5NBqh7UKqnMqORx5GUXho14FaG1V8sBaaLvVxolTHQU2WSuSilDTsDr6qY/0SmUQ/JqNj9VD6dDgRIBpjgpjCnCFG5EF+woxPYJ0oKx5Nw626x561LkIqUR+bFt5gz500HyUnb1M0bw6q9qVZSRs2JYn8XCvrSWjbMzgsR7jemrxl7Oq7OFyKX7O985kch8hoo9zsBn3Fu7+pAW2VGzzBlLl+AU4Jgq8tg6ItOkLXJwrNQmfDR/dCURWta9f9sb1RhlzgXrc6Vx9DHyjjTrwl7g0EKyrTTkBFkiIguZ6rN1t1ejzV5/taA0XdP6qFvmfLbPReB0RuY/wkF/Cqc7a6TkzQzoullzxQmx7Ve0ixv6rHUkgTNJiiDj1jlV+qbvO/a3PS3NEVGPMJ6RV/6fvdBB4FsjYy0h469ap5UW34HjyrquSCOEYVfNn3oPstL4/KFzl/Pq7Fil2LPJlGVA1rNFRIxxkJsvf6tNuFqsfoujc52DhR02nqXWkbpJ9BuReB0kaPUtYlmfZCaSeZQz5A/n7Sqxhawmy440ZK+1IbpxNS39SD/v+pkQTe9C+sv7obTw6iNBGJ6Mc56/PfaesKOwOcBf8WA79Ag1QkskAWWbJ2SMitlCakPOFP9XoUf8CF0WxUHROCug9/pnVCOapLMhmijCPqtVQbAResKOeQ+kDnQ0+PKkGuMs/FsElUODkH+1Ec68gTxiFXbqszXzrDlwKTjv8h56l5EMOjPPlb736FYXIcuMG17zs42SYl3y8sNXIXzrnneekYSkFOUh5aYDS8SVAw+xpUbK2ODHa+Z7qXpV0PfMGEUvIoNEacGVYrE1tF3/TKaskINkSdUu8Z7ICnUGGH4KclfUAYMGjkgi9ZJWvciiKJBUQr1FaCIFeXb3ZKf1KL1MdNBRuSaah7EsgoLBxEDg2bXHHxWf9519t3qT1zjXsER8ksXIvKsJEOeStULZhK+50r8zh2LMOUJ2Wpe8omcb2WytSCFArs48xOaMAo70fbV5PjlZNz75fZ/3inMjS5zNKzf5vfqO9fMlO8uoWX2OfadOHyfSjHy113m2z3j+692cqfYjnCj96qGRW4x7mIs+snYQKmcLnevTXvRca297KyC5JoLKHmWkdRhM0g/JMDLb8+tPjR+5Zv2u3nhahanreaKbyCfEFX2h5kiKlD0i+hVRs0pUwAVRZ08jX8yTz3vNOUjmIk2OyjUkuTE4q/XlnKgbOR/dhsvAdl6spK1uxyBdlbNIlIvIkatlJ0PaeYTcEg3tM30TbnR7Rrx9CcOOW/XsN8QuotI+n+lbHAL244re4vkw9LuICWvV5z2HDmcIIrOb8Hm2RsdIw721/Ox7KWVsImt3qyP5PXqGc6hjbByKot+kWFsbSGxRmXQwa1UUIJ0TWXgmcqrGay8i4ZW02EadGasIeg4CBH6H0+rvv//+5YyjQ1UU/aijiTAk71ZTHeu5NT6y2jnD5pN2WNk/iC77xP+Tn2fskjNrq/N3QzR1onnjZ1VKBuXLQUioi3LYy0d2WAt9pyhjoY82ETcMCIof5duGRwA9Y5MZEyIgOhohithC7FydcuIgRGwRLA52nwlwSoe/Ya14N6WYcX22eT5yQAg27+asvoaDiYd3xbhmgFEyER6UUN5Mxbmtl2fNYcVgEokguqsjdeEsVkd+3/pEMDnUHQrSBBTMtlYpovBwCCuc25GmWOsDtgxpBz98RS/x+FIIHMTqTnUoq4gKygyiaRadaO1at+oNdERQkRMi+JBoj6KWzqSXbeeUlxWxixixF8aoA0SGvUcJ4EFbaRR4JDJlHgnhs/6sm2eN15A8o4SIfDjSyEmKijRbfRpLeeUeKWMURbKuo/6b/pFzbr9ioPDMXdmQ8AhWxJaIJp+tHZ+Rg+Q4I5Us60i75mRBvtuDjPWZjEJUOItWjE91L8y1uapCrmShPbYnOxFN5pFx/i1eUCQTOeWssN/rJjjGIlmGoKB0M/w7SDRnqXMWUU8nIbPVoDFnsBcBpy9Org7ZySvPqORkMD/bRm47IxBRHRFUSALnjUgVZMXWwDQm51KHYWYs5k7kkIgshE5h5vwh5+CJ4F51sCCV7GFRFAgdnz13Gx29xZVTjiFHFhytt2WeRIPaf5w5mn6e3brmPETWrETtb99Z/0gfUeQi4DrW+zOZgZTXHzmJHPCZc4KDBznhHKazkaurNdjG/qXaIpEQx7O16WfJzdUb2ch5KdSwIwedf4jcWd2+8b2ckSLDnSPO6NVyH1eec7NnI5k4V5x59Er7BFmN7KUDICnoiI8Kr7/6vpxI5CXdBWYIa8EDSCAOa+e+iLgOOebdkMrOWNF2s/RGMtX4BSN0yDMYIq2KnN7Kf59XU9RnWMOO/SWjZBwffc15L0OA/PyWs3xHP8mtc69uuN/x56uOiLFTXiodag8LPyfygrA4UmC0nlf9YYGFFJfnTG7zrBF8BGxXiLOIB3VuKIqUzm1qGcGAgPrzzz/3IDj0vfEJMcfQixqhTPEEOiwo26JWhDBTDM425CCFjYENz9nBWl7qFTYdSUhJYUQQojyEPlPk9xolWWoKheGqmj977/Dq98gIKYgUNe/t4Ee8MG4RC7yilAJGxVHv6t47OIyqKP5IuogG8j4MtZW0slm/9p91wku4LTBuf/rO+ETqdEQBUEitT8QWBbfD4HuGJ2LOwU6p3q53cohCJRWFcbrSKvXHs3n6jtYPY3joU3SAdIOjrQp/i4Sxl4ytaijMnoEQYcR1rU2Kvf1Ahs1u8CKnGVMdXnLzw8vqjBHBxJhnMFB8GUsIX3uC8kgWnW1kmGgxERwibWdrs+rhrKxbMsR8eQYC2RoQhcOI2GvejZLvDGEwfUPjTOJMQUYYL1mCxPO5Lljg0ebZXsFzi0HpLZVSUzejeTZiC9El8miFJJzh/c8///yS/4yibY03c40YYigheTsMikpd8XdHVMHeGlJrjWGPaNrODznke2NfjaByzo31Z3yeRW5s39PPWDP2PeLwaKvC3+rckF8cSObtUdotw953XesFkU2HqLTDrW6GuOd4WI0QG3GAK1lBlpWOa75gTI92DiN/EVEdxccREXBFgiKTHunxKzqnZ9FTOFDJPrJf1L7PdJS95gyxZ6yXDmz3+uv4ni7GGWV+yP26BZE8YS/QZ/x5hPWr71D10IrkZROVjLFXOF04rbqIOhcViZyiS2zTYNkWSCFnB+fm6poZMbCXBUXQgzqet4evMSG0ZxFS9iD93Rkxu9l279k/7ftENP20Gbnh+zCIeZcckCuN0kDp5NnlPZq1M8TI7HkMFIKcl2RWP4hi4VAmDDuaMF/GLMHiwPOZgirqyPgp26KZOsLrHRSMGXjqo4McGDGosNNSEM1NGdt7WDGO1Rdi+FJQv6E5LET8UAKRgT4LDxcNxmCiADF8kZIdxu4zTLrSWcY+GF/mRHQhBbRu70LGWrO8xzyIiNEOY5AyKoyZwvgOstFcUYKNYVsDzdjIHAd/RzThq+uZ8Yu4fZS68ex59h8vJAJC1MSjYubmrKtYsPdhoPAk63dm7DJa1P/gPe9oyGlENmXb/JGhokERhGSbSDQGREeEJNLPWkGSiRzqblWM23MLuzK29/oi00W9MjRWa/Ds9dH9Pa+t9V0RP6KNkEBVIwk5j4AhWzpS5/b2i+87jQxGrkhWZKEzvIpiMxA5ehg1og4Qsh3Nmc6AESHV5Wh49l4cX+aHkbutJ6eWoDQ+ZJqIpHc30aAM3xWdib6CvCbLnHePIrvPkMozPKx/EZP03dk6FHnE6dBFJCO2yGnnLIegSFTyUq0aBIUzj7OzI/VKOieZTPZ31Mvb4lfFuOGG7ChZupei7jnSaTkkRMh01NZ7x1pH2CEIzZ3zHVmN9BXB5+xAtJrLrvnbk51nU6i3z1e6wN4zFtFNVbfL+c45SLeWqtdlvyDD4cVOfQdJL6BAfxyq24gsN/bKECCDVmtCvWMNHu0jRNNRpPJzpxCoYp6rD3FYUEA7vH5771BEDENIqOjsUCeIGExVz2XvmXvfj+RMRYxV1EoZHQRthyHveRQZYa5llHUJ671x7n2PvEA2Ea4r9Xf2nn/F9wxdEUwahdtnxJN1xMiQ3sZj5mB5VCfnivfqfKZ6W0hJinAV5nY4Cjmn8DBsXi2++uj9ENNqPokGELbfZYQ96o+yreg+soKSVpE2yGaeQYorr6GozHe3Ig5Xjd9StsmNdyhPUpOQPAxr5MDMm4rwITe7Quy3Y6yzQtp2FR4nUztkJ2MGaSwtw5pHHvyUhlSUDsaw/havPAJbBCYiQtqMzyKf1WQSzSgFm+4gWq0r4u6d82UtGg+vvLGpVag5y0VwOS+klncZE/riEBDRIVV0tZ7IUYyk0YjAIZ8QnEXqkKnSIaXMqVd2xa16e+9or54xfou4OHt5x9571vfOG85LeiXyYJY6VxFUXVEO2zH67PytGyCt065zwz5Gqjoj6EVdkTZH8X32cxxK7AvYr95C1/EerzxD2ipy1znE8Q1bJFnVl0OckJvOqHfYTa+8+5GfJTsRnshzkUt1Yxv9AYkmpRoBvKobbd+Bk4bOIqqWo6YrMuvRWDlZpMcjtpwF1Z/sANk0ggzI8o60wCN4X/kzIZquRDfP/koEkB0UKOSAiKZHAqciAb5tkMbH+60WgYgUh9DWCKPk8NgT8u9uZxXEd7+vA9DBoJYPD6CDT60HBjdPvRBukSnq5nTc4vfu8emvjHlj5WniaZGeRzFjxHfeGigMG3YMFREBs/0nJZHnt+PabOtNFNpff/31a79X0XrKm/niWVJXokvh/sT8vatPJCtFjYFSNctmfXdGUL1rbPoRnYg0QIQiX2drQkg/BfLdUUVXRDNeja2UcXUokMmIXIYF0tf6YUSJbJSWJSqm4yaqq8czez75wungj/EytI0NaUB2dho0ahJxINmH2oxclU7DUOtoCAn1YBhNUkpFhWiiqdQgMW9qn3QZgx3v/FOfIZJX+QRRDmTHbO6+VeeEuegwGQCcEEVkbedCnUSRxSvFwM/Ma1dx7jPv8Orv0t1Ft4nqke4rzROpy5lJx3cOs2NEoXfKmFff88zPmxcEINmJCEK6cEA4C8jOTrkik4QMg92j59Llu8h7Y+JMFbWrxEGlBHOwI5xl1HSl5J6Zg47fDdHUgWKecSsEbHjKk2gKBMLVRRnfDR7B7YYfhvyjege8OiK5Xrkp8N3j+En98coLDRcNo/iiz24coggISadwUyC/9cAfsWbQFhnYedBXH7yLDnyE1qOwdwSXNMSuqJjRGByvVjdfRaT9pPX2U9+FkubmIqlBPK5dkRo/ZbwUTcXxrdFHa1MKLQ/l1YXQfwomZ97DXlOPrWpSidRA0otkQupJoXM76krq6Jn3uup3jde6uYpoZWw625+lC7lso+NSisKIDsEBgTyowR86PwAABc1JREFUfhEijMJuY/CqefkJz0XSMXY5NkSh3CGSYcRV/Ruys8jIGeZ0J7KzI835J8zple9g36khSw8iH+05UU2IZA46Fxm5xe8u9kvZKlfp0Eh6JUueyU6ReJ3RYWQme2y0w5wN9v63RNYdWeMhmo6glJ/57RBgKCkqK00IWXAXYT0qh3tFNat48W83+QsDroifsT4A5buu8aVwd9Q5WHi1r/sVxpi1+ezAr1SwjnSorwPoh7+w2ihqcQhrp+jeiWw6ujYpw1eQsD986pder25FhJn9zNNLbsK6FO5geQzaI/W83pUKduyN81OFgPNOCr6oWrdRSam8E9l0pE5n6U8514/tCzomuVnkC7np/6wlhIj1EyyPY7n3k9Hh9xCafx+iaQ23/NaNESCsRae45lW+7Cy1TEijkH5RK2lBIAgEgSDwr1/pZGoYiWpSL2am6Ir0cduR+hFpQSAIBIEg8K9f6dsunlCyQYH8WeTGH3/88Ss9X73HtCAQBILANyAQoukbZinv+FYEeATky8tvfhT1g9kWrvqJAsFvBSOdBYEgEAQOIiAtwi1Gag5UCuL2V0WHuh2O0ZQWBIJAEAgC/7mghc6pvtajaF61i+ic765hlPkJAkEgCKwiEKJpFbn83q0RqNs4Hg2yijJelS98a3AzuCAQBG6JQNXvepaWS3YmteyW059BBYEgsIjAePPwo0cktWwR3PxaEAgCH0MgRNPHoE/HQSAIBIEgEASCQBAIAkEgCASBIBAEgkAQuBcCIZruNZ8ZTRAIAkEgCASBIBAEgkAQCAJBIAgEgSAQBD6GQIimj0GfjoNAEAgCQSAIBIEgEASCQBAIAkEgCASBIHAvBEI03Ws+M5ogEASCQBAIAkEgCASBIBAEgkAQCAJBIAh8DIEQTR+DPh0HgSAQBIJAEAgCQSAIBIEgEASCQBAIAkHgXgiEaLrXfGY0QSAIBIEgEASCQBAIAkEgCASBIBAEgkAQ+BgCIZo+Bn06DgJBIAgEgSAQBIJAEAgCQSAIBIEgEASCwL0QCNF0r/nMaIJAEAgCQSAIBIEgEASCQBAIAkEgCASBIPAxBEI0fQz6dBwEgkAQCAJBIAgEgSAQBIJAEAgCQSAIBIF7IRCi6V7zmdEEgSAQBIJAEAgCQSAIBIEgEASCQBAIAkHgYwiEaPoY9Ok4CASBIBAEgkAQCAJBIAgEgSAQBIJAEAgC90IgRNO95jOjCQJBIAgEgSAQBIJAEAgCQSAIBIEgEASCwMcQCNH0MejTcRAIAkEgCASBIBAEgkAQCAJBIAgEgSAQBO6FQIime81nRhMEgkAQCAJBIAgEgSAQBIJAEAgCQSAIBIGPIRCi6WPQp+MgEASCQBAIAkEgCASBIBAEgkAQCAJBIAjcC4EQTfeaz4wmCASBIBAEgkAQCAJBIAgEgSAQBIJAEAgCH0MgRNPHoE/HQSAIBIEgEASCQBAIAkEgCASBIBAEgkAQuBcCIZruNZ8ZTRAIAkEgCASBIBAEgkAQCAJBIAgEgSAQBD6GQIimj0GfjoNAEAgCQSAIBIEgEASCQBAIAkEgCASBIHAvBEI03Ws+M5ogEASCQBAIAkEgCASBIBAEgkAQCAJBIAh8DIEQTR+DPh0HgSAQBIJAEAgCQSAIBIEgEASCQBAIAkHgXgiEaLrXfGY0QSAIBIEgEASCQBAIAkEgCASBIBAEgkAQ+BgCIZo+Bn06DgJBIAgEgSAQBIJAEAgCQSAIBIEgEASCwL0QCNF0r/nMaIJAEAgCQSAIBIEgEASCQBAIAkEgCASBIPAxBEI0fQz6dBwEgkAQCAJBIAgEgSAQBIJAEAgCQSAIBIF7IRCi6V7zmdEEgSAQBIJAEAgCQSAIBIEgEASCQBAIAkHgYwiEaPoY9Ok4CASBIBAEgkAQCAJBIAgEgSAQBIJAEAgC90Lgf0TTvYaV0QSBIBAEgkAQCAJBIAgEgSAQBIJAEAgCQSAIfAqB/wf6Lrfij+te9QAAAABJRU5ErkJggg=="/>
          <p:cNvSpPr>
            <a:spLocks noChangeAspect="1" noChangeArrowheads="1"/>
          </p:cNvSpPr>
          <p:nvPr/>
        </p:nvSpPr>
        <p:spPr bwMode="auto">
          <a:xfrm>
            <a:off x="2133600" y="2133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AutoShape 3" descr="data:image/png;base64,iVBORw0KGgoAAAANSUhEUgAABJoAAAJWCAYAAAAQk+1zAAAgAElEQVR4XuydB3hUZfaHf1PTC0kIEIoIiAqiIqKiWNgFFcv+xS4rLii4yOIqyK6IDUFFAUURBYEVFRVFWeyoKCguoiKiWFCaSC8J6b39n/OFhABJ5s7MmStJfp9PnkTmu+eb+96bZPLOOedzlJeXl4ODBEiABEiABEiABEiABEiABEiABEiABEiABAIk4HA4HHKog6IpQII8jARIgARIgARIgARIgARIgARIgARIgARIwBCgaOKNQAIkQAIkQAIkQAIkQAIkQAIkQAIkQAIkoEKAokkFI4OQAAmQAAmQAAmQAAmQAAmQAAmQAAmQAAlQNPEeIAESIAESIAESIAESIAESIAESIAESIAESUCFA0aSCkUFIgARIgARIgARIgARIgARIgARIgARIgAQomngPkAAJkAAJkAAJkAAJkAAJkAAJkAAJkAAJqBCgaFLByCAkQAIkQAIkQAIkQAIkQAIkQAIkQAIkQAIUTbwHSIAESIAESIAESIAESIAESIAESIAESIAEVAhQNKlgZBASIAESIAESIAESIAESIAESIAESIAESIAGKJt4DJEACJEACJEACJEACJEACJEACJEACJEACKgQomlQwMggJkAAJkAAJkAAJkAAJkAAJkAAJkAAJkABFE+8BEiABEiABEiABEiABEiABEiABEiABEiABFQIUTSoYGYQESIAESIAESIAESIAESIAESIAESIAESICiifcACZAACZAACZAACZAACZAACZAACZAACZCACgGKJhWMDEICJEACJEACJEACJEACJEACJEACJEACJEDRxHuABEiABEiABEiABEiABEiABEiABEiABEhAhQBFkwpGBiEBEiABEiABEiABEiABEiABEiABEiABEqBo4j1AAiRAAiRAAiRAAiRAAiRAAiRAAiRAAiSgQoCiSQUjg5AACZAACZAACZAACZAACZAACZAACZAACVA08R4gARIgARIgARIgARIgARIgARIgARIgARJQIUDRpIKRQUiABEiABEiABEiABEiABEiABEiABEiABCiaeA+QAAmQAAmQAAmQAAmQAAmQAAmQAAmQAAmoEKBoUsHIICRAAiRAAiRAAiRAAiRAAiRAAiRAAiRAAhRNvAdIgARIgARIgARIgARIgARIgARIgARIgARUCFA0qWBkEBIgARIgARIgARIgARIgARIgARIgARIgAYom3gMkQAIkQAIkQAIkQAIkQAIkQAIkQAIkQAIqBCiaVDAyCAmQAAmQAAmQAAmQAAmQAAmQAAmQAAmQAEUT7wESIAESIAESIAESIAESIAESIAESIAESIAEVAhRNKhgZhARIgARIgARIgARIgARIgARIgARIgARIgKKJ9wAJkAAJkAAJkAAJkAAJkAAJkAAJkAAJkIAKAYomFYwMQgIkQAIkQAIkQAIkQAIkQAIkQAIkQAIkQNHEe4AESIAESIAESIAESIAESIAESIAESIAESECFAEWTCkYGIQESIAESIAESIAESIAESIAESIAESIAESoGjiPUACJEACJEACJEACJEACJEACJEACJEACJKBCgKJJBSODkAAJkAAJkAAJkAAJkAAJkAAJkAAJkAAJUDTxHiABEiABEiABEiABEiABEiABEiABEiABElAhQNGkgpFBSIAESIAESIAESIAESIAESIAESIAESIAEKJp4D5AACZAACZAACZAACZAACZAACZAACZAACagQoGhSwcggJEACJEACJEACJEACJEACJEACJEACJEACFE28B0iABEiABEiABEiABEiABEiABEiABEiABFQIUDSpYGQQEiABEiABEiABEiABEiABEiABEiABEiABiibeAyRAAiRAAiRAAiRAAiRAAiRAAiRAAiRAAioEKJpUMDIICZAACZAACZAACZAACZAACZAACZAACZAARRPvARIgARIgARIgARIgARIgARIgARIgARIgARUCFE0qGBmEBEiABEiABEiABEiABEiABEiABEiABEiAoon3AAmQAAmQAAmQAAmQAAmQAAmQAAmQAAmQgAoBiiYVjAxCAiRAAiRAAiRAAiRAAiRAAiRAAiRAAiRA0cR7gARIgARIgARIgARIgARIgARIgARIgARIQIUARZMKRgYhARIgARIgARIgARIgARIgARIgARIgARKgaOI9QAIkQAIkQAIkQAIkQAIkQAIkQAIkQAIkoEKAokkFI4OQAAmQAAmQAAmQAAmQAAmQAAmQAAmQAAlQNPEeIAESIAESIAESIAESIAESIAESIAESIAESUCFA0aSCkUFIgARIgARIgARIgARIgARIgARIgARIgAQomngPkAAJkAAJkAAJkAAJkAAJkAAJkAAJkAAJqBCgaFLBWHeQwsJCZGRkIDIyEjExMVWTy8rKsGfPHvP/DofDPCZzZNT2mPy7xCoqKoLH40FiYqKZX15ejry8PHNc9TVsOD0uQQIkQAIkQAIkQAIkQAIkQAIkQAIkQAKVfsNhPEe5mAoOVQKCND09HZ988gn+/ve/46abbsKkSZOqRNKGDRvQvXt3I5dEGt1yyy0YNWoUXC4X1q1bh9NPP9085vV6zWMjR440kql///5Yu3Yt2rdvj8WLF5vH5d+ffPJJE+fuu+9WPQ8GIwESIAESIAESIAESIAESIAESIAESIAErBJjRZIVSgHMkw2js2LHYvn074uLiEBUVVSWa9u7di3PPPdeIpb/97W/44YcfcNFFF2HevHk4/vjj0atXL/PYDTfcgDVr1uCSSy7BCy+8gOLiYrz88st45pln8MADD+Dss89G37598cYbb5h/f//99wN8tjyMBEiABEiABEiABEiABEiABEiABEiABIIjQNEUHD9LR+fm5uJf//pXlWgqLS3FypUrcdlll2HXrl0mRk5ODu666y6TzXT11VfjyiuvxI4dO8xj2dnZGDNmjPn6jDPOwOrVq41kevrpp3HMMcegS5cuRjYtXboUrVq1svScOIkESIAESIAESIAESIAESIAESIAESECPQHZBKUrLAi8WczqAmAg3TN1ZPR4UTTZcvENFk/Rskuyj6dOnG+EkQ7KfpkyZYv7/0ksvxcyZM/HVV19VPfb444/ju+++w7BhwzBjxgw89NBDmDp1qim9+/bbb3HWWWehZ8+eRlQlJyfbcFZcggRIgARIgARIgARIgARIgARIgARIoJLAnW9sxI7MQgTamKhJpBuPXd0BXrezXkOlaLLh8mmJpp9++slIpsGDB+Obb74xZXM9evTA5s2bTTPwl156yWRNiZCSz/4MOV6yqkpKSvw5jHNJgARIgARIgARIgARIgARIgARIgAQA/PutncgP5k/q8nI81q8FvK7Dc5rcbne92fiLosmGb4eaRJP0YpKMJMlGkiEZTZMnT8aPP/5oyuCkLE5kUvXHNm7caPo0yZBeTcuWLcOjjz5qsptGjBiBDz/80GRJhYWF4dZbb/XrzLKyskz/qH379vl1XKCTZXc8KQmU3lV2DClXlOsQGxtrx3Kwez0RhHIP2XF+slZ+fr5tP+TsXk++tyTrMDo62pZ7xe71ZMdK+bDr/GQtOUd/5Xeg8O1eT+4V+X6v3DE00Odt9Ti71ysoKDC7mdp1frKevPERERFhFUlQ8+xcT35uyg6z4eHhQT1nqwfbvZ78DnI6nbadn6wnWdzymseOYfd68ppFNniRDV/sGHavJ29uyrnZdX6yntwrwtSOYfd68ppafm7KH6F2DDvXk79R5HeQXecm68lrFvn5Ysewe73MzEzzGl5+Xtsx7F5PNsiSv4fsOj9ZLyomFlIpV1JabkrmyrveAETEy35rdSIO9zghH4fNKsxG2bcvAmWH26qkpCTcc889tv0sC+YeoWgKhp7FYw8VTfKHs/RTuv7667Fp0ybzw0x2p5Pm36eccgo6dOiAgQMHQnalq/6Y7EJ38803mxfhv/32G2688UbMmTMH69evx+zZs42EevXVVyFC6sEHH7T47CqmiWC67777MG3aNL+OC3Tynj178PDDD+OJJ54INIRfx0m/Kyk/FJlnx9iyZYtp2P7II4/YsZy5j5577jm/r3sgT052RHzllVdMo3s7xs8//4wFCxbg3nvvtWM505j/3XffNT3T7BjSc012ppTvfzuGlOcuX74ct99+ux3LYcWKFVi1ahWGDx9uy3oi4OWeGTp0qC3ryc9y+Vk9ZMgQW9aTnUa3bduGQYMG2bLeokWLkJqaigEDBtiy3jvvvGOya6+77jpb1lu4cKHJ5L3qqqtCvt7rr79u/lDq169fyNeSBeQNLRHKUo5vx5g7dy7kBbC8WWbHkNc/0peyT58+diyHWbNmmddnslmLHUMy2Dt37myy1+0Y8vqvW7duJlPejiHtIqTlg7SAsGPIm6m9e/dG165d7VgOEyZMMBv5SB9VO8b48eNxxRVXoFOnTnYsZ14Dyi7YHTt2DPl68ke1/M3Trl27kK8lC4wePdq0KmnTpo0t68nrP9lZPCUlxZb15PWf9P61q9WKvP4bN24cEhISbDk/ef03ceLEkL35LiJJPkrKgJKycowcdSdu+ued2J3rwO9p+fh9XyH2ZhcdVjbncABupwMup8N8drscuKBzAi7qkmj+zeoQRyAtduyS9FafV03zKJqCoefjWBFCaWlpRiKJ+BEbL38sSxaPvMMvL/4uuOACs+uclMXJDzX5g7pt27b4y1/+ggsvvNC8uJfH5JtUdpY7+eSTITvWSTNw+eUsj8sfxpLBJKJBXui1b9/exPRnUDT5Q8v3XIom34yszqBoskrK2jyKJmucrM6iaLJKyto8iiZrnKzMomiyQsn6HIom66yszKRoskLJ+hyKJuusfM2kaPJFyL/H67Nokh5LIpPkw8il0nLszirC1n2F2JxWgM2pBdiSloeyGjKXqgsl+To6zIWjEsPRJiEMbRPD0TYpAtHhLr8bflM0+Xf/NdjZ8q7sTTfdhC+++KLqHCWtVTIlRARJmdzFF19sHpN3HeWXrsglKcOQx+SdEBmS3iiPiZSSsom33noLn332mSmvkyHpq/fffz/k3VKx05I94O+gaPKXWN3zKZr0eFI06bGUSBRNujwpmnR5UjTp8aRo0mMpkSiadHlSNOnypGjS40nRpMdSIh0Joikrv8TIIn9HbmEZtuzLN1JpS1qFXMorLMWhkZwOyVCSjCWnyVbyuh1Iia8USuFonRCG5rFhkKymYAdFU7AEebztBCiadJFTNOnxpGjSY0nRpMtSolE06TKlaNLjSdGkx5KiSZelRKNo0mVK0aTHk6JJj+WRIprG/HcTtqZLD8jAzk38UOWhlSVwpgzO5UBuVhbat0oy2Ury0TYxAq2ahBnZFIpB0RQKqowZUgIUTbp4KZr0eFI06bGkaNJlSdGkz5OiSY8pRZMeS4omXZYUTfo8KZr0mFI06bH8o0TTI48+iqhoadAtJW/AHfPXI7ugNOATE7kU6XWZbKWoaiVwIpaeGD8a06ZMtG3TFIqmgC8jD/yjCFA06ZKnaNLjSdGkx5KiSZclRZM+T4omPaYUTXosKZp0WVI06fOkaNJjStGkxzKUoqlSIpVJ/6T9Qkn+7d93jsY/RvwbeeXhSM0uRmpOEVZsyqqx5O3QM60ogTvQrFvEkuQlhbkduOyUpjg6KRzNYsNQvXf34MGDzU7ydu3OS9Gke38ymg0EKJp0IVM06fGkaNJjSdGky5KiSZ8nRZMeU4omPZYUTbosKZr0eVI06TGlaNJjWZtoyswvMc21A6xkM/JHYuzOKq6SSXtzKr7emSHNuV21noTIJJcTcErpW+XX5rMDidEe06y7ogQuHK2ahPssgaNoqv1+4a5zut9L9TYaRZPupaNo0uNJ0aTHkqJJlyVFkz5PiiY9phRNeiwpmnRZUjTp86Ro0mNK0aTHsjbRdO+bm/B7WgEC6M9tnpyUstXVb6lSJok8OvTr+Eg3kmM8aBrjNWKpqXwd7UFStNenVKqJDEUTRZPud0wDjEbRpHtRKZr0eFI06bGkaNJlSdGkz5OiSY8pRZMeS4omXZYUTfo8KZr0mFI0Bc+ysqytvLwcI+8YhdF3jUF8fJOKnknlwL0LNyEjvySohWqTSZkZ6TiqRRKax4UZiZQY7Q1aJtX1RCmaKJqCupEbw8EUTbpXmaJJjydFkx5LiiZdlhRN+jwpmvSYUjTpsaRo0mVJ0aTPk6JJj2ljFE1ShlYsBijAIaVskj0kIqmktByZBaVIzy1GVn4p5r/1Hk489UwUOzzIzCtBRl6JeczKctVlkpS5OZ0V60jvpNgIN5JjJRvp4MyksXeNxORHJyA2NjbAs/HvMIomiib/7phGOJuiSfeiUzTp8aRo0mNJ0aTLkqJJnydFkx5TiiY9lhRNuiwpmvR5UjTpMW2Momns279h014pZQtMNnlcTiRFu5FXVIasgpI6y9oqr1RVryQRSI6Knknmc7X/j6tBJiVJuVsdZW5Dhw7FxIkTKZr0viUCjsQeTQGja1gH+iua5OdQYUlZwBDS0tIw7elpuP+++wOO4c+Bu3fvxuzZs3H33Xf7c1jAc3fs2IEXX3wR8svKjrFl6xbMf20+Ro0aFfLlfvvtN7z55psYMWJEyNeSBTZsWI9Fiz7Arbfeast6v/zyC5YsWYJhw4bZst5PP/2E5cuX4+abbw54Pfnl7HXJ+0m+x8qVK816t99+u+/JCjNWrFiBVatWYfjw4QrRfIdYtmwZRE7KCw07xtKlS7FhwwYMGTLEjuWwePFibNu2DYMGDbJlvUWLFiE1NRUDBgywZT2KJj3MFE16LCXSrFmz0KFDB/Tq1Us3cC3RZsyYgc6dO+Pss8+2Zb1p06ahW7du6NGjhy3rTZkyBT179kT37t1tWW/SpEno3bs3unbtast6EyZMwCWXXIIuXbrYsh5Fkx7mxiCaRt91FxKTkk1DbpFLY/67Cak5xSoQpX9SlSxyOFBUWICIiHCThVQhkyp2douLcCE+wo24SLf5HCNfh7shPZTMR4TbzPN3UDT5Syx08ymaQse2XkX2VzQVFJfhi42Z9eoc+WRJoKESkCaGXVpFWzo9iiZLmCxPomiyjMrSRIomS5gsTaJosoTJ8iSKJsuoLE2kaLKEyfIkiibLqHxObCiiqbJPksgk8yH9kcqA+8eOxYAbh6LUG4u92cVIyynC179lI1sykXzQqco4qp595ATcDodp0C0iKdztNGVt8ZEuxEd6sOSDt3HNZZegRVIMJENJPmLD3WZ+KAZFUyioBhaToikwbg3uKIqmBndJeUKNiABF04GLzYwm3RufGU16PF9//XW43W7069dPL2gdkSiadDFTNOnypGjS5UnRpMfzSBBNlT2TAqxkMxInK78Ee7KLkSofOUXYm1Px9a6MfJTCWSuwg/oiOR2Q3kiu/b2RosNciIv0mGykSmlUmX0Ut18shXucqO6QJKN93LhxSEhI0LtIdUSiaLIFs6VFKJosYWr4kyiaGv415hk2XAIUTRRNobq7KZr0yFI06bGUSHPmzEGrVq3Qp08f3cC1RKNo0sVM0aTLk6JJj+eRIJoefHcz1u/JN5lIgQwRTXVJqsNkkhFKFY22K/siJVVrsi19keTD6z5YIll5bhRNVihZnzNw4EDMnDkTXq/X+kF/0EyKpj8I/JG2LEXTkXZF+HxIwDoBiiaKJut3i38zKZr841XXbIomPZYUTbosJRp7NOkyZY8mPZ733HMPbrzxRrRr104vaB2R7BBNlWVtpj/S3ffglmH/QLNmzUxpm/zbg+/9jj1ZRUGdb20yKTMjHW2aJ6J5k/ADO7aJSIoJXCbV9UQpmoK6jIcdTNGky5PRbCBA0WQDZC5BAiEiQNFE0RSiWwsUTXpkKZr0WFI06bKkaNLnSdGkx/RIEE0ZeSUoLi2H/BfIcKCi/EyyjCROdkEp9uUVIyu/FAvf+wjHntAVZZ4IZOaVQMrm0nNLUGIhm+lQmSQNtyUrSdaSPkjJsSKPvEiUndr2i6RHxt6Fe8eMRnJyciCn4vcxFE1+I6vzAIomXZ6MZgMBiiYbIHMJEggRAYomiqYQ3VoUTYpgKZoUYbJ0ThcmM5rUeVI06SE9EkTThPd/xy+78gIuZZPd0xKjPJDNlEQySdaSryGNtaWcrVImVezkJju3wfRNks+HySQLmUmy6/CYMWMomnxdAIuPDx48GFOnTkVkZKTFI4KbRtEUHD8e/QcQoGj6A6BzSRJQIkDRRNGkdCsdFoYZTXpkKZr0WEok9mjS5cnSOV2eFE16PO0QTdVL2e67bywG3XQTUlq2RFkZzG5tjy7agh0ZhSonZXZnM9KooidSYUE+IiMi4HY5zb+JYPK4HIgNr2i8Hb+/8XaM7NgWLru5uREvX0e6zTx/B0WTv8Tqnk/RVDsf9mjSvdfqbTSKpnp76fjESQAUTRRNofo2oGjSI0vRpMeSokmXpUSjaNJlStGkx7Mm0SSlbEXS0Mh3YlDNT2S/5JHEopLScmQVlCJ9fynbW4s+Rvvju8DhjYKs418p236JVJmNVK3JdmU2UpjbidiIClkk0uizxe/hL317o03zBJOhJP8WE+4yMioUg6JJlypFE0WT7h3VAKNRNDXAi8pTajQEKJoomkJ1s1M06ZGlaNJjSdGky5KiSZ8nRZMe00rR1Pboo02PI2ld9Pjirfh5R+4fU8pWraStqrzN/JsDUWEus2tbbITLCCPJQJLMI/m3+EgX4iM8CPc4Ud0hjRo1CiNHjkRKSooetDoiUTTpYqZoomjSvaMaYDSKpgZ4UXlKjYYARRNFU6hudoomPbIUTXosKZp0WVI06fNsbKLJZBiVlAWeYOQAwj0uSIpSpUwqLy83Umny5Mdw5VVXoUnTFBSWSI+jEry6cg/2ZherXLjKUjZpoC1ZRBWlbOHwuCuyiuTf3U4nYkQemZI1F+LD3YiuVspWIZICK2WjaFK5jFVBhg4diokTJyI2NlY3cC3RKJoommy50erzIhRN9fnq8bk3dgIUTRRNofoeoGjSI0vRpMeSokmXJUWTPs/GJpoe/2gr1mzLsbRTWk20wzxOdGsTYx4SYSWlbNI4O6+oFBk5BSgpd6J6GpAUlVmpmqvseWSE0f7+R5J5ZKSSs6JPkpSyiSiSzCMRSZ9/sggX9TkPbVOSTCmb/Lv0SwpVKRtFk+73H0WTLs9gorFHUzD0GtCxFE0N6GLyVBodAYomiqZQ3fQUTXpkKZr0WFI06bKkaNLn2dBEU0WWUbkpVSstByZMeAT9rrgSbY9uh7Kyckz5eCs2pxbog9wfsXoDbcf+RtoiiSq/ls8ikirnVX6uKmUzwsh1WClbXIQHEYeUso0ePRrDhg1DmzZtQnY+1QNTNOlipmjS5RlMNIqmYOg1oGMpmhrQxeSpNDoCFE0UTaG66Sma9MhSNOmxpGjSZUnRpM/zSBBNUs4mpWZWMn9qIiBZQ5LFU45yk12UlV+KjPwSZOaV4KNPlyO5dXvAG4XM/FKk5hShqMT3SrUJI1lHHqtJGKXv24fkxHjERoYhOtwFr8tpsozC3BU9kSI9LtP3SBpoe90OiDwK8zgQHRZYFhJFk+73w/DhwzFu3DgkJCToBq4lGkWTLZgtLULRZAlTw59E0dTwrzHPsOESoGiiaArV3U3RpEeWokmPJUWTLkuKJn2eR4JoevLjbVi9NdvsqhbIcDsdZnc0kUwFxaWmX1Jdo7JMTUrTnE6Y5tiu/eVp8lk+pEwt0uu0JIxiTeNsByaMux9DBt+Edu3aBXIafh9D0eQ3sjoPoGjS5Tlw4EDMnDkTXq9XN3AIolE0hQBqfQxJ0VQfrxqfMwlUEKBoomgK1fcCRZMeWYomPZYUTbosKZr0ef4Roqnf5Veg43HHo7S0osRNdmZbtztP5eSqSyTpb1SQX9Ew2+tx7ZdJB3Zcq2yMHRdRsQObNMmOj/QgPsIFj9sJyZTyZ1TuOkfR5A+12udy1zkdjpVR2Ay8dp4UTbr3Wr2NRtFUby8dnzgJUDRVuweWLVuGn3/+GZI6bcdYunQpNmzYgCFDhtixHBYvXoxt27Zh0KBBtqxH0aSHmaJJjyVFky5LiiZ9nqESTdInqaQMVTKpRHomlZVj6rSncea5f0Zcs6PMbmxpOUX4bmsO0nKLzS5udY1DJVLFTmsVDbMrspMOkUgRbiz75H2cf95Z6Ng2JSiJZIU8RZMVStbnUDRZZ2VlJkUTRZOV+6RRz6FoatSXnydfzwkwo+nABaRo0r2ZKZr0eFI06bGkaNJlSdGkz7Mm0SQ9k6QMLbBCtornmFtYgr3ZJaYnUlpOMVJzRCoVY3dmAYrKZEbN+UIij9wuGIEkJXHVP1c2zJYd16T3kZVMpLFjx6J///7o2LGjPrxDIlI06SKmaNLlSdFE0aR7RzXAaBRNDfCi8pQaDQGKJoqmUN3sFE16ZCma9FhSNOmypGjS51mTaHp6yTZ883s2igPsmSTNsuvKTqpLJsWEu9E0xo2kaC8Soz1I2v8hX4dLOZuf9WwUTXr3DHed02MpkdgMXJdnMNFYOhcMvQZ0LEVTA7qYPJVGR4CiiaIpVDc9RZMeWYomPZYUTbosKZr0eVYXTZLBJOVtkz/cgp+25waV0VQpkw7NSsrM2IeUpHikJEYbiaQhk+qiQtGkd89QNOmxpGjSZRlsNIqmYAk2kOMpmhrIheRpNEoCFE0UTaG68Sma9MhSNOmxpGjSZUnRpMdTeihJxtLkx6eg15/6mObcUi63L7cYb65Oxca9+UY61TVqk0kelwPRYW4kxVRkJFWXSTOnTsa1V1+OTscfr3cydUSiaNLDTNGkx5KiSZdlsNEomoIl2ECOp2hqIBeSp9EoCVA0UTSF6sanaNIjS9Gkx5KiSZclRZP/PKWETYSRSKVi87kMJaXlyMwvxa7MQrzz8f8QntASpd447MoqQpF08D5kSLmaZCa5XQ54nA54XE7zdV50yp0AACAASURBVEWZ28EyyUilKA/CPTWXuY0fPx5XXHEFOnXq5P/JBHAERVMA0Go5hKJJjyVFky7LYKNRNAVLsIEcT9HUQC4kT6NREqBoomgK1Y1P0aRHlqJJjyVFky7LxiqapDl3vjTn9rUtWw24RRztyy3BjoxC7Moq3v+5CDkFpZCspkOHNN+WjCT5ELkkUinS6zRZSSnxYWgW60VKvBfNY72IDndBspr8GRRN/tCqe+7o0aMxbNgwtGnTRi9oHZEomnQxs0eTLs9golE0BUOvAR1L0dSALiZPpdERoGiiaArVTU/RpEeWokmPJUWTLsvGJJpOOvlk01C7tLwcs5ftxMrNWYE35wYO67fklCwllxMlRQWIDA9DuNdtspQSozxVMkmkUou4MCOZRDxpDIomDYoVMSia9FhKpOHDh2PcuHFISEjQDVxLNIomWzBbWoSiyRKmhj+Jokn/GpeWliIrYx+Ki4qQ3KKl/gLVIpaUFCMrfR/cHg9i4+35QR7SE2JwvwhQNFE0+XXD+DGZoskPWD6mUjTpsaRo0mV5pIgmyTDKKyoNuFm2KJsIr8vsoCYyqaysHNIOSTKMZs/+D04/oweOat8RBSVlJvPone/TsGVfQVAwwzxOhO0veRNpFBXmMllJa79djvNOPwmnHNcGzWLDEFFLyVtQi1c7mKJJiyRFkx7JikgUTbpEBw4ciJkzZ8Lr9eoGDkE0iqYQQK2PIRujaJJU6bycbKTu2Vl1yZxOF2LjmyCuSWLQlzFjXypen/M0Nm/4BQ9Nn4fSkhKk79uLstIydfG0e8c2vDr7CTRLaY1rB98W9HM/0gOIxMvOTEdmelrVU3W53IhrkoCYuCYhefpFhQWQa+oNC0d8QlJI1gg0KEUTRVOg946v4yiafBGy/jhFk3VWVmbOmTMHrVq1Qp8+faxMD3rOrFmz0KFDB/Tq1SvoWFYCzJgxA507d8bZZ59tZXrQc6ZNm4Zu3bqhR48eQceyEmDKlCno2bMnunfvXjV91rId+GJjZsAZRl63Eye0jEK424lCkUmFpcgvKkN+cSkycgpRXOaAsVD7h3xVd1vuiolOKXXb30vJK6VvpgTOCZcT6JAcibaJ4SZbqUW8F/ERbkiZXPVd56zwCHYORVOwBA8cz4wmPZYSiaJJlydFky7PBhstPz8fmzZt2v9LzIlmzZpVpRXKH9LyWFFREZxOp/l3ebysrAw7d+5ERkYG3G43jj32WHO8SJPMzEzk5OSYF17+jj9aNDnKShCWvc3fp+33/HKnB4UxFdlFhQX5+N/idzHp7lvRrGVruN0eeLxh6HLqGfjr3+8IWiYcKppSd+/ArMfHITc7Ew8+M8/v517XAY1NNKWn7cVbL8/C688/g+Yt25j7XwRQj14X4MqBwxAVHavKV4Kt+/E7PPfkg+h4wsm48bZ7ao1fVlaKnMxM5OfnoVmK/9+LgTxxiqYD1JYtW4aff/4Zkjptx1i6dCk2bNiAIUOG2LEcFi9ejG3btmHQoEG2rEfRpIeZokmPpUSiaNLlaYdokubZ5qMcePqZ6Ti1+2k46eSuFf9WVo45y3fix+25uidWLZo4Jul9JOVt5rPzkP+Xf3c6IAJKZFHlvJgIF5rFeJFc1UcpDMmxHoS5nbU+V4omvct4zz334MYbb0S7du30gtYRiaJJFzNFky5PiiZdng0ymgikd955ByNGjEBMTAwcDgcuv/xy3HXXXSYV7qeffsKAAQMgwkmE0mmnnYbJkycb8fTPf/4T3333nRFQ8kdVkyZNjGSSd79EGE2cONFvZn+0aArL2YHj3x7g9/P294CC2Db45ZI5B4mmF55+FI89/xaaNm+JbZs34K6br8a5fS/D4BH3+Rv+oPmHiiaRIwtemI683Gz8895JQcU+9ODGKpp+/PYrTH7+LRQXFeKrZYsx95lJ+L/+g3HRlfr3kmSmLZz7LNp2OA79Bvy91uuXnZmBRQvm4ruv/oeHn31N9TrXFoyiiaIpVDcaRZMeWYomPZYUTbosJVpNoqmylE3KzwIZInZE2EjaUElZuSlXy8gvNjuzLV3+NaITkhEV3xRZ+SXIzC9BRm4JisRC+Ri1CSNpdySvp40gOkQY7duXhoS4WDSJjUR0mAuS/RQb7jK7uEV6XaYxt3wtj4lAipHHvBWPSfNufwdFk7/Eap9P0aTHUiLdfvvtGDNmDJKTk3UD1xKNokkXM0WTLs8GGU2yko477jj897//NWnYIpYuvfRSPP/88zjppJPMFqUXXHAB7rzzTqSmpuL000/H3XffjRNOOAF33HEHPvjgg6r6THkn/f333zdpul999VVAvCiaKkST9FR6fc40rF/7Ax6Z+bphKVlkIg/S0/aY/5fMp8Tk5oiIjDL/LzJQSrjkWBkej9dk2WRnZRxcOlfVs6kQyS1amd5Nu3dshfRXkiEvjiSmPFZaWrI/Zrp5zOsNM2VxLrfb/L8ck566B7k52UY4yueP3pxXVTpXJqVlWfKc95r5Mic6Jg4JTZsFdH8caQdVZjRViiZ5fru3b8Frzz2FvJwc3DH+SWRl7jOZTsWFheYaxicmmUwnYZe5L83wkREWFo6kZi3gdLmQlZEOKZET1jLk+NzsLORkZ5oMt5ysTCN+4xObwmQuZWViX2rFfSHXPTo2Hpn7UrFowUtY+8Mq3H7/YwiPiETT5ikoLytHRnqqOabyPtIq9aNoOnCHMqNJ97uVokmPJ0WTHkuJxIwmXZ41iSbJMPp8XYYl+VPTsxHJFB/pNr2SsgtKjWzyNeQYEUbms2QVHfL/8m8igiK8FVLIqjB65snHccH5fdC1a1dfT0HlcYomFYwmCEWTHkuJRNGky3Pw4MGYOnUqIiMjdQPXEo2iyRbM9XcREROSkSQiaevWrYiIiDAlb5KqKWmhIpmkTn7NmjVISUlBXl6euYG/+OILk800ffp0vPTSS5g/fz6ysrJw4YUX4pZbboHUu3fp0iUgMBRNbyGpWQpSd+/Ey88+ZsTSvY//xwiKPTu34b35L+Dzxe9A+gBFREXj4qtuwJ8vuRIutwc7t23Gh/99BV8s/cD0YQoLD8eIsY+jeaujDhJNlRlOv2/8xZTO7dy6GY/fP8KICsnIkcd7nHcB/j3haezY8hs+WPgKvvz0I5SWFCMyKga33TcZx3bpaiTUpl9/xgvTHsG2zRsRGRWNlDZt4XS50a5jJ1w9aDh2bv8d781/EV8sWWTklMiRYzqdhBtvu1tNNkmjTemBUCBbAwd01/l3kLyjKE03pT/CoaJJhNCmX3/E8089Yq7j5QNuxvw5TyMvJ8v04XI4nOg34GZ0Pf0cbPz1R7z58iys++l7I4uaJrfANTf9E0cf2wmLFryM1Ss+w4PT5xlBJNlnS95bgP8tfg/9bx6BDxa+bKSUlM7t27sb785/Hh+++aqZ26JlG/Tscwm2b9mEDxa8vL90rjWO63KK4S730Vvz/oP1P68xJy7X7bSze+Oyvw4Ouq8URRNFk3/fTdZnUzRZZ+VrJkWTL0L+PU7R5B8vX7Oriyb5nS6lbDM+3Y6vNmWp/I6vzEKS3+XS26iwoADhYV6Eez3m/0UgyW5t0WFOxEW4qz6iw12IDT/w/3GRLnhdzuqtlnydmnl80qRJ6N27N0WTJVq+J40dOxb9+/dHx44dfU8OcgZFU5AADzmcokmXJ0VT7TzZDFz3XrMUTeSF9BC58sorcf/99xs5JDJJRFHz5s3xpz/9CXLT7t6928QrKCgwYunZZ5817+D94x//wGOPPYaFCxeavk0iiST98ZxzzjFCoX379vB4PJaeS+WkxiyaZk8Zj3899JTZrW3j2h/w9qvP4bqbb0fP3pcY4SRSYuX/luCBqS8gJr4Jflz1JZ4c/y+MuP9xIyeWf/weYmLjcVbvi5G2dzeef+ph7NmxDXdNfLZO0VTJXjJsflr9Nf7zxIO49qZbccIpPfDFkvfN8znzT32N/Hr+qQnYl7obD894DWl7duGl6ZPw2/q1uP/JF+ANC8PH77yOBc8/g4uuugEX9OuPBS88g1/WfIt7Hpttsm9+3/grHrv3NhzV4VjcMe5Jv+6N2ibnFZXhp+25+HVXbsDvdlp9IpK1Li88O7eMQsdmkVWiaeXypfjXg1NRVFSIH1Z9if99/C76DxmB5q3aYPbj4yAlhTeNuAfde/7ZLCUS6OXpj5mspjGTZlaIpHffwMfvvIF/PzwNe3Zux6zHH8CAW0bhjPMuMCLvrXmzkZCYjDP/fBFe+8/UKtG05psv8PKMx3DVoH/g1LP+VHUqNZXOCf+Xpk+G2+PFnROeNnNXffEppj9yNy68/K+mr1Qwg6LpAD1mNAVzJx1+LEWTHk+KJj2WEomiSYen7MhWXFqOGc/OQqcTTsRJp3RDYXE50vOKseiHNKzdmeczE0l+R1dlIDkqRFKFUDrw4XU7EBPmhogi+X3+7Zef4+TOHXHise0gPZDk32LC3QGVqVkhQdFkhZL1ORRN1ln5mjlq1CiMHDnSJBfYMSiadClTNNXOk6JJ916zHK2yR9MDDzxgjhH5lJ6ejuuvv97swlGTaJo9ezY++eQTPPLII3j33XdN9lPfvn1NdpSIJslwcrlcpvzO39RgEU1Smic1u1ZGcbkDm/MqSsc0xh/Zo0magbdofZQUr5nytcEj7jVSQcau7Vvw5LhR6HRyd/T888Xm30T0iHA4+fSz8dehd5gSuF3bf0dJcTHycnOw7MO38O2XyzDpuYU+RVN5WRm2bt6AOU8+hLiEJFNqJUPEya5tW0w2k5TFffbBm/jx2y8x/Y2lRn48M2EMup5xjpEcMqr3aDrtnD54YuxIXPbXIfjTxVeYx0V+SFbWso/exlPzPqwqwQvm2qXnluCzdenYl1sSTBjLx8oL1qMSw3DesU2qRNMbL0w3mWMyWrY5GtfdPMJkEG39bT3mzXoSCUlNMXjk/VVriIya9dgDuOjK63HsCRXp8xvW/oB35j+PKwb8HR2OPxGvP/+0KYO7edRYfL9yOWSNQf8cY7KWqoumdT99Z+RR++NOwDnn/8VkupmSyRp6NH312UeYM3UCbr3nEXTuerpZd+e23/f37MoxkiuYEe0qQYtwa1s0//jjj1i9erXpAWfH+P77741Yv+666+xYDqtWrcLGjRtx9dVX27Le119/bTJTJRPVjrFixQrzJsRll11mx3L4/PPPzeYTUtptx/j0008hG2XI7zY7hvxOlSzj888/P+TLffTRR+Z39J//XCG+Qz1EEkrG9HnnnRfqpUx86TsZHx9v2y5pb775pnmzza5d0hYsWIDWrVubnpl2DHlNJ7vcnXLKKUrLmcZFgNN90EduUTn2ZBfjo89XojQsHo6oROzJKjLZyoePcqCsFCgr2f+52HwOd8P0O5LMo9gIF2KrMpIqBJL8f6THacrgKsfcuXPNa1VpCWHHkNfG0obi+OOPt2M5yGt2eQPYjowfOSF5M1p2YLSrYfYzzzyDiy++GEcdVfEaLJTjqaeeQr9+/QLa7CiQ5/XEE0/gmmuuQYsWLQI53O9jpAfvDTfcYFvPpEcffdRsYCIbTdkxHn74YZMkERcXZ8dykB0YpQdydHS0LeuJdJVWN/L71o4hGX6yC6r0dD7SB0XTEXKFpAROvgnPOuss80P7b3/7G7Zv324ykySjSX5Byruh8qJYhrwwlj/gpGTujTfeMMetW7fO9HySP7Qk48mfIaLptttus2zTI6LjcM5Vt/izRJ1z/0jRVNkMXHYtk0yhrz9fgmmvfWSylLZv+Q13D70GBXl5iI6LrzoH6fVz/v9dY7KHfvruazz98F1GFpreSJnpJovIimiSfj2L3piLFZ9+iHunPIcmiU1RXFxksqamP3pPVcyszHQ0bdbCiCZpSv3E2Dtw8VUD0Of/rjXP6VDRNHX8v3DdkNtx+jkV2z5L+dgn77yOd+e/gEdnv2GeX7BDXoSu352HTan5sNB2IajlZA8YadR5TLMIHJ0UcVjp3KHBaxNNq79chnuHX4/4JokI399jS46Vnkz9rh+CTid1xyfvvoEl7y/A0H+Px7dffIZ1P3+H+5943mSFVRdNcpzIppmT7sfeXTvQqm17jHjgcYSFRx7WDFxE09zpkzHygSlod2xn83RlF8IFL84w99i4p+YGxWfPlvVY/ckCSzHkj/jc3FwkJSVZmh/sJMnWlDUTExODDWXpeDm3wsJC215AyXryxoFsymDHkDLr4uJi29bLzs42v29EINgxZD35WWrXC1L53Sult3asJ5t2yJsZsbH6u2LWdG1kPenPJxuO2DFESIpIs2s9eXNOXiPZ9ceErCcv7KOi9N5kq+u6yOuysLCwg9aT5ty5haWoSQH5vMYimLzRRiQhIgGOyCQgsgngiQQch++eJm/ueFyVH86Krx2lcBTloDw3FchPR3leKpC3DyjOB8r9e1bSf1RY2vXHmawn90p4eLhPVBoT9u7da74X7Fpvz5495ueY3DN2DFlPfi/Y8ceuvLkiv2PtWEvY7dq1y7xm8bc6JFDusp68JpOqFDuG9Alu2rSpbevt2LHDvCkgvx/sGLKeVAjJ7z87hvy9LlLSrvVk52HJ6LXr+yEYhhRNwdBTOlZeVEszcHkn4sMPPzQvRC+55BLIu3XyTpb8YXHfffeZH+jyWeZv2rTJfC0GVebLVtfyTre8YypC6oUXXvDr2TXm0rmDd53biHuGXWfKma4dfBv27tqOZyfdj2M6nWj6+Bw6JCtFMp66nHKGyW6ShuCSAbNi6Qc+RZOUb/383UrTV+jKv91iyuRkbP99E6Y9dCdO7H4mrhsywjQFf33O01j1xVIjmqS303NPPmQycqTkSvpCSd+hN55/xkiMHr0uxFMP/htnnHs+Lrv+ZtO8XBqHS6aOZO9M/M9//bo3jsTJNTUDr/48axNNa9eswotPT8TFVw4w/ZRqGjJn3qwnTGbUrm2/o1PX03Bhv/41iqbK47dsXGd6e0kz95tG3GdEk2S1PfTMPJM9JtfuuScewjWD/2myn2T8vqFCXEk55i13PhgUZpbOHcDH0rmgbqXDDmbpnB5Pls7psZRIjbF0bu6KXVj6azqKSgLrjCj5RIceKUlG0huptKgAEeFeRIZ5jVRqEuVGcqwXKXFeNIuVjzAkRXsgJXAaQ9pFSAZ/9+7dNcL5jMHSOZ+I/JrA0jm/cNU5maVzeiwl0tChQ80O7Ha9qcPSudqvH0WT7r1tOZq8Q7x+/XrzTri82y9poSKQXnnlFcg7uv/617/MY1JHK+8S3nzzzZA0VdmhTt4lkV/QYoflcXlXQf5dsp6WLFlijKoc78+gaKrYdS4nKwP/ffFZLF20EE/P/9hkKEnD5+WfvG8afFcOKa1KTmmN9NTdeGLcKLRs0840CBcB8trsJ5G+L9WnaJJd0p559G5TptX/5pEmtPRbkvvgmUfuRuu2HdD3iutNb6ZXZ09FbnamEU0is9565T9GZo16cKrZEe3zj97GN198igsuu84c8/a858zjg0feZ3ZLk4blC1+aid6XXm0kWn0fgYomKXF84/npJuusujiUsrjKXf0kO+n9N16EZCHJNb75jrFIaXP0QaJJSulysrKMiJQh2UnSx0uymvr85RrTM2vp+wtwwz9Go3nL1iZL7bX/PGX6bf39XxXlsiK0pD+UCMpTepwb1CWhaKJoCuoGquNgiiY9shRNeiwbi2g6vlMn9DizJ4rLylFSWo4XV+wyzbmDGbKpRrh7f4aSy4GoMBeSY7zY+ONKdOvUDmeceIwRS5Fel98Nt/15XhRN/tDyPVfKhaSEu1OnTr4nK8ygaFKAuD8ERZMeS4lE0aTLM5hoFE3B0AviWEnXl/pfSe8TMSQ14yKZKoeIH5FHMiStWITStddei5KSEpO5JLXY0iBchoiq5557DjNnzjTlIhLH37riP1o0efL2ot2n1vpDBYEdRdHN8ds5402IosJCrP7yM9P8e9T4qWiSlGyyg3754Vuzo9sNw/6NE7qdYbajf/+NuVj89mtVS8vOY5KFIgLil+9XmebgMuKaJOK0s/+Mtd+vwshxT+Cjt+Zhx5bNuPWeR43c+OitV7Fj62bcevejpo/QuBE3HnQ6Ka3bYvjdj5pd56Y9PNo8JqKo25nnmWwkae4tQ3Ywe+6JB7Hx159Mid/p5/ZBdEycyZ4RkZS2d9f+LKhPzfyYuCam1K8hSCY5HyklXPreAsPkjvGHNzeX3lofLHjJNFS//IahBzGu6I30DL5f+UXVvx9z/In4+7/Hmesn98Wq5Uvx0ozJOLXnn0x/Jhly3T5c+Iopb7zoyhvwzf8+wZynJlTFOOGU083OgDI2r19rjv994zqTeTbkjvvN7oIvT5+M3zetM3NatDrK9NEKVjJJLIqmA5eYGU3B/IQ8/FiKJj2eFE16LCVSQ8lokmbcIpFKyiqacstn+f9X5r2G5q2PxlHHdkFqTjH25RTj55152JVZBDmmriG9kDz7S9+81aSSNOhumxSOtkkRaBbjQYv4MMRHVjTgrr7rnO6VqjkaRZMuZYomPZ6yC/iwYcPQpk0bvaB1RKJo0sVM0aTLM5hoFE3B0GtAx/7RoqkBoeSpkIDtBCiaKJpCddNRNOmRpWjSY3mkiCbpmZRdUIrywwrSrJ9rflEZ0nKKK2RSbjHS5COnBHuyClBQXI7a0oqcDgfc+3soiSiSr+WzlL3FhFdkKUnpW4s4L5rHVnwd7qm9ZwlFk/VrZmXmhAkTTBsM2VnajkHRpEeZokmPpUQaPnw4xo0bZ1vvTIom3esXTDSKpmDoNaBjKZoa0MXkqTQ6AhRNFE2huukpmvTIUjTpsTxSRNMrX+3Gx2ulZ5J/jbArSTgcQF3JSXXJJCl5S4z2mL5JCVEe83WifI5yB1T2RtGke39SNOnxlF22brzxRtt21KNo0rt2FE26LCXawIEDTRUTm4Hrs2XEEBGgaAoRWIYlARsIUDRRNIXqNqNo0iNL0aTH8o8WTVK4VlpWjjnLd2LZuow6ZZGvsz5UJklGkmQnZabvQ1JcFNo0izcSSUMm1fVcKJp8XSn/Hqdo8o9XXbMpmvRYSiRpxzJmzBgkJyfrBq4lGjOadDFTNOnyZDQbCFA02QCZS5BAiAhQNFE0hejWAkWTHlmKJj2Wdoom6YckvZPmvDAXKa2Owmk9zkRhcRnS80rwydp9+GF7rumpVNeoKTNJhJL0UarMTDpYJrmx4OXncWrXE3B2z5664GqJRtGki5miSY8nRZMeS4omXZYSjbvO1c6UpXP691u9jEjRVC8vG580CRgCFE0UTaH6VqBo0iNL0aTHMhSiSUrYpBG3lMGJWCoqLUNRSbnpwbQnuwhLV6xGHiLgiU3Gnqwi5BcfXi4npXDSJ6myAbfX5YTX7UD0IWVuCdXK3CK8Ljgdh7OZMWMGOnfujLPPPlsXHEWTLTwpmvQwUzTpsaRo0mVJ0VQ3T4om/futXkakaKqXl41PmgQomg65B7jrnO43BUWTHk+KJj2WtYkmac6dVVASUClbcWkZMvJKsSuzELuyiszubvJZRJOUyR06XNV2dfPub8od6XWhSZQbLeLC0Gx/I275LM25Zb4/g6LJH1q+506aNAm9e/dG165dfU9WmEHRpABxfwiKJj2WFE26LCmaKJr076gGGJGiqQFeVJ5SoyHAjKYDl5qiSfe2p2jS40nRpMeyNtH02so9+OinfSgMsDl3Tc9Q/JDb5URpcSEivG5ERYSZnd2aRLrNTm7N9+/qJkJJyt/C3LXv7OYPAYomf2j5nkvR5JuRPzPGjh2L/v37o2PHjv4cFtBciqaAsNV6EHs06fJk6VztPJnRpHuv1dtoFE319tLxiZMAS+eq3QMUTbrfEBRNejwpmvRYVoqmlJSW6PXn3qbUTT7mr9yDz9dnoO6OSXU/j3CPE/IhMklK3yLDnEiO8WLz2tXodHQL9OzWyWQrSfaSn0lKfgGgaPILl8/JFE0+Efk1gaLJL1x1Th41ahRGjhyJlJQUvaB1RKJo0sVM0UTRpHtHNcBoFE0N8KLylBoNAWY0HbjUFE26tz1Fkx5PiqbAWEozbmm2XSmTpI+SfP3fhW8iKi4Rx3Q5FWk5xdiXW4xfduVhR0YR5Ji6hlP6KO0vd5N+ShVfO01/pdaJYTg6KQLNYjxoHhdmMpdkF7hZs2ahQ4cO6NWrV2An4udRFE1+AvMxnaJJlydFkx5PiiY9lhJp6NChmDhxImJjY3UD1xKNoomiyZYbrT4vQtFUn68en3tjJ0DRRNEUqu8BiiY9so1RNEnPpMz8EtTQ4sgy2ILiUuzLLUHqfpkkQiktpwR7swuQX1QOSAfuGobs9CZZSSKJzA5v8rXpq+REdLgLyTEek6kkpW+SoSRlcBGe2sveKJosXzJLE6dMmYKePXuie/fuluYHO4miKViCBx9P0aTHk6JJjyVFky7LYKOxdC5Ygg3keIqmBnIheRqNkgBFE0VTqG58iiY9so1RNC1YtRfv/5Cm2jOp+hWpSyZFhbmQEOVGUrQHCVEeVOz05kZilAe17fRW19WmaNL7XpBIFE26PMePH48rrrgCnTp10g1cSzSKJj3MFE16LCmadFkGG42iKViCDeR4iqYGciF5Go2SAEUTRVOobnyKJj2yjUE0JSQkovcFF5rSNil3E9H06a/pQfVMqpRJB2cnOZGZvg9NosPRNiXByCMRSSKURCbJZ+0eShRNet8LFE26LCUaRZMe09GjR2PYsGFo06aNXtA6IlE06WJm6Zwuz2CiUTQFQ68BHUvR1IAuJk+l0RGgaKJoCtVNT9GkR7ahiCbpf1TVL6mqd1IZ3nrnPXgionH8yadXlbmt25WP7RmFvnsm7S9zO1QmeZwOVGYmyY5u1TOT3l0wD8e0bY0+fXrrXaQ6IlE06WJmRpMuT4omPZ4UTXosJdLw4cMxbtw4JCQk6AauJRpFky2YbbBjHwAAIABJREFULS1C0WQJU8OfRNHU8K8xz7DhEqBoomgK1d1N0aRH9kgQTQd6JgW+L1tBcVlVz6R06Ze0v2dSanYh8orKfPZMOlQmSd8kkUmmrO0QmVRXZtKcOXPQqlUr9OnTR+8iUTShR48etvCkaNLFTNGkx5OiSY8lRZMuS4k2cOBAzJw5E16vVz+4ckSKJmWg9TUcRVN9vXJ83iQAUDRRNIXq+4CiSY/skSCa3ly9F+98H/qeSYdlJrkciPK6kBBd0SNJo8yNoknv3pRI06ZNQ7du3SialLBOmDABl1xyCbp06aIUse4wFE16mCma9FhSNOmypGjS58mINhCgaLIBMpcggRARoGiiaArRrQWKJj2yf6Rokvyl0rJyzF+5B4t+TEN54AlNqK1nUlbGPsRFheHolMQKmVStAXcoeiZRNOndmxRNuiwlGkWTHtN77rkHN954I9q1a6cXtI5IFE26mFk6p8uTGU26PBnNBgIUTTZA5hIkECICFE0UTSG6tSiaFMHaJZqkh1JRSTnmL/gvPN4InPun3pByt4z8EvxvfSZWb8k2PZbqGtVlkmQneVxOVHx2IHL/bm5VZW77G3B/8ObraN2iKfr2vVCRWu2hKJp0MTOjSZcnRZMeT4omPZYS6fbbb8eYMWOQnJysG7iWaBRNupgpmnR5MpoNBCiabIDMJUggRAQomiiaQnRrUTQpgtUWTZKVVFImUqnMiKXCUvlchpyCUuzJLsbyb39CWl45IhNSzP/nFZUedjYOByA9krxuJ8LcFZ+9LmdFzyQ/y9zmzp2LpKQk9O3bV5EaRdPZZ59tC0+KJl3MFE16PCma9FhSNOmylGiDBw/G1KlTERkZqR+8hogUTbZg5iKaBCiaNGkyFgnYS4CiiaIpVHccS+f0yNYkmqQ5d3peMcoCKGUrKS1HZn4JdmcVmY9d5nMxsvNLjIA6dLiMUHIYkRQmQsntQITXhSaRbjSP9aKZfMRVfI4JdxkB5c+gaPKHlu+5M2bMQOfOnUHR5JuVlRmTJk1C79690bVrVyvTg55D0RQ0wqoAFE16LCmadFlSNNXNk83A9e+3ehmRoqleXjY+aRIwBCiaKJpC9a1A0aRHtibR9O73qXjzu1RT2qY1JEtJZFJpcSHCPU7EREcgzOVEXIQbTWM9VVIpOcZrdnmTORqDokmD4oEYFE26PCmadHmOHTsW/fv3R8eOHXUD1xCNokkXMUvndHkyo6l2nhRNuvdavY1G0VRvLx2fOAlQNFW7B5YtW4aff/4ZQ4cOteXOWLp0KTZs2IAhQ4bYst7ixYuxbds2DBo0yJb1KJr0MNckmv777V68uToV0lcp0BHmcSLSIxlKFVlKkV4XkqI92LHhR7RKisafzzzFZClJOZyfSUp+PSWKJr9w+ZxM0eQTkV8TKJr8wuVzMkWTT0SWJ4waNQojR45ESkqK5WOCmUjRFAy9w4+laKJo0r2jGmA0iqYGeFF5So2GADOaDlxqiibd256iSY+niCan04WL/nIZCovLkF9chqW/pGPJL+k+M5qkObcpe6vspeSqkErSpLtFnBftmkYgOcZjhFKTKI9p2j1v3jxER0fj0ksv1TuJOiJRNOlipmjS5UnRpMuTokmPJ0WTHkuJJG80Tpw4EbGxsbqBa4lG0UTRZMuNVp8XoWiqz1ePz72xE6BoomgK1fcARVPgZCVHSfooSVmcfLy76EPkFgPHn3IWtqUXYlt6AbanFyG7sATVE5oqG3RLSVvlR2y424ikprHeqtK3pjEek71U26BoCvza1XTkrFmz0KFDB/Tq1Us3cC3RKJp0MVM06fKkaNLjSdGkx5KiSZdlsNEaZOlcQUEBcnNzkZiYGCyfRnM8RVOjudQ80QZIgKKJoilUtzVFk3WyUv5WWHJALMkub2k5xdieUYit+wqxcVeW+X+4PAcFrWzSLVIpQsrg9pe+tWwSjlZNwtC6SZjppSRZSv4MiiZ/aPmeS9Hkm5E/M6ZMmYKePXuie/fu/hwW8FyKpoDR1XggRZMeT4omPZYUTbosg43W4ERTWVkZ1q5dCymfuOWWW4Ll02iOp2hqNJeaJ9oACVA0UTSF6rZujKJJdoLbl1uMUj/bJknW0p6sIp/ZSh6nA9JXqUIsuRAb4UKLuLAKqZQQZr6ODnNBMpuCGRRNwdA7/FiKJl2eFE26PMePH48rrrgCnTp10g1cSzSKJj3MFE16LCmadFkGG61eiqacnBysWbOmxnMX0fTdd99h/vz5eOSRR+BwONC0aVOT7sxROwGKJt4dJFB/CVA0UTSF6u5tjKJp0Q9pWPDtXp99k6wwr8xWkkylgtxsI5DatWyKlk32i6UAs5WsrE3RZIWS9TkUTdZZWZlJ0WSFkvU5FE3WWfmaOXr0aAwbNgxt2rTxNVXlcYomFYxVQdijSZdnMNHqnWgSkfTVV1/hzDPPRHh4uPk4dBQXF6OwsNA0wXS73bj66qvx9NNPB8OpwR/rr2gqKinDD9tzA+Yi10h2Tjr66KMDjuHPgUVFRdixYwfatm3rz2EBz5X7b9euXTjqqKMCjuHPgVIuumfPHlt+KeYX5CN1bypat27tz1MMeG5+fh7S0vahVatWAcfw58C8vDykp6ejZcuW/hwW8Fwp883MzAxqt5H4SDfaN42w9BxWrlyJ5cuXQ3YdsWOsWLECq1atwvDhw+1YzmSzctc5PdSNUTS9/V0q3li1N+Cd4CQTKSbcjfgIN+Ii3Gge5zXZSj9+tQStEyPR75K+QWcrWbnCFE1WKFmfQ9FknZWVmRRNVihZn0PRZJ2Vr5kUTb4I+fe4vP4bN24cEhIS/DswwNkUTQGCC8Fh9VY0XXzxxYiPj8dpp5120B9oIqK2bt2K1atX47LLLoPT6TT139dcc00I8DWckP6KpmDPXKTIww8/jCeeeCLYUJaOF8n0+OOPY/LkyZbmBztpy5YteOaZZ0xWnR1j06ZNeO655/Dggw+GfLl169bhlVdegaRN2zFEGixYsAD33nuvHcvhhx9+wLvvvou77rrLlvXkZ9Unn3wCeUfLjkHRpEt56dKl2LBhA4YMGaIbuJZoixcvNpJ+0KBBtqzX2ERTSVk5Pv01A++vSUN6XjGK66ifO7i3kgthbgfcTgfcLgdOaBmN046ORVK13kqy65y8+dWvXz9brh1Fky5miiZdnhRNujwpmvR4UjTpsZRIFE26PAcOHIiZM2fC6/XqBg5BtHonmsrLyyFSRH6gyjvlZ511FgYMGGAyY0Q8lZaWmne0n3zySbz55pshQNYwQ1I06V5XiiY9nhRNeiwlEkWTLk+KJl2e77zzDqQ8/rrrrtMNXEu0hQvfRF5hEfpe2g+5hWVIzSnC5rQCbNyTbz5n5h/YEU4ylbwuadbtRFSYC5JJ6E9vJYom3Us6Z84ck+nap08f3cC1RKNo0sVM0aTLk6JJjydFkx5LiiZdlhKNokmf6WERRSjJO7uSoZKfn48rr7wSF154oSlVktI6iib/LgJFk3+8fM2maPJFyPrjFE3WWVmZSdFkhZL1ORRN1llZmWmHaJKspfyiMuQWleKDT5Zha1oeUo7rbuTSrqwiSGl45ZCsJbMTXJgLMWEuUwYnZaodkiOREu81Db2tDoomq6SszaNossbJ6qxp06ahW7du6NGjh9VDgppH0RQUvsMOpmjS40nRpMeSokmXJUWTPs9aI0p2k/RSefXVV/H8888jOTkZN9xwA0pKSkwzcGY0Wb8YFE3WWVmZSdFkhZK1ORRN1jhZnUXRZJWUtXkUTdY4WZ0VCtFUXg4UlpQhr6j0QNZSagE27M3H5tR8k7UEVGzxdmjWUkKUB0clhqNDcgTaJoajSZQHzgB3g6NosnoXWJtH0WSNk9VZFE1WSVmbN2HCBFxyySXo0qWLtQOCnEXRFCTAaodTNOmxpGjSZUnRpM/TZ0QRTvKHvbw7Ir1OJKtJ+iBQNPlEVzWBosk6KyszKZqsULI2h6LJGiersyiarJKyNo+iyRonq7O0RFNV1lJhKbILSrAjo8iIpbqylqQcLibchWaxgWct1XWeFE1W7wJr8yiarHGyOouiySopa/MomqxxsjLrnnvuwY033oh27dpZmR70HIqmoBEeFIA9mnR5snROl6flaNIIXHZTmj59utldTJpNc1gjQNFkjZPVWRRNVkn5nkfR5JuRPzMomvyh5XsuRZNvRv7MqEk0ZeSVYG9OMcrKyi2HyiksxRbptbQ3H7+nFSCjpl5LYU4U52ahSZQbJ3dIUclaomhKQt++fS1fp2AmUjQFQ+/wYymadHlSNOnxpGjSYymRZNfhMWPGmEogOwZFky5liiZdnkFFk/5Nsn14UlJSUHEa+sEUTbpXmKJJjydFkx5LiUTRpMuTokmXZ02i6aOf9mH+N3tQUHygd5K/q1b2WqrMWpJeS+2SIrB+1adIjnbhqsv/z9+Qfs9nRpPfyOo8gKJJlydFky5PiiY9nhRNeiwpmnRZSrTBgwdj6tSpiIyM1A9eQ0SKJhswFxUVYePGjUhNTYXD4UCTJk3QrFmzg4SSZDjJH6myC92wYcNseFb+LVFcXIwvv/zSHOR0OpGYmIjjjjvO/L889t1336GgoMA8lpKSYnbWkyboct67d+822xqefvrpZr6c6969e03PqsoY/jwbiiZ/aPmeS9Hkm5HVGRRNVklZm0fRZI2T1VkUTVZJWZtXk2h6b02aEU2lfmQ0VV9Neiq1TgjHia2i0aFpBNomHei1tHDhQtPX8aqrrrL2BIOYRdEUBLwaDqVo0uVJ0aTLk6JJjydFkx5LicSMJl2eFE2183SIpJH+l+XS6KieDJEqS5YswUMPPYTvv//eiJgTTzwRvXr1wtVXX4327dubHk0iZT777DM89dRTkBeTR9KQ5ya74/3tb38zEklGbGws5IVTfHw8vv76a/ODICIiwoi0Nm3a4PHHHzdC6dZbb8X27duNhHr77bfRokULpKWlGZsq533ffff5faoUTX4jq/MAiiY9nhRNeiwlEkWTLk+KJl2eNYmmVb9nY8kv6cjKL0FWgfRcKj1oZ7jKZ1A9aynK64LH7TAtvr1uJ84+Jg492scd9mQpmvSu39y5c82bfSyd02E6Y8YMdO7cGWeffbZOQB9RKJp0MVM06fGkaNJjSdGky1KiUTQ1MNEkUqVnz56IiYnBueeea+TLtm3bTAbQMcccgzvvvBOnnHIKwsPDj1jRlJmZad5BvfLKK3HzzTebTKQLLrgAd9xxB84//3z83//9H6644grcdtttRiLJef7jH/9A165dIU3q3n//fcyaNcuIJbnB33jjDbPz3uLFiwP6DqJoCghbrQdRNOnxpGjSY0nRpMtSolE06TI9VDRJFlNeURky8oqxdV8h1mzPwdqdediXWwx5e0zeK4vwuBAX4ULTGK/fO8RRNOldP4omPZYSiaJJl+ekSZPQu3dv8zrajkHRpEeZokmPJUWTLkuKprp51ruMJpFKkgkkEuZ///tf1Q4EkiEku8xJ9pKU1UnjMdlW9JtvvjkiM5pENF177bVGIA0dOhQ7duzAyJEjMWTIEJx88sk444wz8OOPP5pywLy8PMg7TVICKHMkc2nevHnmIycnx2RyiXyaPHkyjj/++IC+gyiaAsJG0aSLrcZoFE26kJnRpMuTokmXZ6Vouvyqa5CZX4o9WUVYtzsPa7blYMu+wqpMJo/LgdhwNxKi3WjfNAInt45Gu6YRiPS6/HpCFE1+4apzMkWTHkuKJl2WEo2iSZfp2LFj0b9/f3Ts2FE3cA3RKJp0EbN0TpcnM5pq51kvRZMIJimb+/DDDw86M5FQv/76Kx555BGTyTR+/HjTmOull1464krnpAfTokWL8MADD2DAgAGml5QIMslS+uCDD0yWkvRhkiElcnIOzz77LF544QUj0UQsSfaS7K63c+dOU34nKdbSt0nerZFsLn8GRZM/tHzPZUaTb0ZWZ1A0WSVlbR5FkzVOVmdRNFkl5XueZC+9vWgxtu/Nwkln9TFyae3OXMiuczKcDgcivU7ERbjRskkYTmgZhc4pUSaTSfowBTIomgKhVvMxFE16LCmadFlSNOnzpGjSYzpq1CiTSFDZSkUvcs2RKJp0CVM0NSDRJK2k1q5da3oxffHFF6avUfUhj0upmXzTSgbQmWeeaXadO9J6NEnz0TVr1uDzzz83z036MElp3KmnnooffvihRtE0e/Zs05tKMppEMrVu3dpIJcmGkuNXrFhhZJX0curRo4df30UimmSry3/+859+HRfo5IyMDLz88svmnO0Yck/Mnz8ft9xyix3LYc+ePSbDTsoi7RgiG6Wc8qabbgr5clKm+vHHH0N2PbBj/P777+Z7WYSsHWPTpk2mSb+8U2fH2LBhA1atWoVrrrnGjuWMjJefMVK2a8cQUShr9uvXz47lzM/VzZs34y9/+Yst661evdr8DL744ottWU+ydGUTjAsvvNCW9aRfoGTg9unTJzTrORxwuLyANxp55V4s/2krVv2WAUdUU5RUNv8uKwGKcuEty0frOCdOah2NtokRCPcEaJeqnYm8cSUZ0ZJdHOohb4C5XC5T+m/HkNcL0ufR39cDgT43eV0SFxeH0047LdAQfh0nb8pJTyh53WTHeO+998wfgnaVXkkPTtkEpkuXLnacnnkteuyxx6JTp062rCctH+TcZE07xmuvvYZu3bqhQ4cOdiyHV155xVQntGvXzpb1RPSec845OOqoo2xZT9p1SCliq1atQr7ef/7zH1x00UWmJ60dY+bMmbjsssuQnJxsx3KYPn26+btWNoWyYzz99NP461//anoC2zHk79ZBgwaZljd2jClTpuDvf/+7bbvASUWR9E8OCwuz4/Tw6KOPmsQUSS450ke9y2gSoCJTpHROJEVNL7YrZdPDDz9sehfJix75fKQMeX6SrSQ9mq6//npTLid/iMkfttKbSV4Uyh/VkhUjmUmS0SRNwt966y2T7SRDRJWIJcmIkh/A5513nhFw8kJB/jCQbzJ/hoimESNG2PYLWDK65PykcbsdQ+6ZrVu32rZeYWGhadhu1wsMuUdENsmL0lCP/Px8c/9KNp0dQ0pHZUdFu148iZgWMSkN+O0YUv4qPdpEHNsxsrOzjTiw48WhnE9WVhZkzZYtW9pxeubc5Bra9c6gSHP5nrDrBbDcK/LzpXnz5rbwlN8N8vNayrg1h0iknMJSZBaUo8AdBzRpB8S1ArxRZhmn04EorxPxEW5EIg+OjM0o37cZKMyEac6kNETaye/kpk2bKkWsPYz8HJM3hUSO2DHkDQ8RW3b98SK/FzweDxISEuw4Pezatcu8sJddh+0Y8jtWxJ1df5yJwI6KijLyzo4hr1nkD8FD38AN1dryppWcm11/fMprQLlXoqOjQ3VKB8WV17jyvSfX0I4hb8rJzzG7tliXN3Tk94J8T4R6/Pbbb+Z3rL/VGoE+L3nDUV6z2CUOZDdxeQ1olziQ9eQ1rvy8tmPIG6ryN4P0FbZjrF+/3vz9Jb//7Bjr1q0zfz/L5mR2DHEGzz33nG33SzDnVC9FU2WfJvklVdeWxPLiWHobyYtyKTU7Uoa8eyqNy6X5t/wwk1/qIgrETookkmbm8m68lMtJRpb8kfbvf//b/BCSrCM5/pdffjElgnJewuOGG24wWRhSTiiZNHID+jNYOucPLd9zWTrnm5HVGSyds0rK2jyWzlnjZHUWS+eskqrwQwXFZcjIL8HOzEL8uisPP2zLxfaMQkjZnMlPKitGTLgLrZJi0LGZ9F6KQZuEMLNzXCgGS+f0qLJ0To+lRGIzcF2e7NGky5Olc3o8WTqnx1IiSe/jiRMn2ibNWTpX+/Wrl6LJ1+0o0sYu6+3rudT0uIghsZ+StiilTtLAW56zpNlKSr38+/3332/KMaT0SkST/ECX1MOzzjrL/LuUxx133HEmG0reJRVpJTtcSDmhvFsqKXz+DIomf2j5nkvR5JuR1RkUTVZJWZtH0WSNk9VZFE2+SRWXliO7oARpucXYnFqA77fmYP2efOQWlpqDXZK9FOZCQqQbeXs349imXlx1/hlIiAr9u58UTb6vn9UZFE1WSVmbR9FkjZPVWRRNVklZm0fRZI2TlVkUTVYoWZ9D0WSdVahnNijRJOnvUlYg/U5C1k9C6YpIttVHH32Exx57zESUdLtjjjnG1OnKkHKMyy+/3HwtaakilKReWErm5PxefPFFSI2tjEpJJRlQktItMfwtc6BoUrqw+8NQNOnxpGjSYymRKJp0eTZG0STNuXdnFaHUYglbVn4pft2Vix+355rjpPWSZC+FeSoaezeL9ZrspRNbReO75YtRmJ+L6667TvdC1RKNokkPM0WTHkuJRNGky5OiSZcnRZMeT4omPZYSiaJJl2cw0RqUaJKSMmka/OSTT5ryMQ7rBCiarLOyMpOiyQola3MomqxxsjqLoskqKWvzGqNoWrI2Ha98vduUwQU6mkZ70LllFE5qHYNjm0UgNqIie+mdd96B9C2jaAqU7IHj5s2bZ/rRXHrppcEHsxCBoskCJD+mUDT5AcvCVIomC5D8mELR5AcsH1MpmvRYUjTpsgw2GkVTsAQbyPEUTboXkqJJjydFkx5LiUTRpMuzMYqmD3/ah1e+2m36KgUynA4HLuqSgKtOTTZlc9UHRVMgRGs+hqJJj6VEkj6a0vC1V69euoFriUbRpIuZokmXJ0WTHk+KJj2WFE26LIONRtEULMEGcjxFk+6FpGjS40nRpMeSokmXpURrjKJJeiwt+SUdmfkl5kNK4wpLDs9u8rgciAl3m53jwr3OimbfUjLndqJH+1j0aH/4bloUTXr3KEWTHkuKJl2WEk12R5a+pN27d9cPXkNEiiZdzBRNejwpmvRYUjTpsgw2WoMSTdJk+5tvvsGrr75qmmVzWCdA0WSdlZWZFE1WKFmbQ9FkjZPVWcxoskrK2rzGJpoki0maeKfnlWDrvkL8uCMHv+zMM42+pWWTJChFeFyIj3SjRbwXx7eIwgkto9AiLsw85mtQNPkiZP1xiibrrKzMZEaTFUrW51A0WWdlZeb48eNxxRVXoFOnTlamBz2HoilohFUBKJr0WFI06bIMNlqDEk3SDDwrKwsiTY4++uhg2TSq4ymadC83RZMeT4omPZYSiaJJl2djEU1XX/dXVDYB37AnH2u25WLLvgIU7c9kkuwlaeydGO1Bu6Rw09i7fXIEIr0uv4BTNPmFq87JFE16LCUSRZMuT4omXZ4UTXo8R48ejWHDhqFNmzZ6QeuIRNGki5nNwHV5BhOt3oomkUqyM9vu3buNXJIPGQ6Hw+zSFhsbi+TkZPPB4ZsARZNvRv7MoGjyh1bdcyma9FhSNOmylGgNWTRJ9tL7i5di47a96Hr2BWbXuF925ppsJhnSaynS60STKDdaxoehU0oUOqdEoWmM11L2Uk1Xg6JJ7x6laNJjSdGky1KiUTTpMqVo0uNJ0aTHUiINHz4c48aNQ0JCgm7gWqJRNNmC2dIi9VI0iWTasWMHXnvtNfMiPzU1FevXr68STSkpKWjdujVOPfVUXHXVVejcubMlGI15EkWT7tWnaNLjSdGkx5KiSZdlQxRNUv4mu8ll5JdgT1YRlq35Dd9sTIcjuilK9jf/9rqdiItwoWm012QtndgqCkcnRSDc4wwaMEVT0AirAlA06bGkaNJlSdGkz5OiSY8pRZMeS4omXZYSbeDAgZg5cya8Xq9+cOWI9VI05efn46GHHsLrr7+OVq1a4fTTTz8Ii/RqEhH1yy+/oFmzZpg9e7b5zFE7AYom3buDokmPJ0WTHkuKJl2WDUk0lZSWI7uwFGk5xdicVoAftuVASuSk2bcMp9OBaK8TCVEetGxSkb3UqUUkkqK9cFjovWSVPEWTVVK+51E0+WbkzwyWzvlDy/dcZjT5ZuTPDIomf2jVPZeiSY8lRZMuS4omfZ4HRZRspg0bNuD888/H5MmTzeeYmJjDVhXZtHr1aowYMcJkNd16660hfmb1OzxFk+71o2jS40nRpMeSokmXZX0XTZK9lF9canov7cwswq+78kx53PaMQkjZnPFHZcWICXOiTXIsjkmOwEmtY9AmIQyS1RSKQdGkR5WiSY+lRKJo0uVJ0aTLk6JJjydFkx5LiiZdlhRN+jwPiigC6bPPPoP8QF2yZEmdq5WUlGDhwoV45ZVXzGeO2glQNOneHRRNejwpmvRYUjTpsqyvoqm4tBxZ+SVIzS3G76kFWLMtB+v35Jvd5GS4JHspzGWylwpSf8fR8Q5c2/csJES59QEeEpGiSQ8xRZMeS4omXZYSjaJJlylFkx5PiiY9lhRNuiwpmvR5HiaavvnmG4wcORIffPABoqOja11RRJNIpkWLFkFecHFQNEkWnB2DokmPMkWTHkuKJl2WR4pokubcOzMlC8na+WUXlGD97orspd1ZRZDWS5K9FOZxokmkG81ivTimWSROaBmFH79ciqyMNAwYMMBa8CBnUTQFCbDa4RRNeiwpmnRZUjTp86Ro0mNK0aTHkqJJlyVFkz7PwyLu3bsX5513Hm677Tb06NHDlM6JcHK73ZDSuszMTBQXF2Pr1q2ml1Pfvn0hW0dyUDRRNAX/XbBu3TojcMeOHRt8MAsRKJosQPJjysqVK7F8+XLcfvvtfhwV+NQVK1Zg1apVZtcRO8ayZcsg94zsOmLHOBJ2nfvs1wzM/XKXaeId6Gga7cEJraJxYqtodGwWgbiIiuwleaNGNtygaAqU7IHjpK+kvE7p169f8MEsRKBosgDJjyksnfMDloWpzGiyAMmPKRRNfsDyMZWiSY+lROKuc7o82Qxcl+dh0UpLS82OcxMnTkTLli0hu8wdddRRiIyMhJTWSRPw7OxsrF27Fk2aNMELL7yAtm3bhvhZ1e/wLJ3TvX7MaNLjSdGkx1IiUTTp8jwSRNMna9Px4opdpq9ViKcpAAAgAElEQVRSIMPpcOD8zgm47rRkUzZXfVA0BUK05mMomvRYSqQ5c+aYDWH69OmjG7iWaBRNupgpmnR5UjTp8aRo0mNJ0aTLUqJRNOkzPSyiCCV5gT937lxs2rQJhYWFVXMcDofJcjrzzDNx7bXX4vjjj7fhGdXvJSiadK8fRZMeT4omPZYUTbosJdqRIJqkBO6T/2fvPMC0qM73/Wxle6X3siCyoiIgoqBiwIomxhJLNKhosCQxRmOJRmI0KhpRRP8IMWpi1Ghs0VhQlI6IFCnSliawS1nY3tv/eo9ZImV359vv2fmxy3Ouywtkz7wzc5/Z75u55z3vWZPj6i5ZYW9bKe5Q2U0RYSGIjwp30+NiIkNRu1xcq7AQDO6RgFPSEg8CJNHEu2YkmngsJZq4LC3a5MmTMXDgQDdTwI8m0cSlLNHE4ynRxGMp0cRlKdHE51lvRJsqt2PHDpgoqW0mmrp06eJkU3l5uZNQh1qZzudDPax3J9HEHR6JJh5PiSYeS4kmLsvDQTRZFlNhWRX2FlVi295SrMwscqvH7SmqgK0qZwlK0ZFhSIkJR4ekVujbPgbpHWPd3w9IXjokHIkm3jUj0cRjKdHEZSnRxOf58MMPY/To0ejfvz8/+CEiSjTxMEs08VhKNHFZSjTxeR4yogkmq8G0a9cumFhKTU1Fu3btEB0dva+/9dm8eTOWLl2KH//4xz4dWfPcjUQTd9wkmng8JZp4LCWauCz/L0XT5T/9mctesmLeGbtKXGHvLXtLUV75XZ2myLAQJMaEo3VcBHq0jkb/zrHo2Toasa3CAoIg0RQQrno7SzTxWEo0cVlKNPF5SjTxmN5777249tpr0bNnT17QeiJJNHExq0YTl6emznF5HhTNps2tWLECU6dOxcKFCxEaGorjjjsOw4cPxxlnnOHm7FuzWk6zZs3C008/jbfffruJj6p5h5do4o6fRBOPp0QTj6VEE5el36LJspc+/mwOvtm4DYNOOxerMouwJqsYOcUV7sSs1lJsq1Akx0agU1Ir9OsQg6M7xqJtfKSn7KVD0ZFo4l0zEk08lhJNXJYSTXyeEk08phJNPJYWyRaDueeee9C2bVtu4DqiSTRxMUs0cXkeFC03NxdXXnkl7GHepshZ5lJxcbGr1XTJJZfg+uuvR1pamhNQEk3eBkOiyRsnr70kmrySarifRFPDjALpoWLggdBquG9T12iy6W9Wb8lkkmUvzVv5LRZlZCMkri0q/1v8OzI8FEnR4WibEIGebaLRv1MsureORnREaMMn0EAPiaagEe4LINHEYynRxGUp0cTnKdHEYyrRxGMp0cRladHGjh2LSZMmuUXJ/GgSTU1I2aTS119/jTPPPNMVAj/rrLOcaNq+fTtefPFFvPXWW+jVqxduuOEGl+E0f/58ZTR5GA+JJg+QAugi0RQArAa6SjTxWFokiSYuz6YSTZVVNSgorUJ2YQU27/luapxNkbNC39ZsdbjYyFCkxkWgU3LUd9lLHWLQOi6ytsY35UQlmigYXRCJJh5LiSYuS4kmPk+JJh5TiSYeS4kmLkuJpvp5hlh9IwAhNWZrmkGzaXOWpfT73/8ec+bM2e+Ibaqc3fQ//vjj2LlzJ+xD3vrbkrSaOlf/4Eo0cS9+iSYeT4kmHkuJJi5Li8YUTfYtXFLxXWHvrLwyrNtZ4qbHbc8pg02bc9/W1RWIbxWK7u0SkdY2Gsd2jkPXlFawrKamaBJNPKoSTTyWEk1clhJNfJ4STTymEk08lhJNXJYSTS1QNFlGk6WpzZ07d7/i33aq5svWrl3r5p9mZma6jKeMjAyJpgZ+rySauB88Ek08nhJNPJYSTVyWLNFUUVXjMpWyC8uxZU8ZVmwrdNlLtpqcNcteimsV5gp7l+75Fp3jqnDlecOREhvBP6EDIko08RBLNPFYSjRxWUo08XlKNPGYSjTxWEo0cVlKNLUw0WSnU1ZWhhEjRuChhx5yfx7YTDatW7cOv/3tb52MOvXUUyWaJJrwxBNPuGw3P5pEE4+yRBOPpUQTl2VdoimnuBLb/puF5GWPJpQydha77CWrw2Sllyx7qVVEqJNJ7RMiXfZSeqdYrPlqNnbtyMQ111zjJXTQfSSagka4L4BEE4+lRBOXpUQTn6dEE4+pRBOPpUQTl6VEUwsUTTZFzqbCWRaO1WI6VDPZtGfPHtx///1ISkpyUkqtbgLKaOJeHRJNPJ4STTyWEk1clnWJprkZeXhpXhZKKqobvcM2cRE4tkscjukUhz7topEYHe5iffLJJ9i2bZtEU6PJ7r+h3UtUVla6hUSaukk0cQm/8MILbpXhUaNGcQPXEc3KMNhCM4d6wdkUBzBlyhSkp6e7eqN+tMmTJ2PgwIEYOnSoH7vDxIkTMWzYMAwePNiX/T322GMYOXIkBgwY4Mv+JJp4mCWaeCwtklad4/JUMfC6eTa7Gk2BXBommwoKClBSUoJ27doFsukR11eiiTvkEk08nhJNPJYSTVyWdYmmWety8cLcrH2rwgW619CQEJxxdDKuOqmdmzb3/SbRFCjN+vtLNPF42gItrVu3xjnnnMMLWk8kiSYuZokmLk+JJh5PiSYeS4kmLkuLJtF0hIom/qXUciNKNHHHVqKJx1OiicdSoonLsi7RtCarGDPW5KC0ogpV1UB+aSV2F1SguKwK3191IyIsBAnR4W56nK0g993aHEBEWChO6BaPYWmJBx2wRBN3DCWaeDwlmngsLZIymrg8ldHE5Tl+/HhcccUV6NOnDzfwIaJJNHERK6OJy1OiSaKJe0W1wGgSTdxBlWji8ZRo4rGUaOKyrEs02b/bKnEFpVWuVpPVXlrybQEyc8tgK8vZCnGpseHokhKFvu1jkN4xFh2SWuGA5KVDHqxEE3cMJZp4PCWaeCwlmrgsLZpEE5epRBOP5+23347bbrsNHTt25AWtJ5JEExezRJNEE/eKaoHRJJq4gyrRxOMp0cRjKdHEZXko0eRFMPVoHe0ylkwwxUeFBXRQEk0B4Wqws0RTg4g8d5Bo8ozKU0dlNHnC5LmTRJNnVJ46SjR5wuSpk0STJ0yeO40bNw4TJkxAQkKC522C6SjRJNEUzPVzRGwr0cQdZokmHk+JJh5LiSYuy++LpmuvG9tgBlMwgqn2yCWauGMo0cTjKdHEY2mRJJq4PCWauDwlmng8JZp4LC2SRBOXZzDRWkwx8KKiIuzevdutNGcryFhByjZt2vhmM4MZhMNhW4km7ihINPF4SjTxWEo0cVk60TRzFpZ9sw6jfnjFd1PkthQgM+97U+TiItCzdRQGdG1cBtOBRyzRxB1DiSYeT4kmHkuJJi5LiybRxGUq0cTjKdHEYynRxGUZbLRmL5psZbmcnBy88847WLRoEVauXOlWmTv22GPdMq22lOlRRx0VLKcWv71EE3eIJZp4PCWaeCwlmngsbYpcfmkVZiz4GjO/3ozYbsfvX4MpLgI9WkfhBJJgqj1yiSbeGFokiSYeT4kmHkuJJi5LiSY+T4kmHlOJJh5LiSYuy2CjNXvRZNlL06ZNw6RJk9ClSxfExMQ4JiagsrKykJ6ejj//+c9ISUkJllWL3l6iiTu8Ek08nhJNPJYSTcGzrBVM+4p8b8l3ggkIcUW+W/9XMLEymA48Yomm4Mfw+xEkmng8JZp4LCWauCwlmvg8JZp4TCWaeCwlmrgsg43WrEWTyaRdu3bhtNNOw89//nNceeWVaNu2rWNSVVWFmTNn4v7774dV17/44ouDZdWit5do4g6vRBOPp0QTj6VEU+NZfl8wfXOIVeSaWjDVHrlEU+PH8FBbSjTxeEo08VhKNHFZSjTxeUo08ZhKNPFYSjRxWQYbrVmLpurqaixcuNCJJPvzwFZRUYG//vWvWLJkCZ577rlgWbXo7SWauMMr0cTjKdHEYynRFDjLhgRTWEUhOsQB5w7p06hV5AI9IommQInV31+iicdToonHUqKJy1Kiic9ToonHVKKJx1Kiicsy2GjNXjR98cUXuPvuu2E335GRkfvxsKymjz/+GC+88ALeeOONYFm16O0lmrjDK9HE4ynRxGMp0eSd5f8EUym+ySzGkm8L9qvBVJvBVLp9JeIqsnH9mCu9Bw+ip0RTEPAOsalEE4+nRBOPpUQTl6VEE5+nRBOPqUQTj6VEE5dlsNGatWiyqXP2QH/GGWe4zKXBgwfvV6Np8+bNmDp1qqvX9MgjjwTLira9HU9eXp6b2vf9Fhoaig4dOrjzKC8vdz8vLi5GWFgYevbs6epNWU2q5cuXu/OOiorC2Wef7UKYVNu+fbubSjho0KCAj1WiKWBk9W4g0cTjKdHEYynR1DBLr4KptgbTVwtmIyMjA9dff33DwQk9JJoIEL8XQqKJx1OiicdSoonLUqKJz1OiicdUoonHUqKJyzLYaM1aNNnJm5C5+eabYVLJ6jDV1miyaXVz5szB559/jilTpmDo0KHBsqJtb8e2adMm3HHHHfti2jS/r7/+GpdccomTYnbcDzzwgDsfE1OWrTVx4kSEhITgF7/4hTtvW23vpZdeQo8ePZxgevzxx52ouu222wI+VommgJFJNI0fz4VWRzSJJi5mW51z3rx5bsqxH23BggVYvHgxbrnlFj92h9mzZ8OumXHjxu3bX05xJbbsKUVlVU2Dx1BeVY1v95Ri6beFyMwrQ02NlfkGkmMj0K9DDEww9esYi/ioMBfLPqslmhrE6rnDe++9h8LCQlx++eWetwmmo0RTMPT231aiicfSItm9q71gHD58ODdwHdEmT57sVmv2637Z7mmHDRvmXq760R577DG3EvWAAQP82B0efvhhjB49Gv379/dlf3/84x9x0UUXoV+/fr7sT6KJh1miicfSItn934QJE5CQkMANXEe0sWPHukXJahcka+qdjhkzxiXSHDiTq6n325j4zV40mYSxm/zf/e53WLduHfLz810WUFJSkpM0Jm5MzBzOzcSTiTK7cOyLsHfv3u7L6eqrr3a/LCaBzjrrLFfsfMiQIe5c33//fTz//POwLKhrr70WdoP30Ucf4a233mrUqUo0NQpbnRspo4nHU6KJx9IiHYmi6YuN+Xh+TiZKKqobBTM0JAQn9UzAVUPb7xNMtYEkmhqFtM6NJJp4PF999VXExcXh/PPP5wWtJ5JEExezRBOXp0QTl6dEE4+nRBOPpUQTl2Ww0Zq9aDIAZWVl2LNnD1asWOGEze7du9GrVy/07dvX/emX0WzsYNjx2w2aFSy3oubr1693b3nsAbtNmzYoKSnBM888gxkzZuC3v/2ty2z65z//iX/84x9Oqp188sn405/+hEcffdRJqsY0iabGUKt7G4kmHk+JJh7LI1U0zcvIw7TZmaisbjij6VC0TTSN6JuEa07pcNCPJZq416dEE4+nRBOPpUWaNm0a0tLSMGLECG7gOqJJNHExSzRxeUo08XhKNPFYSjRxWQYbrdmLJqtNZDUroqOjcdppp+3Ho6ioyAmcSy+9FCkpKcGyapLtLSNrx44d+PnPf45zzz0X1113nctMsjS8nTt3un2Wlpbi5Zdfdmlydj42BcX6zZ8/36VV2zS8rl27on379mjVqpW7CQo0fU+iiTu8Ek08nhJNPJZHqmhav6sEn63OQWlFlYNpvim/pBKZeeUoKvvu36xFhofCinzbf63CbcLcdy0iLBTHdo7DsN6JBw2GRBP3+pRo4vGUaOKxtEgSTVyemjrH5ampczyed911F2666Sb3bOVHk2jiUtbUOS7PYKI1e9FkgsTSwu2iuuqqq/axMIGTnZ2Nn/zkJ7jxxhvdFLrDsVltpunTp8M+ZKy2iE35q0s0/eUvf3H1QGzK3KxZs5xYsv+sQLjVa7JsroKCAtx33304/fTTAzpd42gfrH4VtLVi6G+++aab9udHs/OzB5if/exnfuzOXXsffvjhftdkU+7YpKRlvF1xxRVNuRsXOzMz09U/s98tP9q2bdtgdX78+h3esmWLqyn04x//2I/Tw8aNG1025g9/+ENf9mdTjdesWeOm5/rR1q5diw0bNjiR7kczMbl161Y33fiQLSwCVa2S8W1xFBZuKsDO/HK4QkzlhYirzkN62zCkd4xBfFS4p8O1sbPfP6v94UezWn6WwWuLYPjRlixZ4r5XDnyR01T7tqmd9nLFr7o0lkVsL6wsM7ipm70cssU9bAq8H80+p23REL9q4Nh9SXx8PE444QQ/Tg+fffYZUlNTcdxxx/myv08//RTt2rXzreaOrZrcpUsX32rufPDBB24WwFFHHeULT7snO/roo12WmB/tnXfewbHHHusW1/GjWSkLq3nVrVs3P3bnVte2+lqdO3f2ZX82s8I+pzt27Njk+3vllVfwgx/8wP3++dHspf4555yD1q1b+7E7V2/XnmX9SoqwBbSsnldi4sEvz5rihE3SX3bZZe77wY9mM4TMCQSadNHYY3v22WddAogle/jRnn76aZgTUI2mJqZttY3sptsupi+++MLVIvh+MwHz2muvuYdiu+gOx2Y38JahZDcTDz74oJNGJpOsHpOJI/slsZtuk0smLqw2kzUrBm43WXZeTzzxhHvIWbVqFd59912X6fTUU08FdLomYqyI+PHHHx/Qdo3tbNMF7WHXrxtEm35oUxLtJsOPZlMaTSAcc8wxfuwOlr1n14tluDV1s0K9lrHlV8FJq7tmKyraDakfzSSoZRn6dbOdm5vrivn36dPHj9NzUtpEaGOn2QZ6kCZF7BztAcaPZudm18yBDxO2mlxucSWySiJQktALIcndgdAwREWEol1cGFKxF6HZa4CSnIAO06Zq2++ELcrgRzOpZZ9n3bt392N37nfBvm/8erOblZXlvgftO9GPZuLc7iX8eDgzaW51Ff14MDN2JlzDw8PdIiF+NPtesBtfewHmR7PvPMtm9+vh07LH7T7TShr40ewewko/+PWway8E7GWnyTs/mt2T2bklJyf7sTtXx9Vqt9o5+tHsJYv9Lvj1ML969Wp06tTJt3Ih9lLHvhcOfPZqCrb2fGPfebGxsU0R/qCYK1eudPcQfokKW03c7sns88yPZs/OVl7GLzGybNky98zglxhZunSpe/6KiIjwA6d7OW3Ps/Z960f76quvYLLQL57BnFOzzmiym0N7G3nnnXfC3jQdCNxuVk28mHV//fXXg+HUJNva8duH2XnnneekkX3I2L/Zl5NlN5hEsmlw9tD0q1/9yj1oW40me/tqv7RW4f6ee+5xN+W2Qo+9CbZsKHtLZKYzkKapc4HQarivps41zMhrD02d80rKW78jsRh4cXkVtu4tw1dbCvDlxnzsKapAWGgIkmLC3UpyJ/dKxNEdYhEe9r/pct5oatU5r5y89tPUOa+kGu6nqXMNMwqkh6bOBUKr4b6aOtcwo0B6aOpcILTq76upczyWFskSKmwldb8ytjR1jjt+wURr1qLJpsfZA/3ZZ5/tljG0JUstTdxabe0jK/5nht+WGT3cmmW92C+evUWylNfaZtkpdj5mnH/605+6bBW7wbHMpUGDBrlz/vOf/4yTTjrJZT7ZG/wLLrjAra5nVtUyMQKdAifRxL06JJp4PCWaeCwt0pEkmqz4957CCqzMLML8jDxk7CqBZTbFRIaha2orDO6egBN7xCM5pvFvvVSjiXt9SjTxeEo08VhaJIkmLk+JJi5PiSYeT4kmHkuJJi5Li2ar1FvdZmU08dkeFNFqHP3hD39wNYusDkGtLa3NDLJ0S1u5w6TM4dZsusXvf/97jBo1ys0F/n6z6TtWENyayTMTSibULHvJUiz/9a9/uZXmrNk0tLffftvVPLI060ceeSTg1G6JJu7VIdHE4ynRxGN5pIgm+9y/+tobsDG7BIs2FWDxlgLklVQiPDQEqXEROKZTLE7plYi0djEIDTyJab8BkWjiXp8STTyeEk08lhJNXJYWTaKJy1SiicdToonHUqKJy1Kiic+zwYhWc2Ty5MmumLYJE5MxNifa5n1bRpBfRYQbPNDDuINEE3dwJJp4PCWaeCyPCNE0dz7mfLUCA0degvkb8rApuwSoAWJbhaFnm2iXwXRCt3gkeCz23RB9iaaGCAX2c4mmwHjV11uiicdSoonLUqKJz1OiicdUoonHUqKJy1Kiic/TU0SbKmeFIW1FJSuUagXqrOCmFf5Ta5iARFPDjALpIdEUCK36+0o08Vi2ZNFkC8cVlFVixpdr8N7CDES0PxpFZVWICAtB2/hIHNs5FienJaJ7ajRCgsxi+v6ISDRxr0+JJh5PiSYeS4kmLkuJJj5PiSYeU4kmHkuJJi5LiSY+z/0i2jQxE0qWsWSrOdj0M1uRqr5mqxT4saJME596k4aXaOLilWji8ZRo4rFsqaKpvLIaWXnl+HprIRZszMfWvaVOJsVHhaN322gM6ZmA4zrHuawmdpNo4hKVaOLxlGjisZRo4rKUaOLzlGjiMZVo4rGUaOKylGji89wX0bKWLGPJPkyHDBmCG2+8EStWrIAV/K6r2VLCtuTgb37zmyY8suYfWqKJO4YSTTyeEk08li1NNFXXAPkllVizoxgLN+ZhxfYilFZUIzI8FB0SI3F8lzgM7ZWIzsmtuBC/F02iiYtWoonHU6KJx1KiictSoonPU6KJx1SiicdSoonLUqKJz3M/0bRy5Ur8+te/xrBhw1whbSv6+uCDD9YrmgYOHIjbb7+9CY+s+YeWaOKOoUQTj6dEE49lSxJNJpS255RhybcF+GJjPnbml7vC3iEVxeiaGIIfDu3jin5HRYRyAR4QTaKJi1eiicdToonHUqKJy1Kiic9ToonHVKKJx1KiictSoonPc7+IltW0bt06V+i7tv5SUVERbHqcWuMJSDQ1nt2htpRo4vGUaOKxbAmiqaq6BrnFlfgmqwjzM/KxOqsIldU1TihZ5lJYzga0wR6M+9lPuODqiCbRxMUs0cTjKdHEYynRxGUp0cTnKdHEYyrRxGMp0cRlKdHE51lnRJNOu3btwrx583DeeeehoKAAERERrn6TtdoC4V9++SVsCl2/fv2Qnp7u4xE2n11JNHHHSqKJx1OiiceyuYum4vIqbNlThsVbCvDlpnzsLapAWGgIkmPC0a9jLIb2SsDu9Yuxbs1qjBs3jgtOoskXnhJNPMwSTTyWEk1clhJNfJ4STTymEk08lhJNXJYSTXyedUasrq7GzJkz8bvf/Q7XXnstMjMzXWaT1W+y/0w03XnnnXj77beRkJCAAQMG4IknnkDr1q19PMrmsSuJJu44STTxeEo08Vg2V9FkGUt7CitcDaYFG/KQsasEltkUExmGbqlRGNw9HoN7xCM5JgKzZ8+GXTMSTZzr5sMPP0R2djauuuoqTsAGokg08TBLNPFYSjRxWUo08XlKNPGYSjTxWEo0cVlKNPF51iuabNrCj370I3To0AFdu3ZFcXGxy1565pln0KZNG5x00km444473FS7v/zlL7jppptw6aWX+niUzWNXEk3ccZJo4vGUaOKxbG6iqQZAcVkVNuwuwaLNBViypQB5JZUIDw1B6/gI9O8Ui6E9E5HWLsbVZ7Im0cS9XiSaeDzfeOMNhIeH48ILL+QFrSeSRBMX87Rp05CWloYRI0ZwA9cRbcqUKS4Lf/jw4b7sb/LkybCapkOHDvVlfxMnTnT1VgcPHuzL/mzhoJEjR7qXzn60hx9+GKNHj0b//v392J1bKOmiiy5yszf8aOPHj8cVV1yBPn36NPnu7r33XpdQ0LNnzybfl+1AoomL+ZZbbsEDDzyAlJQUbuA6otmLxgkTJrgkEz/a2LFjMWnSJMTExPixO4wZMwZTp05FZGSkL/sLZichIbYGNBBSY+k/zaxZRpOJpiuvvBKPPPKIk0o7d+7E448/jkGDBrkvFJNM8+fPR0VFBV588UV89dVXeO6555rZmTb94Uo0cRlLNPF4SjTxWFqkRYsWuenGt956KzdwHdEWLFiAxYsXw240altOUaWTR5apVF+rrqlBdkEFvtpSgE3ZJaj9lrJMplPSEnHhCa2REBW+XwiJJu6wSjTxeEo08VhapBdeeAGdO3fGqFGjuIHriCbRxMUs0cTlKdHE4ynRxGNpkSSauDwlmrg864xWO3Xu/vvvx5w5c1y/qqoqvP/++y57yVane/rpp93UOfv3WbNm7ft/nw6x2exGook7VBJNPJ4STTyWh4toWrQ5H8/NyoStHNeYFhEWgtP6JGHMKR0O2lyiqTFE695GoonHU6KJx1KiicvSoimjictUGU08nspo4rG0SPai8Z577tm3qBY3+sHRJJq4hCWauDzrFU0rV67E1Vdfjddeew2pqakoKSnBK6+8gs2bN7uU1SeffBIffPCBm05nN3n297///e8+HWHz2Y1EE3esJJp4PCWaeCwPF9G0cGM+pszajoqqxiXSWgHw4b0TMXZ4R4km7uVxUDSJJh5giSYeS4kmLkuJJj5PiSYeU4kmHkuJJi5Li6apc3UzbdZT5+y0ysrK3Jxkq8dkNZqKiopcdpPNiba5i1Ys3AqCWw0nm+9uU+rM4qrtT0CiiXtFSDTxeEo08VgeLqJpU3YpPl+Tsy+jyabI5ZVUYeveUhSWVe074cjwULRPiET7xEhXl6m2hYeFIL1jrJs+d2BTRhP3epFo4vGUaOKxlGjispRo4vOUaOIxlWjisZRo4rKUaKqfZ7MXTTZ9bsmSJa4I144dO5xcOvbYY10dksLCQpx44onu51agKy8vz/Wzf1OTaGrKa0CiiUdXoonH8nARTd8/I5s+ty2nzBX6XrgpHzvzy11h78TocPTtEIuTeibgmI6xaBUR6gmERJMnTJ47STR5RtVgR4mmBhEF1EE1mgLC1WBnTZ1rEFFAHSSaAsJVb2eJJh5LiSYuS4mmFi6aak+voKAAWVlZiI6ORqdOnbBu3TpXGPyUU05x0+XWrl3rspzOPvts/hXWAiIqo4k7iBJNPGuY6qwAACAASURBVJ4STTyWh5NoqqquQU5xJb7JLMKCDflYnVXkioNHRYSiS0oUBnaNw4k9EtA2IbBVNSSauNeLRBOPp0QTj6VFkmji8pRo4vKUaOLxlGjisZRo4rKUaDoCRFNpaSlWr16NjIwMVFZWonv37m4FOpNPW7Zs8W1pUf6l619EiSYua4kmHk+JJh7Lw0U0FZdXYfOeUpfF9OWmAuwtqoDVXUqOCUd6J8tiSsTRHWL2my7nlYJEk1dS3vpJNHnj5KWXRJMXSt77SDR5Z+Wlp0STF0re+0g0eWfVUE+JpoYIBfZzFQMPjFdDvVWjqW5CzWrqXE1NDXJycrBr1y707dvXnZWtJmc3wi+++CI2bNjgioGfcMIJ+Mc//oHt27djwoQJuP322139JrW6CUg0ca8OiSYeT4kmHsv/a9FkGUvZhRVYua0QCzbmI2NXCSyzKSYyDN1bR2FQt3gM7hGP5JiIRp+0RFOj0R1yQ4kmHk+JJh5LiyTRxOUp0cTlKdHE4ynRxGNpkSSauDwlmlqIaLJ6TEuXLsUzzzzjVpobOnSoy1q64IILXBbTqFGjXJ2mhQsX4p133nGFwu+66y706dMHN954I/eqamHRJJq4AyrRxOMp0cRj+X8lmr76ajGuueFGbNhdgkWb8rH020LklVS6jKXW8RHo3ykOQ3slIK1tjKvPFEyTaAqG3sHbSjTxeEo08VhKNHFZWjSJJi5TiSYeT4kmHkuJJi5LiybR1EJEk2U0bdy4Eb///e9d5tI111yDjh074pJLLsGsWbPc3+0h46mnnnKiybKdpk+fjrfeegvTpk3jX1ktKKJEE3cwJZp4PCWaeCz/T0TTwkWYPmcRBp/1E3yxMR+bskuAGiC2VRjS2kZjcPcEDOgWh4SocMqJSjRRMO4LItHE4ynRxGMp0cRlKdHE5ynRxGMq0cRjKdHEZSnRVD/PZjV1zk7FZJNlLb355pvYs2cPzjjjDIwfPx4zZsxwYun7osnqNb3//vt45ZVX8Prrr/OvrBYUUaKJO5gSTTyeEk08ln6KppoaoKC0Ep8vWY935q1FZIejUVRWhYiwELRLiMRxXeIwtGciuqVGISTILKbvE5Jo4l4vEk08nhJNPJYSTVyWEk18nhJNPKYSTTyWEk1clhJNLUw01Z6OCafdu3cjLy/PZTTZdDpbVW7x4sUuo+ntt992NZoeeughpKam4sEHH+RfWS0ookQTdzAlmng8JZp4LP0STeWV1cjMLceyrQVYuKkAW/eWOplkWUt92sW41eSO7RzrsprYTaKJS1SiicdToonHUqKJy1Kiic9ToonHVKKJx1KiictSoqmFiqba0yovL8dvfvMbrF+/HiNHjnRZTjZd7pe//CXWrFmDmTNnYtKkSRg8eDD/ympBESWauIMp0cTjKdHEY9nUoqm6Bq720uqsIny5MR8rMotQVlGNVuGh6JgUieO7xmNIjwR0Tm7FPanvRZNo4qKVaOLxlGjisZRo4rKUaOLzlGjiMZVo4rGUaOKylGhq4aLJMps2bdqEJ554AsuXL0dRUZE745CQEHTo0AGXX345rrjiCv5V1cIiSjRxB1SiicdToonHsilFU2lFNbbuLcOSby2LKR+78stdYe+QymJ0iavGhcOOxjEdY9EqIpR7QgdEk2ji4pVo4vGUaOKxlGjispRo4vOUaOIxlWjisZRo4rKUaGrhoslWlisuLkZYWBhWrVoFEybWQkNDkZaW5mSTtbi4OP6V1YIiSjRxB1OiicdToonHsilEU1V1DXKKK7EqswhfbMh32UyV1TWIighF15QoRORtQnxZJm657kruidQRTaKJi1miicdToonHUqKJy1Kiic9ToonHVKKJx1KiictSoqkFiybLZsrIyMCCBQtw9dVXH3Sm1dXVWLZsGeyh/0c/+hH/ympBESWauIMp0cTjKdHEY8kWTcXlVdiUXYolWwqwaHMB9hZVICw0BCmx4UjvGIuTeiYiZ9PX+HrZEtxyyy3cE5Fo8oWnRBMPs0QTj6VEE5elRBOfp0QTj6lEE4+lRBOXpURTCxZNJpJmzZqFJ598Eu++++5BZ2qrztmN3XvvvedWnlOrm4BEE/fqkGji8ZRo4rFkiSbLWMouqMCK7YX4YmM+MnaVwDKbYiLD0KN1FAZ1j3f/JcdEuBcBtkiDRBNnHD/55BNs27YN11xzDSdgA1EkmniYJZp4LCWauCwlmvg8JZp4TCWaeCwlmrgsJZpaoGiyTCYr+m0PL1aX6a233sIDDzyw35lan507d2LGjBmIiorClClT+FdWC4oo0cQdTIkmHk+JJh7LYEVTDYCisionlr7anI+l3xa64t/hoSFoEx+B/p3jcFLPBKS1jXH1maxJNHHHT6KJy9NWqLWXUrZ6bVM3iSYu4RdeeAGdO3fGqFGjuIHriDZt2jRXkmHEiBG+7M/uW9PT0zF8+HBf9jd58mQMHDgQQ4cO9WV/EydOxLBhw3xbrOexxx5ziwYNGDDAl/OTaOJhlmjisZRo4rKUaGqBoskymZYsWYLf/e53Tjht3rwZgwYNOkg0ZWZmIjU1Fffccw/OPPNM/pXVgiJKNHEHU6KJx1OiiceyLtFkU97W7SxBeWV1vTsz0WR9TTBtyi5Bjf0DgOjIUAztlYiLB7ZBQlT4fjEkmrjjJ9HE5SnRxOP597//Ha1bt8Y555zDC1pPJIkmLmaJJi5PiSYeT4kmHkuJJi5LiaYWKJosW8nk0ptvvulqNFnx17Fjxx50plYA/Oijj/btbRD/0vUvokQTl7VEE4+nRBOPZV2iyVaKe/bz7bCV4xrTwsNCMCwtEWOHdzxoc4mmxhCtexuJJi5PiSYeT4kmHkuLpIwmLk9lNHF5jh8/3q3q3adPH27gQ0STaOIivvXWW10SRtu2bbmB64hmpRNs5lFKSoov+xs3bhwmTJiAhIQEX/ZnDmLSpEmIiYnxZX9jxozB1KlTERkZ6cv+gtlJSEiIm98QUmP2ppk1O+Q1a9bAbhTtF0at8QQkmhrP7lBbSjTxeEo08VjWJZoWbynA5M+2oaKqcV8DVgD85F6J+PlpEk3c0To4mkQTl7BEE4+nRBOPpUQTl6VFk2jiMpVo4vG8/fbbcdttt6Fjx4PvoXh7+V8kiSYuVYmmunk2a9Fkp2WyKTs7G6WlpcjNzT3oTE2kWWZT9+7duVdVC4sm0cQdUIkmHk+JJh7LukTT1r2l+Hxt7n4ZTZVVNdhVUI4te0r3CajI8FB0SIxEp6RWsCym2mY1mo5qH4NT0hIPOlhlNHHHT6KJy1OiicdToonHUqKJy1Kiic9ToonHVKKJx9IiKaOJyzOYaM1eNFm9pnnz5rlpdFaT6cAWHR3tps4dampdMOBa2rYSTdwRlWji8ZRo4rGsSzQduAebQrdhdwnmrMuFZTuVVFQjPioM6R1jXeaS/dkqItTTgUk0ecLkuZNEk2dUnjpKNHnC5KmTRJMnTJ47aeqcZ1SeOiqjyRMmz50kmjyjarCjRFODiALqINEUEK4m7dysRVPt6nOXXnopysvL0a1bN+Tk5GDVqlX4wQ9+4DKdvvzySzz66KP42c9+1qQgm3twiSbuCEo08XhKNPFYehFNBaWVWL6tCLPX5WJ1VpHNrEZqXDgGd0/AqX2S0Dm5VUAHJNEUEK4GO0s0NYgooA4STQHhqrezRBOPpUWSaOLylGji8pRo4vGUaOKxtEgSTVyewURr1qLJspmWLl0KE00vvvgijjvuOCxevBhPPfWUq9u0YcMG2C/vVVddhYsuuigYTi1+W4km7hBLNPF4SjTxWNYnmqptGnJhBb7cmI/Z6/OQmVuGiLAQdE6OclPihvZKQGL0/ivKeTkyiSYvlLz3kWjyzspLT4kmL5S89ZFo8sbJay+JJq+kvPWTaPLGyWsviSavpBruJ9HUMKNAekg0BUKrafs2e9E0f/58PPjgg/joo49QO43OPvxmzJiByspKvPfee/jPf/6Dv/zlL01LshHR7Xi3b9+O6dOnu62tevypp57qMrPKysrw7rvvoqCgAOHh4ejXrx8GDx6MiooK2IPb+vXrXXX7yy+/3G1bVVXlxJpNHzz99NMDPhqJpoCR1buBRBOPp0QTj2Vdoqm8qgbb9pZiXkYeFmzIR35pJaIjQ3FUuxiXxXR8lzhYfabGNImmxlCrexuJJi5PiSYeT4kmHkuLJNHE5SnRxOUp0cTjKdHEY2mRJJq4PIOJ1qxFk02dM7liy2uaWLKi3xkZGTj33HOdYIqPj8e//vUvfPXVV7AboMOpmWSqlRE23c9aVFQUrr32WqSnp+P999/HM888g549ezqJtGfPHpepZdLpF7/4BRITE52ksn87+uijkZWVhYceegjHH388rr/++oBPVaIpYGQSTePHc6HVEU2iiYt50aJFrq6drTpirbi8Gmt3FLupcl9vK0RFVbXLXDquSxxO65OE3m1j8N3ipI1rEk2N41bXVhJNXJ4STTyeEk08lhJNXJYWTaKJy1SiicdToonHUqKJyzLYaM1aNNnJW22mG264ARdffDFGjx7tVp+75JJLkJKSgrZt22L27NkYM2YMbrzxxmBZUbe34zSRZA98b7311n6xTfqcddZZuPnmm92xm4i64IILcP755+OUU06BfbhbttMLL7zgtrvmmmvw3HPPYdmyZXjppZcadZwSTY3CVudGymji8ZRo4rG0SLWi6Ve/uhV5JZVYurXQSaaMXcUIDQlB2/gInNQz0U2Xa58YGfTOJZqCRrhfAIkmLk+JJh5PiSYeS4kmLkuJJj5PiSYeU4kmHkuJJi7LYKM1e9FkmUErVqzA6tWrcdlll7npc/Zg8+c//9lNnevYsSPuu+8+dOrUKVhW1O3z8vKcGDv22GMxYMAAF9tWyLOpcHYuNv1tzZo1SE1NRUlJCZ599lk3xe6ee+5xb2XeeOMNvPzyyyguLsagQYMwefJk/OlPf0KPHj0adZwSTY3CJtHExXbIaBJNXMgmmmbPmYvLr70JX2zMx9yMPOzKL3dT47qlRmF470QM6ZGA2FZhlB1LNFEw7gsi0cTlKdHE4ynRxGMp0cRlKdHE5ynRxGMq0cRjKdHEZRlstGYtmmzqXH5+visI/v26RPbv27Ztc3WOkpKS0Lp162A50bc3sXPMMce4/7p37+4ys+wBcOrUqbCfjR07Fjt37nT7tewnk0r2s1deeQW33HKLy3Bavny5k0wmpGyKXUREhJNVP/rRj9w0wkCaRFMgtBruq4ymhhl57SHR5JWUt36LFi/Dvz6ei97Df4xFmwtQVFblpFK/DrGuHlP/zrEIDw1irtwBhyHR5G1cvPaSaPJKyls/iSZvnLz0kmjyQsl7H9Vo8s7KS09NnfNCyXsfiSbvrBrqKdHUEKHAfq4aTYHxasrezVo0WfbS119/jUcffRSvvfZaU3Kix87OzkavXr3w+uuvu2lyhYWFuOuuu5wcM4l0KNFkBc1nzpyJV199FQsXLnTTA02qmUhbu3aty+CyuDfddBPOPvvsgI7ZRNOdd97p6l350UwQfvDBBy4LzY+Wm5sLe0CzaZV+NKupZWPl12qHu3fvxty5c3HhhRc2+emZALXrz65TP5oVuF+yZInLAPSjmaQ2iWu13vxoJiUti9E+B5q8hUdhc14NPlu9F6GpvVBVVQ2UFyK5aheObx+Gnm2i6YdgdfS2bNmCM844gx77UAHXrVvX6EURGnOAJvrt92/48OGN2TzgbVatWgX7PLNp1H40yxi276ehQ4f6sTv3nW7fgyeeeKIv+7PPFruXsJc2Td2sXmRoaChOOOGEpt6Vi//ll1+iVatWbkVeP5pJZXvJ1b9/fz9250oP2MtEq2vpR5szZw7atGmDvn37+rE7dw9h2fi9e/f2ZX+fffaZW4zG7k39aHZPlpaW1uhM/ECP8eOPP3Y1Tbt27Rropo3qb/e4Nmuhc+fOjdo+0I2stqt9tthMDj/av//9bwwZMgTt2rVr8t3ZC4Fhw4a53z8/2ptvvukSGGxWiR/NZqmMGjXKfZ750eyZ2e5xExIS/NidS5L44Q9/iNjYWF/2Z8kZ9vxlyRd+NCtbY8+z9n3rR7PSOeYEbBGxw701e9FkdYluu+02/PWvf3VZPc2lmYiwmz97AzhixAiXtfT888/DvuhNFNkUuo0bN7qbNps6Zz+zguf2YWvNbsTtS8VqNd1///0455xz3MOxFUGfNWuWm0oXSDPR9Jvf/Ma3hxc7Jxs7vx5ebIqh8TnppJMCwdLovvZgZpk4fj0s2eqE9sBrKxM2dbNpn1Z0f+DAgU29KxffHqo3bdq0b4ppU+/UfhdM/lhhfT+ayWGTaXZD2lStugbIKa7ExvwwFMX1BOI7uKyldgkR6B5ThMi9a1FTmt8kuzcxaefo18Pgjh07XF07e6Dwo9nYmTj36+HTRKh9nvXp08eP08PWrVvd95NfD7smJe2liV8Pu5s3b3aiyY/7B/tON9FkWcx+NJO8toCIyQM/mq2Ga4uadOnSxY/dwaSyrb7r14O8fcfag5lfD/L2AiI5ORnt27f3hadJbHtx6Yc4sBMyiW3n5pc8sHtAGzu/ZjnYPa5JLXsp7Eez2R1WPsMvWbF48WInCm1xoqZuNuPDvmNtkSc/mkl6W+070NkhjT22L774wt0D2ueZH81eCtg9rl8ixl4K2Mscv0SMvXi35y+/RIzVgz755JPd960fzZ7zzQv4dX7BnFOzFk2WzWMPFSaarPC3yZYOHTrsxyMkJMR9MDW2dlEwcOvb1h7WrYC5ZTFYyqSJgl/96lfuC96Ke9v0N6szZedkfX/+85+7Xxo7V7sJt4wSu8h+97vfoaKiwsWyD317g/Lhhx+6aXaBNE2dC4RWw301da5hRl57aOqcV1KH7ldZVYPMvDLMz8jD/A152FtUiaiIUPRqE43hvZMwsHs8oiNCg9tJPVtr6hwXrabOcXlq6hyPp6bO8VhaJE2d4/LU1DkuT02d4/HU1DkeS4ukqXNcnsFEa/aiyaaM2dQ5Szs0mXTgW97aNPW77747GE70bS0j6R//+IfLaLJ0O6vRZAbWjvOoo45yGUmffvopfvzjH7u3yZa9ZF+SZrztraj93abH2VQpy44y0WRpgvZQbllCV111VUDHLNEUEK4GO0s0NYjIcweJJs+oDupYWlGNjF0lmLM+F0u2FKCkohohlSXonlCNy07vh77tYxBGrMd0qCOVaGr8+B1qS4kmLk+JJh5PiSYeS4kmLkuLJtHEZSrRxOMp0cRjKdHEZRlstBYhmp588sk6OZhosnoBN954Y7Cs6Nvb9IeHHnrIiSJLfzNpZNPorFmG0x133OH+bqmG9jObL1xVVeXqufznP/9xNZWsmbSyueeWzWRpnrYyXaCpuhJN3OGVaOLxlGhqHMv80kos31qI2evzsCarCEAIUuMikFiWiaSyrbj1+isbFzjArSSaAgTWQHeJJi5PiSYeT4kmHkuJJi5LiSY+T4kmHlOJJh5LiSYuy2CjNWvRFOzJa/v/EZBo4l4NEk08nhJNgbGsrqlBdkEFFm7Kx5z1ecjMLUNEWAg6J0fhlLREhO9di5VLFuLWW28NLHAje0s0NRJcHZtJNHF5SjTxeEo08VhKNHFZSjTxeUo08ZhKNPFYSjRxWQYbrVmLJqvRlJWV5Yo8H2qVNSvwacUwbUUgK9KlVjcBiSbu1SHRxOMp0eSdZXlVDbbuLcW89XlYsDEfBaWViI4MdVPkTu2dhOO6xOHrpYvdak0STd651tfz888/d8Xxr7/+ek7ABqJINHExSzTxeEo08VhKNHFZSjTxeUo08ZhKNPFYSjRxWQYbrVmLJhNJVnndps7Z6msHNiua/dZbb2H69OluGUA1iabHH3/cl8tAoomHWaLJG8vi8mqs2VGE2evysHxbISqqqpEYHY7ju8Th1D5J6N02BiEhgK3eItHkjamXXhJNXih572Mrp9qqnbbyqh9NoolHWaKJx1KiictSoonPU6KJx1SiicdSoonLMthozVY02Upslq1kK629/PLLeOqpp/ZjYdlOtqy21S6yGkh/+9vfgmXVordXRhN3eCWaeDwlmupnWVMD5JVUYsm3BW6qXMauYoSGhKBdQiRO6pmAk9MS0T4hcl8QiSbetWmRJJq4PCWaeDxfffVVV7fx/PPP5wWtJ5JEExezVp3j8lQxcC5PiSYeT4kmHkuJJi7LYKM1S9FkmUzLli3DH//4R2RnZ2P9+vUHTY0z0bRr1y5XKNumiPz0pz8NllWL3l6iiTu8Ek08nhJNdbOsqq7BzvxyLNiQj3kZedhVUI7I8FB0T43C8N6JOLFHAmJbhe0XQKKJd21KNHFZWjSJJh5TiSYeS4s0bdo0pKWl7Vu0hRv94GgSTVzCEk1cnhJNPJ4STTyWEk1clsFGa5aiySTS2rVrXRZTZmamq9F07rnnHsQiNjYW6enpuPjii2F/V6ubgEQT9+qQaOLxPBJF096iCqzcXgSruVRfs+lx3+4pxZJvC1FUVuW6Wk2mfh1iMbJfMvp3ijtoc4km3rUp0cRlKdHE5SnRxOUp0cTlOXHiRAwbNgyDBw/mBq4jmkQTF7NEE4+nRBOPpUQTl2Ww0ZqlaKo9actsWrFiBV5//XU89NBDwbI4oreXaOIOv0QTj+eRKJqsxtKkGdtQWlHdKJDhoSFu2ty40ztJNDWKoPeNNHXOOysvPZXR5IWStz4STd44ee0l0eSVlLd+Ek3eOHntZbM8LrroIvTr18/rJkH1k2gKCt9+G0s08VhKNHFZBhutWYsmO/mCggIsXboUnTp1Qq9evVA7Ze7TTz9FeXk5+vfvj0GDBgXLqcVvL9HEHWKJJh7PI1E0fb21EE99urXBjKa6KIeFhmBIjwTcNEKiiXclHjqSRBOXsEQTj6dEE4+lRZJo4vKUaOLylGji8bzrrrtw0003oWvXrryg9USSaOJiHjduHCZMmICEhARu4DqijR07FpMmTUJMTIwv+xszZgymTp2KyMj/1V/1ZceN2EmzF00VFRV45JFHMHToUIwcORL2/w888ABee+01pKamug+Jhx9+2EkotboJSDRxrw6JJh7PI1E0ZeWVY/a63P0ymiqra7ArvxwZu0pQVvldplOr8FB0SWmFrilRMLlU28JCgV5tojG0V+JBA6Gpc7xr0yJJNHF5SjTxeEo08VhKNHFZWjSJJi5TiSYeT4kmHkuLdMstt7hn85SUFG7gOqJJNPmC2dNOmrVosuylzZs348ILL8QHH3yA9u3bY+XKlRg+fDiuv/56DBgwAG+99ZaTUGaL1SSaHn/8cV8uA4kmHuYjUTQdSK+8shqbsksxa10uFm3OR0l5NWIjw3BMp1icflQS+nWM3U801Udfool3bUo0cVlaNIkmHlOJJh5LiSYuS4kmPk+JJh5TiSYeS4kmLkuLpowmPtNDRrQaTfPnz8d9993n3irbVDkzpv/+97/d/ycmJrqbVqvhZDdcahJNEk3B/xasW7cOr7zyCmx+vh/tSBdNxeVVWJVZjFlrc7BiexGqa2qQGB2Ogd3icfpRyejROiqgYZBoCghXg52V0dQgooA6SDQFhKvezhJNPJYSTVyWEk18nhJNPKYSTTyWEk1clhJNfJ51RrSMpo0bN2L06NH4wx/+4KbNPfroo7jqqqtwxx13oLKyEv/6178wY8YMN7deTaJJoin43wKJpuAZfj+C1Zizz6gDsy5tvbn8kkos3lKAmWtzsSm7BCEIQduECJzcKxGnpCWiXULg87MlmrjjJ9HE5SnRxOMp0cRjKdHEZSnRxOcp0cRjKtHEYynRxGUp0cTnWW9Ey2K67bbbsGbNGpfRlJycjCeffBLdu3dHdnY27rzzTpx11ln4yU9+4vORNa/dqUYTd7w0dY7H80jMaLKspeyCCszfkI+563OxI78cEWEh6JIShVP7JOGkHgmIiwprFGSJpkZhq3MjiSYuT4kmHk+JJh5LiSYuS4kmPk+JJh5TiSYeS4kmLkuJJj7PeiNaVtPWrVtdRoCJpiFDhuD44493q8/t2LEDL774Im644QZXGFytbgISTdyrQ6KJx/NIE00VVTXYnlPmioEv2JiPgtJKREWEok+7GIzom4TjOschMjy00YAlmhqN7pAbSjRxeUo08XhKNPFYSjRxWUo08XlKNPGYSjTxWEo0cVlKNPF5HhSxpKQExcXFnuRRIH19OPTDdhcSTdyhkWji8TySRFNpRbVbVe7ztTlY+m0hrAh4fFQYju0c54p+920fi5D/LS7XKMgSTY3CVudGEk1cnhJNPJ4STTyWEk1clhJNfJ4STTymEk08lhJNXJYSTXye+0W0TCWrETNr1iyXqWTN/i0vL89NlUtLS9vX34qFW985c+a4VejU6iYg0cS9OiSaeDyPFNE07he/xoptha4e0+qsIliNppTYCAzpkYDhfZLQJbkVBapEEwXjviASTVyeEk08nhJNPJYSTVyWEk18nhJNPKYSTTyWEk1clhJNfJ77RTR5NHv2bEycOBHvvvuu+5n92/Lly/H+++/j3nvv3de/qqrKCamnn34ab7/9dhMfWfMOL9HEHT+JJh7PI0E0vfn+Jzjlwuswd30etuwpRVhoCDokRmJYWpIr+p0cG04DKtFEQ+kCSTRxeUo08XhKNPFYSjRxWUo08XlKNPGYSjTxWEo0cVlKNPF5ehJNJpSeeuopvPPOOxJNjRgDiaZGQKtnE4kmHs+WLJqqqmuwaGUGpr23ELE9h2BvUYWrv9SjdZSbKjewWzxiIhtX9LuuEZBo4l2bEk1clhZNoonHVKKJx1KiictSoonPU6KJx1SiicdSoonLUqKJz1OiqYmZWniJJi5kiSYez5YqmsqrarAluxSfrtqNeeuygfAoJ5X6dYzBaX2SXF0my2xiN4kmLlFlNHF5SjTxeEo08VhKNHFZSjTxeUo0kG4QswAAIABJREFU8ZhKNPFYSjRxWUo08XkeJJose+nhhx92K8pZs6lzCxcuxNSpU/HCCy/s629T5+zf//GPf2jqXAPjItHEvXAlmng8W6JoKimvdnWYrB7T8m2FsMymhOhwl8F02lFJ6Nk6Ouii33WNgEQT79q0SBJNXJ4STTyeEk08lhJNXJYSTXyeEk08phJNPJYSTVyWEk18ngeJppkzZ+K6667DBRdc4H5mxcAzMzOxZMkSnH/++fv627/v2LEDFRUVEk0STXjiiSfw+OOPN/EV+l14iSYe5pYmmvJLKrHk20LMWpuLjN3FqKmuRnJMGE7rm+pqMrVPjOTBO0QkiSYuXokmLk+JJh5PiSYeS4kmLkuJJj5PiSYeU4kmHkuJJi5LiSY+z/0imjyywt933303CgoKGtxbWFgYzj33XPz2t79tsO+R3EEZTdzRl2ji8Wwpoqm6pgZ7CiuwYGM+5qzLRVZeOcLDQhBZnoce0fm4+ZIzXFZTUzeJJi5hiSYuT4kmHk+JJh5LiSYuS4kmPk+JJh5TiSYeS4kmLkuJJj7PgyIWFhZi3bp1yM3NbXBvoaGhOOqoo9ChQ4cG+x7JHSSauKMv0cTj2RJEU2V1DbbnlGH2ulx8sTEfeSWViIoIRVrbaCSXfouCzUtw+69/xYNWTySJJi5miSYuT4kmHk+JJh5LiSYuS4kmPk+JJh5TiSYeS4kmLkuJJj5PRfSBgEQTF7JEE49ncxdNZZXV2LCrxNVjWrylAPb/ca3C0L9znFtZriRrLWZ+/hluv/12HjSJJowbN84XnhJNXMwSTTyeEk08lhJNXJYSTXyeEk08phJNPJYSTVyWEk18noroAwGJJi5kiSYez+YsmorKq7BimxX9zsHqrGLY9LnkmAgM6ZGAYb0T0S01CkuXLsWMGTMkmkiXzOzZs2HXjEQTB+iHH36I7OxsXHXVVZyADUSRaOJhlmjisZRo4rKUaOLzlGjiMZVo4rGUaOKylGji81REHwhINHEhSzTxeDZH0VRTA+SWVGLRpnzMXp+LzdmlCAsNQbuESCeYTumViNS4CAdJool3rVgkiSYuT4kmHs833ngD4eHhuPDCC3lB64kk0cTFPG3aNKSlpWHEiBHcwHVEmzJlCtLT0zF8+HBf9jd58mQMHDgQQ4cO9WV/EydOxLBhwzB48GBf9vfYY49h5MiRGDBggC/7s9WxR48ejf79+/uyP4kmHmaJJh5LiSYuS4kmPk9F9IGARBMXskQTj2dzE01V1TXYVVCBeetzMTcjD9mFFYgMD0G31Gic1icJg7vHI7ZV2D5AEk28a0WiicvSokk08ZhKNPFYWqQXXngBnTt3xqhRo7iB64gm0cTFLNHE5SnRxOMp0cRjKdHEZSnRxOfpOaKtSGcp/hUVFejYsaPn7dQRkGjiXgUSTTyezUk0VVTVYMueUlf0+8tN+Sgsq0J0RCiO7hCL0/smoX+nOESEhewHR6KJd61INHFZSjRxeUo0cXlKNHF5KqOJy1MZTTye9957L6699lr07NmTF7SeSBJNXMy33HILHnjgAaSkpHAD1xHNSidMmDABCQkJvuxv7NixmDRpEmJiYnzZ35gxYzB16lRERkb6sr9gdhISEuIeekJqzNI001ZdXY25c+di+fLl2LRpkxNNPXr0QN++fXHyyScjMTGxmZ6Zf4ct0cRlLdHE43k4iKa9RRVY+m2hK+RdXyuvrMam7FKs2F4E+7s1y146pmMsTu2ThOO6xB20uUQT71qRaOKylGji8pRo4vKUaOLylGji8pRo4vGUaOKxtEi33nor7rnnHrRt25YbuI5oEk1czBJNXJ71RjPJNGvWLDz44IMoKSlBRMR3dU+sWS0Em4/961//GlFRUT4eVfPblUQTd8wkmng8DwfR9E1mEZ74ZCtKK+oXTXWdtdVnsilzt5zRWaKJd2kcMpJqNHEBa+ocj6dEE4+lRZJo4vKUaOLylGji8ZRo4rGUaOKytGjKaKqbabPPaMrNzcUll1yCLl264Pzzz0dSUpI7WxNQ8+fPx9tvvw0rqHjiiSfyr6wWFFGiiTuYEk08noeDaFplomn61gYzmuoTTQO7xeOXP5Bo4l0Zh44k0cQlLNHE4ynRxGMp0cRladEkmrhMJZp4PCWaeCwlmrgsJZrq59msRZPN9lu5ciUuvfRSfPbZZ+jQocN+Z1teXo7x48fDpgc+9NBD/CurBUWUaOIOpkQTj+fhIJp2FZRj3vo8lB4wda64rBrrdhVje06ZO+FW4aHomhqFXm2iERb6PwaW0dQtJQpDeh48X1xT53jXikWSaOLylGji8ZRo4rGUaOKylGji85Ro4jGVaOKxlGjispRoasGiqXba3COPPIKPP/74oDOtqqrC9OnTXcEsy2xSq5uARBP36pBo4vE8HETToc6mpLway7YW4oMVe7Apu8RJpr4dYnBWegrSO8bC5JKXJtHkhZL3PhJN3ll56SnR5IWStz4STd44ee2lqXNeSXnrp4wmb5y89pJo8kqq4X4STQ0zCqSHajQFQqvhvpo6VzejZp/RtHbtWjdlzuo0HbjSnBUFf+aZZ7B69Wo899xzDV8pR3APiSbu4Es08XgejqLJJNPX2wrx0co9yNhV4laS69MuBucf19pJpu/WWPDWJJq8cfLaS6LJKylv/SSavHHy0kuiyQsl730kmryz8tJToskLJe99JJq8s2qop0RTQ4QC+7lEU2C8Guot0dRCRZOdVmlpKc4991ykp6fjggsu2LfCnGU7LVmyBK+++qqrrn/RRRc1dJ34+nOTYJ9++ilWrFixb7+2LKJV5rdmhc3/9re/IS8vzxU4P+GEE3DaaafBpgPOmDHDbRcbG4ubb77Z9a+srHRCbfPmzU68BdokmgIlVn9/iSYez8NNNB1KMtlUuXP7p2JA1/iAJJNRkmjiXSsWSaKJy1OiicdToonH0iJJNHF5SjRxeUo08XhKNPFYWiSJJi5PiaYWLJpMKJl4sRpMoaGhiI6Odmdr9Zu2bduGYcOGuZ8lJydzr6ogoxUWFuK2227D119/jdNPP91FM3H0+9//HmVlZfjnP//pJNmxxx7r5JJJpEmTJqFVq1b4xS9+gV69eiEjIwMPPPAAjj/+eGzduhX3338/Ro0ahSuuuCLgo5NoChhZvRtINPF4Hk6iqayyGlYY/L1le7B+V7HLZOrZJhrnHGOSKc7zdLnv05Fo4l0rEk1clhZNoonHVKKJx1KiicvSokk0cZlKNPF4SjTxWEo0cVlaNImmFiya7NRMNs2cOdO9yc7KykJRURFat26No446ymU7devWjX9VBRnRRNNvf/tbxMXFYcKECftF27NnD0aOHIk777wTl112GWxlPSt4Pnz4cIwYMQJ//OMfXc2pl156yZ37mDFj8MQTT2Dnzp3uRqExTaKpMdTq3kaiicfzcBFNJpnWZBXjw5V7nGwKDw1xRb/PDkIyGSWJJt61ItHEZSnRxOUp0cTlqYwmLk+JJi5PiSYeT4kmHkuJJi5Liab6eTbrGk0HnpplMZkwMYnTpk0b2FS0w7XVZjStW7cO55xzDiIjI93UOMtOsmlxJprsZ5aJZdPopkyZgg8++AD33Xcf7MvrzTffxN///nf3M8t6sr9bdlOXLl0adcoSTY3CVudGEk08noeDaDpQMoWGhKBbahRGH5uKgd3iG5XJVEtIool3rUg0cVlKNHF5SjRxeUo0cXlKNHF5SjTxeEo08VhKNHFZSjQdAaLJMpjmzp3rMn9ycnLcn7XNptNZ/abzzjuPf2UFEdGmw/373//G4sWLXVaSHbf9N378eGzcuNGl4VmGkjWrQ/Xyyy+71fNsSp3VcRo6dCg2bNjg5JQ9qPbt29fVc7Lpdz/72c+QkHDwMur1Ha5EUxCDeYhNJZp4PP+vRVN5ZTXW7SzBe8uz8U1mEUwydUlp5TKZTuwRj8iw0KBOVqIpKHwHbawaTVyemjrH4ynRxGNpkSSauDwlmrg8JZp4PCWaeCwlmrgsJZpauGiyItj/7//9P7zyyitOrti0M5MmtS08PBw/+tGPDpqexr/MGh/RMrGsiPdPf/pTXHvttWjbtu0hRdNf/vIXt7qeCSp7OLXzzczMRL9+/TBv3jy0b9/e1Wqy6XZ2zoE0Y2ZT+ayguh/NMrpsuuPo0aP92B3y8/OdjLSplH40k51ffPEFzj77bD925675r776CmeeeWaT7y87OxvLli1zWXd+tF27dmHlypU444wz/NgdduzYgTVr1nxXOy00HOWtWmNjZVusyCxGTXUVwktz0BmZOL5zNCLDAlhero6jt99hk8Y2NdaPZrXrtmzZglNOOcWP3cGk6/bt250c96Nt2rQJds0MGTLEj925sbPfv8GDB/uyv/Xr17vPs4EDB/qyP1vZtbi4GAMGDPBlf1aP0F7EHHfccb7sb9WqVe5lT//+/Zt8f5atXPvyq8l3BrgakJYtffTRR/uxO3dfYpnkVrbAj2Yv6uw+qHfv3n7sDosWLUJKSoqrkelHW7hwIdq1a4fu3bv7sTssWLAAnTp1QteuXX3Zn92T2bl17tzZl/3ZS4i0tLSDVqhuqp3bPa69BLZ7cz/aZ599hmOOOcY9Q/jRbEEjm4VhpUqauk2fPh2DBg1yv39+tI8++ggnnXQSkpKS/Nidm7FiNYUDTRJo7MG9//777h7Xyrf40ey51WoI19ZRbup9vvPOO262kNU19qO99dZbbiEuW7zLj2YvrZ5//nn3/X64t2Y9dc4Ejd3kW7aSXcCHuvG2mzr7YvHroaqxA24PDpapZKvL2VQ4k0X2QJGYmOimx02bNs2Jktdff93twrKc7O92I2KrB9gFbjeV7733HuzL5tlnnw3oUOxB6Y477nAc/Wj24DJ//nzfZIWJrS+//NI3WWHjaase1hZ6b2qmls1m43/qqac29a5c5p09nNmXoh/N5LE97J588sl+7A67d+92hfYHnXgStuVVYXVhAqqTeyI0NAzt48NwbEoJInIyUFNVQTkey1w08XPiiSdS4jUUxOrYmWzyS4yYZDJ555cYMdluMtQvMWIizX4n/BIj9lKioKDAFzFi15Jl2Np3kGUG+9Hsd89Ek71A8aPZFHUTTfZA2NTNBLbdk/Tp06epd+XiWzao3YjaPZAfzb4X7EGiZ8+efuzOlRmIj4/3TcTYd6yVM/BLxJi4szIQfokYE3cmRUw2+dFM3Nm5dejQwY/duftlE1sm7/xoJu7sd8/G0I9m99QmeVNTU/3YnXsmse8FPxZbMklo37H2TORHM0loz2N+iR97brN7QL/Ej0lCu6f2q8TMJ5984l6mRkVF+TF8+Pjjj11NY79EjGV+2/OzJbf40f7zn/9INPkBurYIuAkS+6Xx48OOdV4mil577TVXyNvOw24Ir776ardCnt2EXnjhhfjDH/7g/rTsGJsO94Mf/AC//OUvUVFRgTlz5rhV6axmk8WyDCa7KbGLz8y/1XQKpGnqXCC0Gu6rqXMNM/La4/9i6tzb776Hn4y9FR+u2IOlWwtRUwO0T4zE2ekpGNYnMejpct8/d02d83oleOunqXPeOHntpalzXkk13E9T5xpmFEgPTZ0LhFbDfTV1rmFGgfTQ1LlAaNXfV1PneCwtkiUo3HPPPb5lv1kihdUR9isjbdy4cW4mk1+iUKvO1X19NvuMJsv6sQG24th+vTVg/LpbBsrll1/uDK+JJhMT9qbTvpjM+P71r3919Zhs6pW93bXsGPuZva2wN7CPPfaYW4nOfm6S6IorrnBZW5bhZdPD7GeBNImmQGg13FeiqWFGXnv4LppWrsK0V/+NniOuwtJvC5xkapcQiTPTk3FKWiJiIsO8HrqnfhJNnjB57iTR5BmVp44STZ4weeok0eQJk+dOEk2eUXnqKNHkCZPnThJNnlE12FGiqUFEAXWQaAoIV4OdJZpaqGiy0zIJY7WFLP3vuuuuOyhNLiQkxM3RPNwklB23TXMzgWTN5JJlN9WuGmcFzv/0pz+5n1nq31lnneXmC1dVVblpPZ9//jnM2NYysIcr+zcrBn7TTTcFPK9YoqnBz5GAOkg0BYSr3s5+iqaq6hosXvMtJr29EOEd+qP6v5lMo/o1jWSyE5do4l0rFkmiictToonHU6KJx9IiSTRxeUo0cXlKNPF4SjTxWFokiSYuT4mmFiqaaotoP/jgg65e0UUXXXRQ4S/LErLieDfffDP3qmph0SSauAMq0cTj6ZdoMsm0dW8ZPli+G/PX70VIeATaxEfizH4pOLUPP5OplpBEE+9akWjisrRoEk08phJNPJYSTVyWFk2iictUoonHU6KJx1KiicvSokk0tVDRZFPOrPjk448/XucZmmiy4tq//vWv+VdWC4oo0cQdTIkmHk8/RJNJpm05ZfhgxR4s2lSAiupqtI6LwBl9kzHiqGTERXGny32fjkQT71qRaOKylGji8pRo4vJURhOXp0QTl6dEE4+nRBOPpUQTl6VEU/08m3WNJjs1m2JmKwzV12xaml+rTPAvX38iSjRxOUs08Xg2tWiqrqlBVl45PlyxF/Mz8lBeVYWUmDCMTG+N0/okITG6aVeRkGjiXSsSTVyWEk1cnhJNXJ4STVyeEk1cnhJNPJ4STTyWEk1clhJNLVw08S+XIzOiRBN33CWaeDybUjSZZNqZX4Hpq/ZiXkYeSsqrgPIC9IktxC8vPa3JJZNRkmjiXSsSTVyWEk1cnhJNXJ4STVyeEk1cnhJNPJ4STTyWEk1clhJNLVw0WZ2mrKwsV0fC/jyw2dS53r1745JLLuFfWS0ookQTdzAlmng8m0o0fSeZyjF9VY6TTMXlVUiKCUf7mh0I27EMd//ml7yTqCeSRBMXs4qBc3mqRhOPp0QTj6VFkmji8pRo4vKUaOLxlGjisZRo4rKUaGrhoqmiogJ33nknPvnkEyQmJqK4uBj2kG91mXbs2IHt27fjD3/4g6uwr1Y3AYkm7tUh0cTj2RSiqaYG2FVQjo9X7cXc9f+TTMN7J6FNxVYsnDUdd999N+8kJJpwyy23+MJToomLWaKJx1OiicdSoonL0qJJNHGZSjTxeEo08VhKNHFZSjS1YNFk2UwZGRkYOXIkbrzxRpxwwglYs2aNW4HOPuC3bNmCZ599Fvfffz/OOuss/pXVgiJKNHEHU6KJx5Mtmkwy7SmqwKff7MVna3L3ZTKZZPrB0cnI2rQG77//vkQTaQgXLFiAxYsXSzSReNpLlW3btuGaa64hRaw/jEQTD7NEE4+lRBOXpUQTn6dEE4+pRBOPpUQTl6VEUwsWTbbq3MyZM51Imj59OiIjI2Fvs5966im88847sGynJ598Env27MEjjzzCv7JaUESJJu5gSjTxeDJFU61k+mx1Dmaty0VeSSUSosIxvHciRqWnuJXmVqxYIdHEGz5INBFhAi57V6KJx/Ttt99GZWWlL9PrJZp44ybRxGUp0cTnKdHEYyrRxGMp0cRlKdHUwkXTypUrMXbsWHz55Zcw8bR8+XJcffXVWLhwoRNPlpnw4osvwm4m1eomINHEvTokmng8WaKpVjLN+K9kyi+pRFyrMAztlYizj0lBu4RId9ASTbyxs0gSTVyeEk1cnhJNPJ5///vf0bp1a5xzzjm8oPVEUo0mLmZNnePylGji8ZRo4rGUaOKylGhqwaLJTi0nJwcXX3wxHn/8cQwYMMBlL51yyim47rrr0K5dO/znP/9B9+7d8eijj/KvrBYUUaKJO5gSTTyeLNGUU1yJz9fk4NPVOaiVTEN6JuDM9BR0Smq174AlmnhjJ9HEZWnRJJq4TCWaeDwlmngsLdKUKVOQnp6O4cOHcwPXEU2iiYtZoonHU6KJx1KiictSoqmFi6aqqiq8+eabCAkJcanvlgL/3HPP4Z///Ceio6NhP58wYYKr36RWNwGJJu7VIdHE48kQTbnFlZi9PheWzbSnsMJlMh1KMtlRSzTxxk6iictSoonPU6KJx1SiicdSoonL0qI99thjrqarvZT2o0k08ShLNPFYSjRxWUo0tXDRZKdXVFSErKwspKWlubMtKCjARx99hLKyMnTu3Bmnn346/6pqYRElmrgDKtHE4xmsaKqVTFaXKbuwAjGRYRjULR7nHZe6XyZT7RFLNPHGTqKJy1Kiic9ToonHVKKJx1KiictSoonPc/z48bjiiivQp08ffvADIko0cRHbSuz33HMP2rZtyw1cRzRbdfiBBx5ASkqKL/sbN26cSzJJSEjwZX9WwmfSpEmIiYnxZX9jxozB1KlTXYmgw72FWCYQgJAaW8JN7YglINHEHXqJJh7PYESTTZGbvS7XTZczyRQdGYoBXeJxTv9U9GgddciDlGjijZ1EE5elRBOfp0QTj6lEE4+lRBOXpUQTn6dEE4/p7bffjttuuw0dO3bkBa0nkkQTF7NEU908m5VoMhe2efNm/O1vf/N8hZhIM9t+2WWXed7mSOwo0cQddYkmHs9Diaa9RRVYsCEfZZXV9e7IRNPX2wqxu6DC9YuJDEWf9jHo3TYGHZMiMbj7wW87JJp4YyfRxGUp0cTnKdHEYyrRxGMp0cRlKdHE5ynRxGMq0cRjaZGU0cTlGUy0ZiWabFW5JUuW4O677/Z8zmFhYTjxxBNdyp5a3QQkmrhXh0QTj+ehRNPaHcWY8NG3DYqmuo4iLDQEA7rE4dZRXQ7qItHEGzuJJi5LiSY+T4kmHlOJJh5LiSYuS4kmPk+JJh5TiSYeS4kmLstgozUr0WQZTbbK3OrVqz2ft2U0JSUloV+/fp63ORI7SjRxR12iicezLtH02MfforSi/owmiaaDCSxatAjz5s2DpU770RYsWIDFixfD5uj70WbPng27ZuyNlh/t888/R0ZGBq6//no/dqdV58iUJZp4QCWaeCwlmrgsJZr4PCWaeEwlmngsJZq4LION1qxE04Ena+Jp69atbsW5Ll0OzkwIFs6RtL1EE3e0JZp4POuaOvfFxnyUfU80WZG5vUWVWL6tEDa1zlpURCjS2kajT7sYuGp0/22hoSGuEPig7vEHHagymnhjZ5Ekmrg8P/nkE2zbtg3XXHMNN3Ad0T788ENkZ2fjqquu8mV/7733HgoLC3H55Zf7sj+JJh5miSYeS4kmLkuJJj5PiSYeU4kmHkuJJi7LYKM1S9FkgikzMxOvv/66W4rcRFPfvn1x3nnnKXOpkVeERFMjwdWxmUQTj6eXYuDVNTWuDtPMtbmYl5HnRFNsZBiO7xqHHxyd7GoyfbfuQcNNoqlhRoH0kGgKhFbDfSWaGmYUSA+JpkBo1d9XoonHUqKJy1Kiic9ToonHVKKJx1Kiicsy2GjNUjRVVlbisccew1//+lf07NkTJp527tyJ9PR0PPPMM0hOTg6WyxG3vUQTd8glmng8GxJNVdU1yMwrx2erc/DFxjwUlFYhISocJ/aIx4i+yeiWeujV5eo6Qokm3thZJIkmLk+JJi5PiSYeT4kmHkuJJi5LiSY+T4kmHlOJJh5LiSYuy2CjNTvRVCuVTj/9dJfKP2LECCearEbGpEmTcO+99+LCCy8MlssRt71EE3fIJZp4POsTTZVVNdiytxSffJODxVsKUFpRheSYCJyclojT+iSiQ2KrgA9EoilgZPVuINHE5SnRxOUp0cTjKdHEYynRxGUp0cTnKdHEYyrRxGMp0cRlGWy0ZieabOU5Kyx77bXXYs6cOa7QtzXLcnrqqaewfv16TJkyJVguR9z2Ek3cIZdo4vGsSzSVV1YjY1cJpn+zF19vLYRlNrWJj8RpfZJwSloiUuMiGnUQEk2NwlbnRhJNXJ4STVyeEk08nhJNPJYSTVyWEk18nhJNPKYSTTyWEk1clsFGa5aiyVYVmjhxIt599919528CatasWU42vfPOO8FyOeK2l2jiDrlEE4/noUSTrTa3OqsI01fl4JusItTUAB0SIzGyXzKG9EhAQnR4ow9AoqnR6A65oUQTl6dEE5enRBOPp0QTj6VEE5elRBOfp0QTj6lEE4+lRBOXZbDRmqVoMqFkU+QeeeSR/UTTsmXL8MYbb+Dhhx/e9+9WKLx9+/ZIS0sLllWL3l6iiTu8Ek08ngeKpuLyKiz7thCfrs7B+l3FCLNVJ1Na4cz0FAzqFo/oyLCgdi7RFBS+gzaWaOLylGji8pRo4vGUaOKxlGjispRo4vOUaOIxlWjisZRo4rIMNlqzFE0zZ87EpZdeiuOOO26/88/JyYE94H//38PCwjB8+HDcd999wbJq0dtLNHGHV6KJx/P7oim/tBKLNhXgszU52LKnFBFhIejVJtpJpgFd493/B9skmoIluP/2Ek1cnhJNXJ4STTyeEk08lhJNXJYSTXyeEk08phJNPJYSTVyWwUZrdqLJCn9v3rwZTz/9NAoLCxs8fxNNAwYMwA033NBg3yO5g0QTd/Qlmng8a0XTLb+5G3PX52L2ulxk5ZWjVXgo+naIwVnpKUjvGIuw0OAlkx21RBNv7CySRBOXp0QTl6dEE4+nRBOPpUQTl6VEE5+nRBOPqUQTj6VEE5dlsNGanWiyEzbZlJub60k02dS5uLi4fUXDgwXWUreXaOKOrEQTj+c3q1fj+ZffwEkXjsPcjDzsKaxAdGQojusch5H9UnBUuxiEcByTO2iJJt7YSTRxWVo0iSYuU4kmHk+JJh5LiSYuS4kmPk+JJh5TiSYeS4kmLstgozVL0RTsSWv7gwlINHGvCokmDs/qmhosX78NT74xBzHdByG/pBJxrcJwYo8EjOibhB6tozk7+l4UiSYuUmU0cXlKNHF5SjTxeEo08VhKNHFZSjTxeUo08ZhKNPFYSjRxWQYbTaIpWIItZHuJJu5ASjQFz7OqugZb95bhg+W7MX9dNhDeCkkx4RiWlohT+ySjY1Jk8Ds5RASJJi5WiSYuT4kmLk+JJh5PiSYeS4kmLkuJJj5PiSYeU4kmHktXzuxfAAAgAElEQVSJJi7LYKNJNAVLsIVsL9HEHUiJpuB4VlTVYOPuEny8ai+WfluAyuoapMZG4PSjkjC8dxJS4yKC20E9W0s0cdFKNHF5SjRxeUo08XhKNPFYSjRxWUo08XlKNPGYSjTxWEo0cVkGG02iKViCLWR7iSbuQEo0NZ5nWWU11mQVO8m0KrMIVVVVSIkJxXnHt8fQnglIiA5vfHAPW0o0eYAUQBeJpgBgeegq0eQBUgBdJJoCgNVAV4kmHkuJJi5LiSY+T4kmHlOJJh5LiSYuy2CjtRjRZAXCs7KysHXrVpSXl6Nbt27o2rVrsHyOmO0lmrhDLdHUOJ4l5dX4elshPv1mL9buLEZoSAhaVeajU00W7rjmAsREhjYucABbSTQFAMtDV4kmD5AC6CLRFAAsD10lmjxA8thFoskjKI/dpkyZgvT0dAwfPtzjFsF1mzx5MgYOHIihQ4cGF8jj1hMnTsSwYcMwePBgj1sE1+2xxx7DyJEj3UrUfrSHH34Yo0ePRv/+/f3YHf74xz/ioosuQr9+/XzZn0QTD7NEE4+lRBOXZbDRWoRoys/Px0svvYSlS5c62WSiqXPnzujbty8uvvhi9O7dO1hOLX57iSbuEEs0Bc6zsKwKizbl47M1udiUXYKIsBD0aBONrqG7sHXZZ7jvnrsCD9qILSSaGgGtnk0kmrg8JZq4PCWaeDwlmngsLZJEE5enRBOXp0QTj6dEE4+lRBOXZbDRmr1oqqysxDPPPIPnn38exxxzDBITEx2T6upqrF+/Hp06dcKkSZOQnJwcLKsWvb1EE3d4JZoC45lXUom5GXn4/+ydCXgUVfa3f9k3shII+74jIAIqCgrK4o6MMogIooIyM6jIpzPi6IyDigo4KuKGisso/hXFDRVFFBAQZZcdwiY7BLLvneR7zp0JCiTpW90nJQm/+zw+zphTp7rfqu6ueuvccxdtScO+tHyEBQeiTd1I9GmbgKCM3fjko9l46KGHnCX1MZqiyUdw5WxG0aTLk6JJlydFkx5PiiY9lhRNuiwlG0WTLlOKJj2eFE16LCmadFn6m61Ki6bS6XKXX345brvtNvTt2xfR0dHHRdPPP/+MSZMm4e677zblpBzlE6Bo0j07KJrseJaUAMeyC/HdljQs3paGlKxCRIQEomODGujTLgGtkiKwZfMmfPjhhxRNdki9Ri1fvhxLlizB2LFjvcZqBFA0aVD8NQdFky5PiiY9nhRNeiwpmnRZUjTp86Ro0mNK0aTHkqJJl6W/2aq0aJKqpRUrVuDOO+/EwoULER4efgKPwsJCvPrqq1izZg1efvllf1lVyvbS6Hjr1q14++23zVz8G2+80ewnJycHzz33HFJTUxEcHIwLL7wQItTy8/Px6aefYuXKlahRowYefPBBEy+VXfI+pYpryJAhjl8rRZNjZBVuQNHknWdxSQkOZxTim02pWLo9HRm5HkSFBaFrk2hc2iYeTRMjEBAAbNy4kaLJO07rCIoma1RWgd999x2Sk5MxatQoq3h/gyia/CV44vYUTXo8KZr0WFI06bKkaNLnSdGkx5SiSY8lRZMuS3+zVXnRJE/L77//fnz//fensBCJ8/XXX2P69OmQi8nTcWRlZeG+++4zokwaBr733nvIy8vDjBkz8NVXX+GCCy4wcunbb7814knk0pgxY0yzxrVr12LcuHE477zzsHv3bowfPx5Dhw7F1Vdf7fitUjQ5RkbR9PDDPkMrKi7B3tR8zNt4DMt3ZSI7vwixEcHo3jwWvVrHoUF82PHcFE0+Yy5zQ4omXZ4UTbo8P/vsM8jvoi8PTHx5JRRNvlArexuKJj2WFE26LCma9HlSNOkxpWjSY0nRpMvS32xVWjTJ1DlZZe7iiy/GW2+9dcLKHPK3Q4cO4cknn0RERAQmTpzoLyv17aUK6ccff8QTTzxhmpeL7BHRdPToUfTq1cusIHHttdciLS0NN998sxFR/fr1g6xkIVOJ5KJOcgwfPhyPPfYYAgICzN98GRRNvlArfxtWNJXPprCoBDuO5BrJtHpPFgo8xUiICsHFreLQo2UsakeHnrAxRZPuuUnRpMuTokmXJ0WTHs93333XPJzy5eGTL6+CoskXauVvw2bgujzZo0mXJ0WTHk+KJj2WFE26LP3NVqVFk7x5WWFOejDJ9LP+/fujZs2aholUM/30009mJboXXnjBVP2cbkNWy5PeUgMHDsTOnTshPaVmzpxppsDJNDmZjhETE4Pc3FxTlSVT5v71r38ZASVPYWWlPal+ktX1PvnkE/zzn/9E3bp1fXqbFE0+YSt3I4qmstHke4qx5WAOvt5wDBv2Z6OoGKgdHYJL2sbjguaxiIsMPmVDiibdc5OiSZcnRZMuT4omPZ4UTXosJdMrr7yCFi1aoHfv3rqJy8lG0aSLmaJJlydFkx5PiiY9lhRNuiz9zVblRZNULolkevrpp7F582ZTci99jWS1OenZNGDAACNzTu7f5C84f7cXQSZVSSKInnnmGbNqnogm6dU0d+5cjBw50lRkyRCZJP9dZNOsWbNMT6qWLVvi4MGDuOyyy7Bs2TKz4t6uXbsQFRVl/u50lT2KJn+P6Inbn2miSRp6L9qahrzC4gpBFhSV4Jdjedh2KBcyfS4wAKaaSZp/t64TiQtb/HfVyN8Oiibdc5OiSZcnRZMuT4omPZ4UTXosKZp0WUo2uW7v0aMHunXrpp+8jIwUTbqYKZr0eFI06bGkaNJl6W+2Ki+aBIDIpr1795rqJZEz6enpprKnadOmOOecc047ySSvV3oq3XXXXZAvaqlIkh9cb6JJGpsvWrQI8+fPNw2SRZ5JU3B5uvbxxx+ja9euphm4TK+74YYbHJ0bIprki65Pnz6OtvM1WJqdiyC75JJLfE3haDsRkNI4XqYkujGkWk0q0y666CI3dmemV65bt+6E6aOVtWMRuXL+SYP60pFeEoUVha0hFUu+jMCAACSFZqNz0NZTNpeppCKTpS+ZG+PIkSPYsWOHa1WQ8p0lYtKti20R1Pv27UOXLl3cwIn9+/cbKS7fxW4M+S1ISUnB2Wef7cbuzLGTz1/Hjh1d2Z88UJDvM3m44MaQz4JU1cpiFW6M7du3m0rltm3burE785spC4u0bt260ve3ZcsWBAYGmgdFboxNmzYhNDQUzZs3d2N32LBhg2lV0KxZM1f2t379ejM1sEmTJq7sT67R4uLi0KhRI1f2J9cQiYmJprWCG2PVqlWoU6cO6tWr58buzDWZvDfZpxtDHrLIsUtKSnJjd6Y1hnwWatWq5cr+pGdtq1atjs/sqOydyuq17dq1c/xg25fXJX14pX2IfP7cGHKvJdcQMqvEjbFgwQJzDyffZ24M6ft7/vnnIzIy0o3d4ZtvvjFS2a2iD1k0Re6/wsJ+7fdamW9UeirL/WxISEhl7uZ47i+//NIUqMjv++k+qoVoOt0hn/z6ZDU8qVq6/fbbMWzYMMj/lx9cucEdNGgQLr30UvNvubmWyqTSqXPyoyVT62TIf3vjjTdMFdOtt95qpt+JaPv8889NA3QpuXYyRDT99a9/NT2h3BhyoyRfdNdcc40bu4OIH/nhuOqqq1zZn9x4Ll26FFdccYUr+5PjJ1NFpcKtsofcxMsFqQjN0nHME4FF6fW9VjSV99qCAgNQPyIfF0TvPSXk8OHDRqLJ58KNceDAAVMd6db0CJE+Mk1Wes25MaSvnXxv9OzZ043dGaku8ue3YrIydyzTkEVsuSUmRYyIDD333HMr820dzy2/C/J9Jhelbgz5LMiDAbdEoUhsEU1uiUKRFSKa3BCFIipENLklCUVUyIWo3Ay6MeR3QW5c5OGZG0Oum+RGUG6u3RjyGyvtGdwSdyIORMLIQ1M3hogDET+NGzd2Y3dmER+RhA0bNnRlf7Lojkx9lBkPbgypdpXPgq8tLZy+RnkILTKmdu3aTjf1KV7uNeR3QWRoZQ+5Z5Lf2ISEhMrelcn/xRdfmMWY3BJbc+bMMWLELbElrVhEjLgltqQYQu4Z3BJbs2fPNvdfbomtDz74wNzPuiV+3n//fUjxiVv78+dDV6VEk1QCyQ2ZTCGzHdIgWy6yRowYYbtJpcdJ/yh58idf0jJENIkEkRtcWSJbPhzXXXedWY1OVt6RCpLBgwcbCfTnP//ZXISLHZYvin/84x/mJuDKK680FVEy7UB+3J5//nlH74NT5xzh8hp8pk2dS8/1YMWuzBMqmkpKAJlSt2J3Jo5mFRpm4SGBZopc27pRZtpc6TAVTTEh6Nwo+hS2nDrn9XRzFMCpc45weQ3m1DmviBwFcOqcI1wVBnPqnB5LycQeTbo8OXVOl6f0b5V7B7fEMqfO6R0/Tp3TYymZRo8ejUmTJrkm7qTdzdSpU10TaeI0xIVQNOmeN+apo1TtSNPr0lE6bU6eSkoZYGlvIomVp11Sfi+yRk6603WIKCqdOierzuXn55vV56ZNm2aqHGRlOXlCLz8i8mRLbrxlNT2piBIDLiLqlltuMX+T6oibbrrJcaUQRZPu2XGmiaaT6RWXlOBwRiHmb0rFDzvSkZbjQWRoELo0iUafNvFoVisCAb8RTRXRp2jSPTcpmnR5UjTp8qRo0uNJ0aTHkqJJl6Vko2jSZUrRpMfz/vvvNw/23ZomS9Gkd+womnRZ+putylU0yZQkqWoqHVINJFZdSmFFsJSWHYpokqlLixcvxvjx412bZuDLARGRJL2WZOpc6dQukU8vvviiSSfGUqa5yFQCeV8yFUVKqm+88Ubzd2EgJd3S80jKEocOHerY4lI0+XLkyt/mTBZN0uR7b2o+5m1MxfJdGcjOL0JMRDC6N4tBrzZxaBgf7gg2RZMjXF6DKZq8InIUQNHkCJfXYIomr4isAyiarFFZBbKiyQqTdRBFkzUqq0CKJitMVkEUTVaYrIPGjBmDCRMmuDb1kRVN1oem0gOrlGg6mYZUM0mvERFMr7/++inz9KWPhawyIVVO48aNq3SYVXkHFE26R+9MFU2FRSXYeSQXX288hjV7ssxUuoTIEPRsFYeeLWORFOO8cR1Fk+65SdGky5OiSZcnRZMeT4omPZaSiaJJlydFky5PiiY9nhRNeiwlE0WTLk9OndPlWW620qqlsWPHmmlyJw/phSQN1qSBtkxF4yifAEWT7tlxJoqmAk8xNh/MwdcbjmHD/mwUFQO1okNwSZt4XNA8FvFRwT5BpmjyCVu5G1E06fKkaNLlSdGkx5OiSY8lRZMuS8lG0aTLlKJJjydFkx5LiiZdlpKNokmfaZkZpaJJll6WzvmPP/64WXGrdEWC0h5N0pxLVu2YMmWKS6+qau6Gokn3uJ1poim3sBjr9maZ6XJbD+UYmPXiwtC3XTy6NYlBdHiQz4ApmnxGV+aGFE26PCmadHlSNOnxpGjSY0nRpMuSokmfJ0WTHlOKJj2WFE26LCma9HlWmFH6E/3tb3+DLFvauXNnxMbGmngRTVu2bIEs5S29jnr06OHyK6tau6No0j1eZ5Jokh5M0ovp201p2Hk0F0GBAWhSMxz92yfg7EbRiAgJ9AsuRZNf+E7ZmKJJlydFky5PiiY9nhRNeiwpmnRZUjTp86Ro0mNK0aTHkqJJlyVFkz7PCjNKVZPIJJkat27dOkizcBkBAQGoV68eevfubVZgCw931oDY5bfxu++Ookn3EJwpoikj14PFyelYuDUN+1LzERociFa1I9D/rJo4q34UQoIsl5arAD9Fk+65SdGky5OiSZcnRZMeT4omPZYUTbosKZr0eVI06TGlaNJjSdGky5KiSZ+nVUZZpU2EU2Zm5nHRlJiYiMaNG1ttf6YHUTTpngHVXTS98847uOu+B7FgSxoWJ6fhSGYhwkMCjVzq1y4BretEmsomjUHRpEHx1xwUTbo8KZp0eVI06fGkaNJjSdGky5KiSZ8nRZMeU4omPZYUTbosKZr0eTKjCwQomnQhV2fRtG1bMqa99ja6DvgTlu1IR3quB5GhQejaJBp92sajaWIEAnQckzkoFE265yZFky5PiiZdnhRNejwpmvRYUjTpsqRo0udJ0aTHlKJJjyVFky5LiiZ9nszoAgGKJl3I1VU0FRWX4OftB/DMrMUIb9gJ0p8pJiIY3ZvFoHebeDSID9MFSdGkzpOiSRcpRZMuT4omPZ4UTXosKZp0WVI06fOkaNJjStGkx5KiSZclRZM+T2Z0gQBFky7k6iiaCotKsONILuauS8HyHccQEByK+MgQXNwqDj1axiIpJlQX4v+ysaJJFytFky5PiiZdnhRNejwpmvRYUjTpsqRo0udJ0aTHlKJJjyVFky5LiiZ9nszoAgGKJl3I1U00FXiKsflgDr7acAwb92ejqBioHR2CS9rGo3vzWMRHBusC/E02iiZdtBRNujwpmnR5UjTp8aRo0mNJ0aTLkqJJnydFkx5TiiY9lhRNuiwpmvR5WmWU1ef27duH3bt3o6CgAE2aNEHTpk2ttmUQQNGkexZUJ9GUV1iMtXuzMG/jMWw7lIuioiLUjCjBtV0boGuTGESHB+nCOykbRZMuXoomXZ4UTbo8KZr0eFI06bGkaNJlSdGkz5OiSY8pRZMeS4omXZYUTfo8vWZMT0/Hyy+/jNWrV+PQoUMoLCxE3bp10bp1awwdOhRt2rTxmuNMD6Bo0j0Dqotoyi4owvKdGZi/KRW7juaZleQiizKRmLcD4+/4IyJCAnXBlZGNokkXMUWTLk+KJl2eFE16PCma9FhSNOmypGjS50nRpMeUokmPJUWTLkuKJn2eFWb0eDx4+umn8dZbb6Fr166IjY018cXFxdi0aRPi4+Px0ksvISEhweVXVrV2R9Gke7yqg2jKyPVgcXI6Fm5Jw760fIQGB6JVUgSah6Viw+I5ePgfD+pCKycbRZMuZoomXZ4UTbo8KZr0eFI06bGkaNJlSdGkz5OiSY8pRZMeS4omXZYUTfo8y80o0+X279+Pyy67DHfeeSd69+6NqKgoEy9/27BhA5544gnccccdGDx4sIuvrOrtiqJJ95hVZdFUUgIcyy7Ed1tSsSQ5HUcyCxEeEogO9WugX/t4BGTsw/+9OxMPP/ywLjSKJld4UjTpYqZo0uVJ0aTHk6JJjyVFky5LiiZ9nhRNekwpmvRYUjTpsqRo0udZbkapWpKbprFjx0Iu9sPDw0+IlSl0b7zxBn766Se88sorLr6yqrcriibdY1ZVRVNxSQkOZxSafkzLdmQgPdeDyNAgdGsSjUvbxqNpYgS2bduKmTMpmrTOGJnyO3/+fNx7771aKSvMQ9Gki5miSZcnRZMeT4omPZYUTbosKZr0eVI06TGlaNJjSdGky5KiSZ9nhaJp2bJluO+++7BkyZJT4qRp8ddff43p06fjo48+cvGVVb1dUTTpHrOqKJqKikuwNzUfX284hhW7M5GdX4SY8GBc0CIGvVrHo0F8mIG0dStFk+bZQtGkSRNYtGgRZLrl6NGjdROXk42iSRczRZMeT4omPZYUTbosKZr0eVI06TGlaNJjSdGky5KiSZ9nuRlLV5rr0aMHZsyYgUsuueR4rPztwIEDmDhxounTJF/AHOUToGjSPTuqmmgqLCrBjiO5+GrDMfy8Nwv5nmLER4agV+s49GgZi9rRoccBUTTpnisUTbo8KZp0eX755ZdISUnBsGHDdBOXk42iSQ8zRZMeS4omXZYUTfo8KZr0mFI06bGkaNJlSdGkz7PCjAUFBaaiSW7W+vTpg8TERBMv1Uw//vijaQguK9JJo3AOiqYpU6a4chpUJdFU4CnG5oM5mLv+GDYdyIZUNolYkqly5zePRXxk8AnMKJp0TyGKJl2eFE26PCma9HjOmjULwcHBGDhwoF7SCjJRNOlilhYMLVq0MP1A3RiykE379u3Rs2dPN3aHadOmoUuXLujevbsr+5OFfORBcbdu3VzZ3+TJk819QufOnV3Z3+OPP46rrroKHTp0cGV/FE16mCma9FhSNOmypGjS51lhRqlc2rFjh/mBXLt2LdLS0iDVOQ0bNjQr0MkF3dChQ0/p3+Tyyzztd8eKJt1DdDqIptRsj+m1lFtYXOGbKywqxv60Amw/kmskU0AAEBcRjLb1otC2TiR6t4mnaNI9PU7IRtGkC5eiSZcnRZMeT4omPZaS6fXXX0eDBg3Qt29f3cTlZKNo0sVM0aTLk6JJjydFkx5LiiZdlhRN+jy9ZixdfW79+vU4fPgwMjMzUbt2bTRu3Ng8STi5SbjXhGdgAEWT7kE/HUTTrpQ8PDJnl5kG58sIDADa1o3C+CsaUzT5AtByG4omS1CWYRRNlqAswyiaLEFZhFE0WUByEELR5ACWRSgrmiwgOQhhRZMDWF5CH3zwQdx6661o1qyZXtIKMlE06WIeM2YMJkyYgISEBN3E5WSTHp2TJk1CTEyMK/sbOXIkpk6disjISFf2N2LECNN/OjT017YmruzYh50EBEj5AhBQIramCo+srCwcOnSozHcQERGBevXqVeF3V/kvnaJJl/FpIZqO5uGxz3cht8A30RQUGID29aLw18sanQCHU+d0zxWKJl2eFE26PCma9HhSNOmxlEwUTbo8KZp0eVI06fGkaNJjKZlktfYHHnjAFGW4MSiadClTNOnyPJ5NXNiePXsgzUJr1Khh5j5Lo++ffvrJmD2ZNnfyCAwMNHPOx48fX0mvqnqkpWjSPY6ng2jKyivC6j2ZyPf86pA9RcXYcywfy3dlIOd/Aio8JNBULnVsEIX/iWcDQyqaEmuEoGODGhRNuqfHCdkomnThUjTp8qRo0uNJ0aTHkqJJl6Vko2jSZUrRpMeTokmPJUWTLkvJxoqm8plWqYomEU07d+7Ee++9h3Xr1pmGhdJ/afDgwUhPTzcNv0WYLF++HAMGDMDevXvxzTffQObVX3fddfpnVjXKSNGkezBPB9F08jvKKyzGhv3Z+HZzKjYfyDFT6qLDg9C9eSx6toxFk5oRpj+Tt8GKJm+EnP2doskZL2/RFE3eCDn7O0WTM14VRVM06bGkaNJlSdGkz5OiSY8pRZMeS4omXZYUTRXzrFKiSd5Kbm4u9u/fj4kTJ5rVW+644w7ccMMNePHFF9G8eXOsXLnSVDe98cYbZirdU089ZRqC/+EPf9A/s6pRRoom3YN5uommjFwPlm5Px5LkdOw+miezZVErOgSXtI1HtybRZpU520HRZEvKLo6iyY6TbRRFky0puziKJjtONlEUTTaU7GM4dc6elU0kK5psKNnHUDTZs/IWSdHkjZCzv3PqnDNe3qJZ0VQ+oSonmjweD2SJUpFNV155JcLCwvDkk09i7ty5KCoqwsKFCyFf7vPmzYPEfvDBB5g/f76pauIonwBFk+7ZcbqIpuKSEhzKKMC3m9KwYncGjmQWIiQoAM1qReDStvFmWlyNsCBHb56iyREur8EUTV4ROQqgaHKEy2swRZNXRNYBFE3WqKwCKZqsMFkHUTRZo7IKpGiywmQVRNFkhck6iKLJGpVVIEVTNRFNMnVu06ZNuPHGG/H888+b3ksHDx7EtddeiyVLlphu77t27UKvXr2wdOlS0+RMqpvkbzNnzrQ6Wc7UIIom3SN/OoimwqISJB/OxbebjuHnvdnILihCRGggOjeMRq/WcWiZFGmkk9NB0eSUWMXxFE26PCmadHlSNOnxpGjSYymZKJp0eVI06fKkaNLjSdGkx1IyUTTp8qRoqoai6cILL0S3bt0wZMgQ3HbbbWZ6nPRhysvLM9PkpFl4XFwc1q5di+HDh+Mvf/mL7llVzbJRNOke0N9bNMlKc6t+ycSCLWlIPpwDT3EJ4iKCcWGLWFzQIhYN48Ot+jGVRYWiSfdcoWjS5UnRpMuTokmPJ0WTHkuKJl2Wko2iSZcpRZMeT4omPZYUTbosJRtFUzURTfI2cnJy8MUXX5iG3x06dDDVTSKTDh8+jP79+6O4uBjLli0zFU/5+flo3Lgx7rnnHjRo0ED/zKpGGSmadA/m7yWaHnnkUaTleLBoWxqW7UjH3tR8BAYEoF5sKC5tl4DOjWqgZlSIX2+WoskvfKdsTNGky5OiSZcnRZMeT4omPZYUTbosKZr0eVI06TGlaNJjSdGky5KiqWKeVa5Hk7wdmUInjb5DQ0ORkJCArKwsHDlyBE2bNjXvVmTT5s2bUVBQYGTTeeedp39WVbOMFE26B/T3EE2vvPoa/nTvQ/h2UypW/pKJ1GwPQoMD0SopEn3axqN9/ShEhAT6/UYpmvxGeEICiiZdnhRNujwpmvR4UjTpsaRo0mVJ0aTPk6JJjylFkx5LiiZdlhRN1VA0/fYtFRYW4plnnkH9+vVNddNvh8iTv/3tbxg/fjyaNWumf2ZVo4wUTboH03XRtHsPnnxpJlpfciM27c9GbmGxafLdtUk0Lm4Vj2a1whEU6LwfU1lUKJp0zxWKJl2eFE26PCma9HhSNOmxpGjSZUnRpM+TokmPKUWTHkuKJl2WFE3VWDRJZdO+fftw+eWXm6lyF1100QnvNj09Hffee6+ZYnfDDTdAbpA7d+6MqKgo/bOsimekaNI9gG6Kpqz8IizadAgzv92AoLgGkJXmZHpcrzbxOLdJNOrFham+OYomVZygaNLlSdGky5OiSY8nRZMeS4omXZYUTfo8KZr0mFI06bGkaNJlSdFUjUWTTJH76aefMG7cOHz33XcICzvxhtrj8eCTTz7BpEmTzLQ66eN0yy23YNiwYfpnWRXPSNGkewDdEE3FJcDRrEIs2JKKn3Zl4EBaAYIDA9AwIRx928WjU8MaiI0I1n1jgBG2sorjww8/rJ67rIQbN27Ehx9+iIceesiV/a1btw5z5swxlZBuDIomXcoUTbo8KZr0eFI06bGkaNJlSdGkz5OiSY8pRZMeS4omXZYUTdVcNMlN2q233oqlS5eeUqkkokmWv3322WfNtLrU1FTT2+mtt97SP8uqeEaKJt0DWNmiSVaR2/p4KWwAACAASURBVH00D99sTMXaPZnIyCtCeEggzqofhd6t49GmbiTCgv3vx1QWFYom3XOFokmXJ0WTLk+KJj2eFE16LCmadFlSNOnzpGjSY0rRpMeSokmXJUVTNRZNMnUuJSUFV155pfnniiuuQHx8vHnHpQ3Bn3jiCfTr1w9jx441U1SkEuOVV17RP8uqeEaKJt0DWJmiKb+wGOv2ZWP+5mPYejAX+Z5iBHjyUCcgBX++7iI0SghT68dE0aR7XpSVjaJJlzFFky5PiiY9nhRNeiwpmnRZUjTp86Ro0mNK0aTHkqJJlyVFUzUWTfLWioqKIBdvL7/8MgIDAxEZGWnesUgoWYlOmoQ/9dRTaNKkCQ4ePIjdu3fj/PPP1z/LHGaU171hwwY899xzZsvw8HBTmSU9pGTISnqPPvoojh49ipCQEFx66aW47rrrkJeXh3fffddUcMXExJj3JkOaoss0QplmNGrUKIevBqBocoyswg0qSzRl5HmweFs6lm5Pxy9H88xrqBUdijbR2di9ch4effBe3TdSRjZWNOkipmjS5UnRpMuTokmPJ0WTHkvJJBXrDRo0QN++fXUTl5NNHlK2aNECvXv3dmV/L730Etq3b4+ePXu6sr9p06ahS5cu6N69uyv7e/rpp9GjRw9069bNlf1NnjwZffr0OX6dXdk7pWjSI0zRpMdSMknxxQMPPIDatWvrJi4n25gxYzBhwgSzUrwbY/To0aZtjtwnuzFGjhyJqVOnHncQlb3PESNGYPr06QgNDa3sXfmdPyAgwKxEFVAiZqaKjpycHCxYsADLli3Dzp07jYypWbMmmjdvbgTNOeecc9q9s+zsbDz22GOIjY01/6xYscLIntmzZ0Pej/zgL1++HP3790dubi7eeecd0/BcYuUDe80115j3Kz2nLr74Ymzfvh3/7//9P9xzzz0+XQRRNOmeItqiSRp8H8ooMFPlVu7OREpWIUKCAtC8VgQubZeAGvmH8N47bxo5WdmDokmXMEWTLk+KJl2eFE16PCma9FhSNOmylGwUTbpMKZr0eFI06bGkaNJlKdkomspnWi1Ek7w98WQiS6SKqaCgANHR0UhMTDT/Ph2HvMbvv/8e5513nmli/u2332Lo0KHYsmWLeS/yBEue9lx22WWQ1fNuv/12NG7c2EwRlKcycsH69ttvm/cqzc3lSzgpKQl///vffXq7FE0+YSt3I03RVFhUguTDuZi/6Rh+3puNnIIiRIQEonOjaPRuE48WtSOwZ/dOzJgxg6JJ4TCyGbgCxN+k+OGHH7By5UojyN0YFE26lCma9HhSNOmxpGjSZUnRpM+TokmPKUWTHkuKJl2WFE0V86zSokmEjKwkJxUBFY1atWqZcuDTdeTn55vpcK+99ppZ7WrTpk2mYmnHjh2oUaOGqWh69dVXzcpbUgX1z3/+E59++qkpG5dtmzVrZlbdky9iea++DIomX6iVv42WaMotLDYVTAs2p2L7kVxIE/C4iGD0aBmHC1rEokFcGKQoUc4ViiadY0jRpMOxNAtFky7PefPmYe/evaaa1Y1B0aRHmaJJjyVFky5LiiZ9nhRNekwpmvRYUjTpsqRoqsaiSRp+S1+iu+66q8x3KdMCpcpH5mSXF6N/utlllNe+Z88ePPLII5DV8aR31D/+8Q8zX33u3LmmDE9WyJMhUwGlekn6A4hsuvPOOxEXF2f6OA0cOBALFy7E2WefbaoGpIJLvpBl6qCTQdHkhJb3WH9Fk0xkTcv1YOHWNCzbno59afkIDAhAvdhQ9GmXgM6NaiAhKuT4C6Fo8n5MbCMommxJ2cVRNNlxso2iaLIlZRf30Ucfmd/gQYMG2W3gRxRFkx/wytiUPZp0eXLqnC5PiiY9nhRNeiwpmnRZUjRVY9EkFU0HDhwwYubkISJH+jZJtZM0CheBczoNee3S6Fsqk6QxeHJyMqRvk0gk6YFTlmiSqiaZbie9maQnU1BQED777DPccMMNpuJpwIABWL9+Pbp27Yqbb77Z0dulaHKEy2uwP6KpqLjEiCXpx7T6l0yk5ngQGhyI1kmR6NsuHm3rRZmpc78dFE1eD4l1AEWTNSqrQIomK0zWQRRN1qisAimarDBZBf3nP/8xLQsuv/xyq3h/gyia/CV44vYUTbo8KZr0eFI06bGkaNJlSdFUjUVTRW9NRJOs6iY/nFdffTWuuuoq/TNLKaO8VhFNN910k6m8atSokVlhbvPmzaYySabOyeoja9aswZtvvmn2KlLqxRdfNNVOEitPY6Wi6YsvvoBMdZBu9E6GiCZpJu7WaiPyntauXevaCoDSYF0k3LnnnusEi8+xUm0mUyBPWE0ltAYCGnUHgsMqzFss1Uw5haYvk0ydkxEcGICk6GA0ichE0P4Vp2yfmZlpBKUbU0SlZ5iITrea7KelpWHXrl2mas+NIZ8FqTbs1KmTG7szwnn//v3o0KGDK/uTPnYy5VhWM3JjyL5SUlLQrl07N3ZnVheVc6ZNmzau7E+OnXz+Wrdu7cr+9u3bZxaMaNmypSv7k8+CTNGW1bbcGCLppcJIpoS7MaSaWH6DmzZtWum7k8VKZHVc6bfoxpAHEMHBweaawo0h1zHSc7Jhw4Zu7A7btm0zq/zI6sJuDOmhKVXj9erVc2N35hpQqtfr1Knjyv5k1WIRhW6tRCXXZDLrwNeWD06hyEMkOXZOK/6d7qc0Xq5x5bPg1kpbco8gK2zLOePGWLVqlVl0SRYpquwh9zetWrVyre+uLMbUtm1b077EjSGzc8466yzXVi2TggW5xo2IiHDj7UEeOMo9g/w+uDGWLFli7r/cWpVt8eLF5n5Wfm/dGNKLVNqluPX+/HlPVbpHk7c3LhersoqbNNoWUXM6DRFFTz31lJkuVyqapC/TlClT0LFjR1x//fX405/+ZPpwpKammp5Nw4cPx6hRo8xF/+eff45vvvkGDz/8sJlCJ6vTyY+oVEhJ1dNzzz3n6O3KzfXf/vY3I7vcGBkZGeY9DBkyxI3dmRvPr776CoMHD3Zlf8JTzjs5jqXjWH4QPtwVDQT+OuXN0YspKUFiaB4GNsk6ZTORB3Lc//CHPzhK6UuwTOmUH41rr73Wl80dbyM38nKRIcLYjSH9b+QCURrvuzHkRlekpDT+d2PIza7coPXr18+N3RkpKaJQVgB1Y4hwFRnj1hLkcuzk83fRRRe58fbMAxT5TXCrSld+V+Q3xq2HEHKzJL9xslCGG0NulqSq2I0l1uXmRSqR3ZL0P/74o7mwd0vSy++C3Ji5Jc3l4j4+Pt41aS4X9yJF5AbUjSG9N0WiyQ22G2P+/PlGVIg8cGN8/fXXRpi7IXnl/cjsBzl2boleucaVm/kGDRq4gdPMcJCHjW6J0I8//tj8LogsrOwh93KySJJbUvKDDz7AJZdc4pokfO+998x9nFuSUPoCyzVuTExMZR86k1/av0irl6ioKFf299Zbb5kCDLdEmlTXyoJebokf6eksM5nc2p8/B63aiiaZmiY3qM8884y56Zg5c6Y/nNS3FdEi09vkIkleq4gnefJx//33m6cD0hRcJJJMg5O/S78p+f9y0SE3wU888QT++te/mr+LRLnjjjvMBaVUR9x9992ObyI5dU73EJc1dW5vaj4mfLbLrBrny5AeTW3rRmL8Fac+DefUOV+Ilr0Np87psZRMnDqny5NT53R5cuqcHk9OndNjKZnkAalUnsoNthuDU+d0KXPqnB5PTp3TYymZxo4diwceeMC16kVZdXjChAmuibvRo0dj0qRJrok0aXczdepU1yrSRowYYWYuUTTpfi5OySYCRp7OP/roo2X+TWSOlDrLF5T0MTqdhlRbSemiVBbIkJNFnlCXPmmRKXFinGWEhISYpxTyJEaqn0SgyVPf0umAkuvnn382Akrsrfx3p+WeFE26Z0dZokkE0897s1Hg+e90uNIhjb8PZxXg6w2pyC0oMv2YWiZF4LymMWbKXOmQ1eXiI0NwVv1TnwhQNOkdP4omPZYUTbosJRtFky5TiiY9nhRNeiwlE0WTLs/JkyebxYE6d+6sm7icbBRNepgpmvRYSiaKJl2eFE3l86zSFU0iXWSOt5Sr/XZIDwTpzyH/lidBMj1LKoc4yidA0aR7djhpBp6R58HnPx81okkagTdMCMOw8+ugVVIEAn8jmip6hRRNesePokmPJUWTLkuKJn2eFE16TCma9FhSNOmylGwUTbpMZZbFjTfe6MrUToom3WNH0aTLk6KpmoomeVvSmFiaqP12yDQzaZ4o/5YKIafVPbqnX9XIRtGke5xsRVO+pxirdmfinR8PIS3Hg7jIYAzsXAu9WschyFIyySunaNI7fhRNeiwpmnRZUjTp86Ro0mNK0aTHkqJJlyVFkz5PiiY9pvfeey/GjRvnWn8tiia9YyeZKJqqsWiS6XOyKo4Ip982oJT/LisByRQzt5q06p627majaNLlbSOaiotLsPtYPt5aehDbDucgIiQQ5zePwR+7JiE6PMjRC6JocoSrwmCKJj2WFE26LCma9HlSNOkxpWjSY0nRpMuSokmfJ0WTHlOKJj2Wkok9mnR5+pOtSk+dkzdeUFCAO++8E7169TplBTPp0SR/kyZkbqwo48+B+L23pWjSPQI2oulYdiE+WpWCRdvSzM6b14rAiAvroFFCuOMXQ9HkGFm5G1A06bGkaNJlSdGkz5OiSY8pRZMeS4omXZYUTfo8KZr0mFI06bGkaNJl6W+2Ki2apGopOTnZLLP+ySefoEWLFifwEAn1yCOPmFXbymoY7i+86rQ9RZPu0fQmmnILi7E0OR2zVhxGVn4REmuEYHC32ji/WSyk6bfTQdHklFj58RRNeiwpmnRZUjTp86Ro0mNK0aTHkqJJlyVFkz5PiiY9phRNeiwpmnRZ+putSosmaQa+ZMkS/POf/8S33357CouioiLMnTsXb775Jt5//31/WVXr7SmadA9vRaLJU1yC5MO5eGPJAexNzUdUWBB6t4nHgE6JiAgN9OmFUDT5hK3MjSia9FhSNOmypGjS50nRpMeUokmPJUWTLkuKJn2eFE16TCma9FhSNOmy9DdblRZNUqm0adMmXH311ViwYAEaNmx4Ag+paJJKpgMHDuCVV17xl1W13p6iSffwlieaSgCkZBbi3Z8OYfmuDAQHBqBdvSgM614HdWJCfX4RFE0+oztlQ4omPZYUTbosKZr0eVI06TGlaNJjSdGky5KiSZ8nRZMeU4omPZYUTbos/c1WpUWTvHnpwzRs2DBERUWhf//+SExMNEyk2kluGKWa6V//+hduuOEGf1lV6+0pmnQPb3miKTu/CPM3p+LTNSmQFefqxIThpvOT0LFBDZ+mzJW+aoomveNH0aTHkqJJlyVFkz5PiiY9phRNeiwpmnRZUjTp86Ro0mNK0aTHkqJJl6W/2aq8aBKhtHLlSkydOhUbNmxAwG8a3Mj/7tevH+655x7UqlXLX1bVenuKJt3DW5ZoKiwqwYb92Xhz6QEcySw0K8td0aEm+revidBgHxoz/eYlUzTpHT+KJj2WFE26LCma9HlSNOkxpWjSY0nRpMuSokmfJ0WTHlOKJj2WFE26LP3NVuVFkwAQ2bRx40YjmrZv3478/HzUq1fP/NO1a1fUrVvXX07VfnuKJt1DfLJoKikBDmbk462lh7BuXxZCgwPRuWEN3HR+HcRHBfu9c4omvxEeT0DRpMeSokmXJUWTPk+KJj2mFE16LCmadFlSNOnzpGjSY0rRpMeSokmXpb/ZqoVoEgjSr0lu7g8ePIjo6Gg0b94cYWFh/vI5Y7anaNI91CeLpoy8Inz+cwq+3nAMRcVAo4Qw3HxBHbRMilTZMUWTCkaThKJJjyVFky5LiiZ9nhRNekwpmvRYUjTpsqRo0udJ0aTHlKJJjyVFky5Lf7NVedEkgmnnzp147bXXsGbNGlPddMEFF+DBBx/E/v37MWPGDDN1rkaNGv6yqtbbUzTpHt7fiibpxbRydyZm/ngIaTkexEUG4w/n1MLFreIQFOjflLnSV03RpHf8KJr0WFI06bKkaNLnSdGkx5SiSY8lRZMuS4omfZ4UTXpMKZr0WFI06bL0N1uVF02ystzYsWNNn6Zu3bohJycHIk3k4lH+fffdd2P48OGmVxNH+QQomnTPjlLRNHHi49h9LN/0ZUo+nIuIkEB0bx6LQV1rmx5NWoOiSYskK5r0SP430w8//GC+n8eMGaOdusx8ixYtMlOpR48e7cr+vvvuOyQnJ2PUqFGu7G/evHnYu3cvbrnlFlf29+WXXyIlJcUsuuHG+Oyzz5CVlYUhQ4a4sTtzreDxeDBo0KBK39+sWbMQHByMgQMHVvq+ZAfvvvuuecgmK/O6MSiadCm/9NJLaN++PXr27KmbuJxs06ZNQ5cuXdC9e3dX9vf000+jR48e5trdjTF58mT06dMHnTt3dmN3ePzxx3HVVVehQ4cOruzvkUcewXXXXYd27dq5sj+KJj3MFE16LCWTXP9NmjQJMTExuonLyTZy5EjTKzoyUmeWircXPWLECEyfPh2hob6vVu5tH1p/r9KiSaqZtm3bhiuuuMKcUPLjsXbtWrzxxhv4+OOPzcXjzJkzsX79evN3jvIJUDTpnh0imp5/4QX87aFHMHtVCr7flmZ20LxWBG65sC4aJuhO6/QmmoqP7UXOty9av8mgmo0Q0fuOMuO3bt1qPldykeHGEGnw4Ycf4qGHHnJjd5w6p0yZokkXKEWTLk+KJj2eFE16LCUTRZMuT4omXZ4UTXo8KZr0WFI06bL0N1uVFk0yTW7JkiV44IEHMH/+fAQFBUGeZj/77LNGNBUVFWHhwoXmx/r999/3l1W13p6iSffwimh66plpuHrUeHyw4jCy8otQs0YIhpybhPOaxuA3iyOq7NibaPLs24CMl+0rEoIbdkTMqDcomlSOTsVJVq9ebb6/5ELDjbF8+XLzvSmVoG4MiiZdyhRNujwpmvR4UjTpsaRo0mUp2SiadJlSNOnxpGjSY0nRpMvS32xVXjRJX6abb77ZTM+IiIg4QTQVFhbixRdfNBVNUmLGUT4Biibds+OXvfvwjykvI6nnzdiXmo+osCD0bhOPAWcnmulz2oOiSY8oezTpsZRMFE26PCmadHlSNOnxpGjSY0nRpMuSokmfJ0WTHlOKJj2WFE26LP3NVqVFk7z5o0eP4vrrrzdzoAcPHgy54X799dfx/PPPmz4djz76KO6//37zNw6KpilTplT6aVACYPfBVPx9xrcITGqL4MAAtKsXheHd6yAppnLm01I06R1WiiY9lhRNuiwlG0WTLlOKJj2eFE16LCmadFlSNOnzpGjSY0rRpMeSokmXpb/Zqrxokulxc+fOxTPPPGMagefn52P37t3o1KkTpFH4ueeea0RTYmKiv6yq9fasaNI7vNn5RZi34Sg+WL4fAcGhqBMThmHdk9Chfg31KXOlr5qiSe/4UTTpsaRo0mVJ0aTPk6JJjylFkx5LiiZdlhRN+jwpmvSYUjTpsaRo0mXpb7YqL5oEQG5urlnVSP5JS/tv0+WAgAA0b94cF110ERo2bOgvp2q/PUWTziEuLCrB+n3ZZpW5lKxCs7LclR0T0a9dAkKDA3R2UkYWiiY9tBRNeiwpmnRZUjTp86Ro0mNK0aTHkqJJlyVFkz5PiiY9phRNeiwpmnRZ+putSosmWXVOqpd27tyJ3r17myWRRTqViiZZ1lduwDdt2mSW/OQonwBFk/9nR0kJcDAjH28uOYj1+7MRGhyIzo1q4Kbz6yA+Mtj/HVSQgaJJDy9Fkx5LiiZdlhRN+jwpmvSYUjTpsaRo0mVJ0aTPk6JJjylFkx5LiiZdlv5mq9KiSVadkyqmO++8E/3798dtt92GRo0aQQSUVDZJryaZVteyZUvTs4mDoqkyezRl5BVhztoUzNt4DIWeItSKBP7Stzla1I6o9FOPokkPMUWTHkuKJl2WFE36PCma9JhSNOmxpGjSZUnRpM+TokmPKUWTHkuKJl2W/mar0qJJhJI0A3/llVcgF4u1a9fGsGHDEBsbi7feesusdnTxxRdj+PDhuOSSS/xlVa23Z0WTf4c331OMlbsz8c6yQ0jP9QAFWWhQuAOP3TkYQYGVN2Wu9FVTNPl3/H67NUWTHkuKJl2WFE36PCma9JhSNOmxpGjSZUnRpM+TokmPKUWTHkuKJl2W/mar0qJJ3rzIptTUVPz000+YNWsWli1bhsjISISEhOCmm27CpZdeiqZNmyI0tHJW+/L3AJwu21M0+X4kiotLsPtYPt5YcgDbj+QiIiQQjcIzkb3+CzzxyD99T+xgS4omB7C8hFI06bGkaNJlSdGkz5OiSY8pRZMeS4omXZYUTfo8KZr0mFI06bGkaNJl6W+2Ki+aSmVTcnKyWV1u9uzZCAwMRNeuXfHSSy+hc+fO/jI6I7anaPL9MKdme/DBysNYnJxukrSoFYFLGxXi03dfwxNPPOF7YgdbUjQ5gEXRhCVLlmDs2LF60CrItHTpUqxatQpjxoxxZX+LFi3Cxo0bMXr0aFf2991330F+f0aNGuXK/ubNm4e9e/filltucWV/X375JVJSUky1sBvjs88+M/0WhwwZ4sbuTDW0x+PBoEGDKn1/8jAsODgYAwcOrPR9yQ7effddSK/Kq6++2pX9UTTpYpZr2Pbt26Nnz566icvJNm3aNHTp0gXdu3d3ZX9PP/00evTogW7durmyv8mTJ6NPnz6u3Rc8/vjjuOqqq9ChQwdX3t8jjzxi+tG2a9fOlf1RNOlhpmjSYymZ5Ppv0qRJiImJ0U1cTraRI0di6tSpptDFjTFixAhMnz69ShTRVHnRJL2Y5syZY6bKHThwwFxQyRS6Dz74wBzwAQMGmAtI+W8c5ROgaPLt7MgtLMaS5HTMWnEY2flFqFkjBDeel4Q6gWl48cUXKJp8w3rCViINPvzwQzz00EMK2bynYEWTd0ZOIiianNDyHkvR5J2RkwiKJie0Ko6laNJjKZkomnR5UjTp8qRo0uNJ0aTHkqJJl6W/2aq0aCptBi5mT576DB48GBdeeCGioqKwYsUKU920YMECY/jlC5GDokmzGbinuATJh3IxY8kB7E/LR1RYEC5pG48BnRJx+MBevPACRZPGZ46iSYPirzmWL1/uakWT9MqTRRtY0aRzHCmadDiWZqFo0uNJ0aTHkqJJl6Vko2jSZUrRpMeTokmPJUWTLkt/s1V50bR+/XrMnz8f/fr1M6vLlfZikt5Nu3fvxvfff48jR45g3Lhx/rKq1tuzosnZ4S0BkJJZiHd+PGiagAcHBqBdvSjcfEEd1I4OxS+//ELR5AxpudEUTUog/5eGokmXJ6fO6fLk1Dk9npw6p8dSMsnCMy1atEDv3r11E5eTjRVNupgpmnR5UjTp8aRo0mNJ0aTL0t9sVVI0ZWZmmgbgjRo1QnZ2tumvICvNnTxENklviW3btuGCCy7wl1W13p6iydnhlWly32xKxWdrUyArztWJCcPw7nVwVv0oBASAoskZzgqjKZoUYQKgaNLlSdGky5OiSY8nRZMeS4omXZaSjT2adJmyR5MeT+n5++c//9ncZ7oxKJp0KbNHky5Pf7JVOdEk0+XWrFljejBNnDjRvHcRSocOHcLOnTtPaGIosatXrzZT6B577DF/OFX7bSma7A9xYVEJ1u/LxhtLD+BoViGiw4NwZcdE9GuXgNDgAJOIFU32PL1FUjR5I+Ts7xRNznh5i6Zo8kbI2d8pmpzxqiiaokmPJUWTLkuKJn2eFE16TCma9FhKJmmdMGHCBCQkJOgmLicbRZMrmK12UiVFk6wqJE9CPvnkE/MmRSjJzdM777xjur6XjqKiIixcuBDPPfecWVmGo3wCFE12Z0dJCXAwIx9vLDmIDfuzERociM6NamDY+XUQFxl8PAlFkx1PmyiKJhtK9jEUTfasbCIpmmwo2cdQNNmz8hZJ0eSNkLO/c+qcM17eolnR5I2Qs79TNDnjVVE0RZMeS8lE0aTLk6vO6fI8IZtIpbJEkwilZ599Fh9//DFFkw/8KZrsoGXmFeHTNSn4ZtMxFBUDDRPCcGuPumheK+KEBBRNdjxtoiiabCjZx1A02bOyiaRosqFkH0PRZM/KWyRFkzdCzv5O0eSMl7doiiZvhJz9naLJGS+KpgdcW5Gdoknv3JRMFE26PCmaKpFnaWqKJu+QpRfTyl2ZePvHQ8jI9SA2IhiDutZGz5axCAr875S50kHR5J2nbQRFky0puziKJjtOtlEUTbak7OIomuw42URRNNlQso+haLJnZRNJ0WRDyT6GosmelbdIVjR5I+Ts7xRNznh5i6Zo8kbIj79LRZNUL8lcT1k+Xob8t1WrVuH111/H888/fzy7/HdZVlumzXHqXMXQKZoq5lNcXILdx/IxY/EB7EzJRXhIIC5sEWtEU42woFM2pmjy40N+0qYUTXosJRNFky5PiiZdnhRNejwpmvRYSiaKJl2eFE26PCma9HhSNOmxlEwUTbo8KZp0eZ6QTeTRggULMGjQIJx11lnH/5aeno69e/eiffv2J8RnZWWZVQMomiia/v3vf2PKlCk+nZ2p2R7MWnEYS7anm+1lqtxtPeuiflxYmflsRFNx6n7kfPVvq9cTGN8Akf3Hlhu7Y8cOzJgxA48++miZMZ59G5Dx8jCrfUlQcMOOiBn1RpnxW7duxcyZMyFL27oxKJp0KVM06fKkaNLlSdGkx5OiSY8lRZMuS8lG0aTLlKJJjydFkx5LiiZdlpKNokmf6fGMssLc9u3bTTVTSkqK1z0FBQXhsssuw+DBg73GuhkgwkxWyfvrX/9qdhsREYE777wT5513nvn/mZmZuO+++3DkyBGEhobiiiuuwLBhw5Cbm4vXXnsNcnMTFxdn/reMgoICLF68GGvXrsU999zj+K2woql8ZLmFxVi8LQ0frDyC7Pwi1KwRofLMaQAAIABJREFUgqHnJaFbkxgEnDhj7ngSG9FUdHAL0l8YYnWsguu1Rczod8qNpWiywmgVtG7dOsyZMwfjx4+3ivc3SFbGnD9/PmR5WzeG26Jp6dKlpuJUnmi5MaSHn8hJWXXEjUHRpEuZokmPJ0WTHkvJxIomXZ4UTbo8KZr0eFI06bGUTKxo0uVJ0aTL85Rs+fn5RsCIdPE2AgICTLOzmJgYb6Gu/j07OxuPPfYYmjRpYpZ7XL9+PZYsWWIqRSIjI/Hkk09C5MF1110HqcqSahyRaxIrH9jbbrsN3377LQYOHIj+/ftDqkzkvz/++OPo1q2b4/dC0VQ2Mk9xCZIP5+K1xQdwIC0fUWFBuLRtPK7plGimz5U3KJocn4LlbsCKJj2WkomiSZcnRZMuT4omPZ4UTXosKZp0WUo2iiZdphRNejwpmvRYUjTpspRsFE36TKtdxsLCQvOUv0OHDggPD0dycjLOP/98I48aNGiA7t27Y/r06ejduzcyMjJMtVN8fDwGDBhgfpzfe+89I6Xy8vJw0003Ydy4cejUqRPuuusun1idiaIpLceDWSsPmyql8kZxCZCe48GOlFyUlAAhQQGoHx+GxBohCAwIQMP4MAw8p9Ypm1M0+XQalrkRRZMey99DNP3www+mVx4rmnSO47x588w08VtuuUUnoZcsX375pakelopaNwZFkx5liiY9lhRNuiwpmvR5UjTpMaVo0mNJ0aTLkqJJn2e1zyjT6DZv3owePXqY6W8iff7whz9g165dprpJZJJMkRO5JJVOf//7383UnldffRUirOrXr2+klUz1ERnlyzgTRdOB9AI8MHs7CotKfEFmps01TYzAhAFNKZp8Imi3EUWTHSfbKLcrmiiabI+MXRxFkx0n2yjp3+jxeEzfx8oes2bNQnBwsKlEdmNQNOlS5tQ5XZ6saNLlSdGkx5OiSY8lRZMuS4omfZ7VPqNMAZw6daqRRVLFJD1GRo4ciUOHDpn3LqLp7bffNv0BPv74Y1PdJIJJ+lVJNdNXX32Frl274uuvv0ZsbCwmT56MWrVOrbKpCOSZKJoOphfg4U93IquCiqaKmElFU6ukCDx4VROKpkr8lFI06cKlaNLlyalzujxZ0aTHk6JJj6VkomjS5UnRpMuTokmPJ0WTHkuKJl2WFE36PKt1RhFG0ghYejA988wzaNmyJebOnVumaJIKJql4kmbFe/bsgVRCiZi6++67TW+mv/zlL1ixYgWaNWuGO+64wxG3M1E05XuKsfVgDgp+U9Ek0+MOZxZg7vpjOJZdaBiGBQeiY4Ma6NEy9gSmUtEUHR6MlrUjKJocnW3OgimanPHyFk3R5I2Qs79TNDnj5S2aoskbIfu/UzTZs7KJpGiyoWQfQ9Fkz8omkqLJhpJdDEWTHSfbKDYDtyVlF8ceTXaczvgokUzffPONmQ43YcIEXHTRRSgqKoJMNZHSernBlsokqXh68cUXzf8X2SRDGoQ/9dRTZuW5Pn364MYbb8RPP/1kJNWnn356fDU6W8gimqTPk/SMcmNIQ/dt27bhrLPOcmN3pipMVits3759+fsLDAKikpBT+xzsTi9BXmEx4MlHYMpmJObvRP24MOvXKsdMVhVs165dudskFKViQNYXVjmPBiXg0xqXlxubk5OD3bt3o23btmXG1Co6iquy5lrtS4IOByXi8xr9y4yXRvbSI6Z169bW+fwJlBUYDxw4gFatWvmTxnpb6Ykm1YQifd0Y6enpZnGDFi1auLE7pKWlmem5IqTdGKmpqWafTZueOsW0MvZ/9OhRs2qnLLTgxpD+RfKZaNy4sRu7O74QRqNGjVzZ3+HDh82qptI70I1x8OBB8zsoU8LdGPLdItXB9erVq/Td7d+/H7JASd26dSt9X7KDffv2QVberVOnjiv7k98FWSVXFmBxY0gvRFmx12kFt6+vTX5jo6KikJiY6GsKR9tJ+4To6GjUrFnT0Xa+Bss1i1xT+tqCwel+5ZpM3pvs040hvVDlXJHKfzeGXOMmJSW5thiRLAok3y1yzrgxtmzZYn4X5DNR2WPTpk3mN1baibgx5H5Lrlnk+8WNsWHDBjRv3tz07HVjyAJUco0bFmZ/X+PP65ICiTZt2iAkJMSfNNbbygrscr8nU9XdGGvWrDH3z/J768aQ1apnzJhhfm9P9xEgFz0AAkrkSovDNQKllUxSiSS9lS677DKzbzkMcjEq/SKGDx9uluiWm0JZWe5Pf/oTbr31VoikmT17NmTZ8H/961+mWfill14K+aL65JNPzH9/9tlnHb0X2Ye8jttvv93Rdr4Gy8219KuQKYJuDHl/wqa8BroFnmJsPpiLhbsK4IlIAgKDTLVSr5bRaBGdC+SmOnqZIg6kia4cw/JGaPoe1F8wwSpvflxj7L/4wXJj5eZMpKVMpSxrhKXuRL1FE632JUH5Cc2wv+f4MuPl/Fy4cCGGDBlinc+fQKneE/n6xz/+0Z801tvKxb1UBl5//fXW2/gTKKtL/vzzz7j22mv9SWO9rVz8ykXbNddcY72NP4HSf05uKK688kp/0lhvK9+Dcs6Ufqdab+hjoBw7+fz169fPxwzONpMLGpFp8p3vxpBG7iLuevXq5cbuzAMTeTAgD17cGMuWLTNi68ILL6z03cnKsnIhKgt/uDFkGr7cuJx77rlu7A4LFiwwN7ldunRxZX9SDS6i4uyzz3Zlf9KeQKRdx44dXdmfPDgUoVzRAyvNF/L555+bm125IXRjyENReTjm1kMd6ccmi+a49ZDlgw8+MG0t3Hro8f7775uFhBo2bOjG4YNUTF588cWuSHppHyIP1d2S5m+99RYuv/xy1yT266+/bhZ7kpXF3RhStCD3mW5JV5l9I/cMbklQKc64+eabXROT06ZNw6hRo1wTd3KPL8eQosmNT0sV3YfIIbmRlRv20hsiOWHkZmzo0KGQ6RgyFU4uMEQGylODBx980DxJkwv/J554AhMnTjQ/0iJtZLU5ufmQJ+sPP/yw+fJ3Ms7EqXOlfKRyafmuDDNdbs+xfJSgBAlRIbiyY02c2yQGcZHOjThXnXNy9lUcy6lzeiwlE6fO6fLk1Dldnpw6p8eTU+f0WEomTp3T5cmpc7o8OXVOjyenzumxlEycOqfLk1PndHlWy2xS0SSSSaY8lQ550imlmiKXpGpJmnzLkNI/EUryN+nLJNUyUiLbs2dP83d5GitVCvLfpAxSngQ7Lfc8U0VTVl4RvtuSioVb03AoowABCEC9uFAMODvR9GWKCvOtDJKiSe9jS9Gkx5KiSZelZKNo0mVK0aTHk6JJjyVFky5LyUbRpMuUokmPJ0WTHkuKJl2Wko2iSZ8pM1YygTNNNMlE0dQcD75cdxTLdmYgNbsQwUEBaF4rwkim1nUiTRNwXwdFk6/kTt2OokmPJUWTLkuKJn2eFE16TCma9FhSNOmypGjS50nRpMeUokmPJUWTLkuKJn2ezOgCgTNJNBXLynIZBfh4zRGs2ZMFqWoKDQ5Eh/pRZrpcs1oRCA40vct8HhRNPqM7ZUOKJj2Wv4dokp5xq1atMqXTbgzpSyPnjPS3c2OwokmXMkWTHk+KJj2WFE26LCma9HlSNOkxpWjSY0nRpMuSokmfJzO6QOBMEU1PTpqMnSl5+Gj1EWw5mGNWlosICcQFLWLRt10C6sWFwU/HZI4WRZPeSUvRpMeSokmXpWSjaNJlStGkx5OiSY8lRZMuS4omfZ4UTXpMKZr0WFI06bKkaNLnyYwuEDgTRNOTk5/CLeP+hc/WpmD74Vx4ikvMynJ92sWjZ8s41I7WW3aToknvpKVo0mP5e4gmWTFQFjBgRZPOcZw3bx5kGfnyVtDU2cuvWWT1zJSUFAwbNkw7dZn5KJr0MFM06bGkaNJlSdGkz5OiSY8pRZMeS4omXZYUTfo8mdEFAtVeNB1Kwd+ffgv1zrsWe47loQRAfGQIru6UiG5Non1aWa6iw0LRpHfSUjTpsaRo0mUp2VjRpMuUokmPJ0WTHkuKJl2WFE36PCma9JhSNOmxpGjSZUnRpM+TGV0gUJ1Fk/Rg+nr9Ecz+IRkBEQkICPjvynLXdk5Eh/q+ryxH0fSwC2cmTL+dDz/8EA899JAr+1u3bh3mzJmD8ePHu7K/1atXY/78+bj33ntd2d/y5cuxZMkSjB071pX9saJJFzMrmnR5fvTRR/B4PBg0aJBu4jKyzZo1y6wiO3DgwErfl+yAokkX8yuvvIIWLVqgd+/euonLyfbSSy+hffv2x1cYruydTps2DV26dEH37t0re1cmP1ed08VM0aTHk6JJjyVFky5LiiZ9nszoAoHqKJpKV5b7Yt1R/Lgj3awyJ02+m9eOwLX/W1lOmoBXxmBFkx5ViiY9lpKJokmXJyuadHmyokmPJ0WTHkvJRNGky5OiSZcnRZMeT4omPZYUTbosKZr0eTKjCwSqm2gyK8tlFuCjVUewVlaWy/91ZbmrOiWiaWL4KSvLFacfRPZnE61oB8bWRdTV5Ve8UDRZYbQKomiywmQdRNFkjcoqkKLJCpN1EEWTNSqvgRRNXhE5CqBocoTLazBFk1dEjgIomhzhqjCYokmPJUWTLkuKJn2ezOgCgeokmoqKS7ArJQ+zf7OyHIoKkFh0EPcN6Y265awsV3RkB9Kfu96KdlDt5ogdM6vcWIomK4xWQRRNVpisgyiarFFZBVI0WWGyDqJoskblNZCiySsiRwEUTY5weQ2maPKKyFEARZMjXBRNDzyA2rVr60GrIJMsBjNhwgQkJCS4sr/Ro0dj0qRJiImJcWV/I0eOxNSpUxEZGenK/kaMGIHp06cjNDTUlf35s5MA6VcDIKCkRCYacZypBKqLaCosKsGG/Vn4dM1R7Djy68pynRILkbz4I0x59MFyDzFF069oght2RMyoN8pktXXrVsycORMPP8weTRrfF+zRpEHx1xyLFi0yfb3kQsONQdGkS5miSY8nRZMeS8lE0aTLk6JJlydFkx5PVjTpsZRMFE26PCmadHkymwsEqoNoyissxvJdGfhy3THsTf11ZblrOiWiflgmXntxKqZMmULRZHE+UTSxGbjFaWIVwmbgVpisg9gM3BqVVSCbgVthsgr6z3/+g8TERFx++eVW8f4Gvf7662jQoAH69u3rbyqr7SmarDBZB1E0WaOyCqRossJkFUTRZIXJOoiiyRqVVSBFkxUmBp1OBKq6aJIeTN9uSsXCrWk4nFFwfGW5gZ1r4awGUUhPOYR///vfFE2WJx1FE0WT5aniNYyiySsiRwEUTY5weQ2maPKKyDqAoskalVUgV52zwmQdNHnyZPTp0wedO3e23safwMcffxxXXXUVOnTo4E8a620pmqxReQ2kaPKKyFEARZMjXF6DKZq8ImLA6UagqoommfCZluPBnP+tLCf/u3RluYGdE9EqKRKystz+/fspml4eZn3aUTRRNFmfLF4Cly5dilWrVpnSaTcGp87pUv7yyy+RkpKCYcPsvz/8eQWcOucPvRO35dQ5PZaSiRVNujxZ0aTLk6JJjydFkx5LyUTRpMuTokmXJ7O5QKAqiqbSleVmrzqCn3+zslzH+lGQleWa/GZlOYqmDcigaLL6JK1btw5z5lA0WcGyCKJosoDkIIQVTQ5gWYSyoskCkmUIK5osQVmGsaLJEpRlGCuaLEFZhkmfzhtvvBGtWrWy3ML3sAcffBC33normjVr5nsSB1tSNDmAZRFK0WQByUEIRZMDWAw9PQhUNdEkK8vtlJXlVh3BloM5yPcUIzwkED1axKJf+wTUiQ1DoOlz/99B0UTRZPtJo2iyJWUXx6lzdpxsoyiabEnZxVE02XGyiaJosqFkH0PRZM/KJpKiyYaSfQxFkz0rb5H33nsvxo0bh3r16nkLVfn72LFj8QBXnVNhKUm46lz5KLnqnNppVrUTVSXRVLqy3CdrUrDzSB48xSWIDg9Cv3YJ6NkqDok1Qk45GBRNFE22n1CKJltSdnEUTXacbKMommxJ2cVRNNlxsomiaLKhZB9D0WTPyiaSosmGkn0MRZM9K2+RFE3eCDn7u6w6PGnSJMTExDjb0MdoiiaKJh9PnTNns9NBNGXkevCfZYeQleepELxMmUvL9eBAWj7kf8sICQpA/fgwtK8XhSHnJlE0nUTAs4+iyfbTTNFkS8oujqLJjpNtFEWTLSm7OIomO042URRNNpTsYyia7FnZRFI02VCyj6FosmflLZKiyRshZ3+naHLGqzKjWdFUmXSrUO7TQTQdzizA3z7YDqlY8mXITLmGCeGY+IdT53CzoomiyfacomiyJWUXR9Fkx8k2iqLJlpRdHEWTHSebKIomG0r2MRRN9qxsIimabCjZx1A02bPyFknR5I2Qs79TNDnjVZnRFE2VSbcK5T4dRFNKViEe+ngHMvOKfCIXGBCA5rXD8c+rm56yPUUTRZPtSUXRZEvKLo6iyY6TbRRFky0puziKJjtONlEUTTaU7GMomuxZ2URSNNlQso+haLJn5S2SoskbIWd/p2hyxqsyoymaKpNuFcp9OogmqWTafiQXnpMqmvIKi7E4OR0rdmUYoqFBATirQQ30bh2HkKDA45QDAoDI0CA0TQynaDqJAKfO2X8YKZrsWdlEUjTZULKPoWiyZ2UTSdFkQ8kuhqLJjpNtFEWTLSm7OIomO062URRNtqS8x1E0eWfkJIKiyQmtyo2laKpcvlUm++kgmsqClV9YjKXbM/DxmiM4mlVoJFOnhtG4rkst1Is7cWW5imCzookVTbYfRoomW1J2cRRNdpxsoyiabEnZxVE02XGyiaJosqFkH0PRZM/KJpKiyYaSfQxFkz0rb5EUTd4IOfs7RZMzXpUZTdFUmXSrUO7TUTSVSqZP1x7BkcxCBAcFoG2dKNx0fhLqxYdBejLZDoomiibbc0VE0+eff47777/fdhO/4lavXo358+dDLjTcGMuXL8eSJUsgy9u6MSiadClTNOnypGjS40nRpMdSMlE06fKkaNLlSdGkx5OiSY+lZKJo0uXpTzaKJn/oVaNtTzfRVJZkap0UiRvOTUKTxHBHkkkOE0UTRZPtx5WiyZaUXRxFkx0n2yiKJltSdnEUTXacbKIommwo2cdQNNmzsomkaLKhZB9D0WTPylskRZM3Qs7+TtHkjFdlRlM0VSbdKpT7dBJN0qtp9S+ZeG/5YRzKKEBwYABa1xHJVBuNa0Yg0Ekp0/+OAUUTRZPtx5GiyZaUXdzSpUuxatUqjBkzxm4DP6MWLVqEjRs3midabozvvvsOycnJGDVqlBu7A0WTLmaKJj2eFE16LCUTRZMuT4omXZ4UTXo8KZr0WEomiiZdnv5ko2jyh1412vZ0EU0imdbsycQHK45gf1o+ggID0KpOJIb4IZnkMFE0UTTZflwpmmxJ2cVRNNlxso2iaLIlZRdH0WTHySaKosmGkn0MRZM9K5tIiiYbSvYxFE32rLxFUjR5I+Ts7xRNznhVZjRFU2XSrUK5TwfRdLJkCgwMQKOEcAzrnoQWtSN9qmQqPQQUTRRNth9HNgO3JWUXx6lzdpxsoyiabEnZxVE02XGyiaJosqFkH0PRZM/KJpKiyYaSfQxFkz0rb5EUTd4IOfs7RZMzXpUZTdFUmXSrUO7fWzSJZNqwPxvv/njIVDKVSqYbz0tCq6QIU9nkz6BoomiyPX8ommxJ2cVRNNlxso2iaLIlZRdH0WTHySaKosmGkn0MRZM9K5tIiiYbSvYxFE32rLxFUjR5I+Ts7xRNznhVZjRFU2XSrUK5f0/R5CkuwdaDOXjnx0P45WieumSSw0DRRNFk+3GkaLIlZRdH0WTHyTaKosmWlF0cRZMdJ5soiiYbSvYxFE32rGwiKZpsKNnHUDTZs/IWSdHkjZCzv1M0OeNVmdEUTZVJtwrl/r1E05R/P20k07s/HcLuo3kAAlAvLhQjLqyL5uFZyPvoQSuKgTFJiLrukXJjKZoomqxOJAAUTbak7OIomuw42UZRNNmSsoujaLLjZBNF0WRDyT6GosmelU0kRZMNJfsYiiZ7Vt4iKZq8EXL2d4omZ7wqM5qiqTLpVqHcv4domvDoY/jz/RN/I5mA2jGhGHpeEjo2qAGk7UX6MwOsKAbVbIzYuz+iaHr00TIZePZRNFmdSBRNtpis4yiarFFZBVI0WWGyDqJoskblNZCiySsiRwEUTY5weQ2maPKKyFEARZMjXBUGUzTpsZRMFE26PP3JRtHkD71qtK3roulICu771xQ07nsHdqXkGpIimW48NwlnNYhCaFAgio7toWj63zkWXK8tYka/U+4Zt2PHDsyYMQOPUjT5/alkRZPfCE9IQNGky5OiSZcnRZMeT4omPZaSiaJJlydFky5PiiY9nhRNeiwpmnRZ+puNoslfgtVkezdFU1FxCZIPZmDCzB8QFN8YQMkpkkmwUjT9enJRNH2Ihx56yJVPG0WTLmaKJl2eFE26PCma9HhSNOmxpGjSZSnZKJp0mVI06fGkaNJjSdGky9LfbBRN/hKsJtu7JZpEMv1yLA/vLDuEzfszERAYhIQaIWa63NmNaphKptJB0UTRJAQ2btyIDz90VzR9/vnnuP/++135dK9evRrz58+HXGi4MZYvX44lS5Zg7NixbuwOFE26mCmadHlSNOnxpGjSY0nRpMuSokmfJ0WTHlOKJj2WFE26LP3NRtHkL8Fqsr0boqm4pAR7juXjPz8cxLbDuSguLkF8VAj+2K02ujWJRljwr5JJsFI0UTRRNOl/wVA06TL97rvvkJycjFGjRukmLicbRZMuZoomPZ4UTXosKZp0WVI06fOkaNJjStGkx5KiSZelv9komvwlWE22r2zRVFICHMoowNvLDmLdvmwUFRcjOhQY2r0BujaJRnjIiZKJounEE4tT59ytaJozZw7Gjx/vyqebFU26mBctWmSq4KQZpBuDokmX8meffYasrCwMGTJEN3E52Sia9DBTNOmxpGjSZUnRpM+TokmPKUWTHkuKJl2W/majaPKXoB/bFxcXY+vWrfjLX/6Cnj17Qr60S0dGRoZ5Qn7w4EGEhYXhuuuuwx133IGcnBw8++yzmDt3LhISEiAXyTIKCgrwzTffYMWKFfjHP/7h+FVVpmgykimzwEyXW78vC56iEgQW5SLu6Go8ed+tZUomiiaKplICv8fUOYomx18h5W7AqXN6LCUTK5p0eVI06fGkaNJjSdGky5KiSZ8nRZMeU4omPZYUTbos/c1G0eQvQR+3z8/Px7vvvgt5eluzZk2kp6fjvffeM9nkaa7IorS0NIwYMQIine677z6zAkmtWrUwZswY0z9G+sj06tULAwYMwKZNm4yYkpXH2rRp4/hVVZZoOlkyFRaVIDo8GD0alGD5Z6/hmacmlftaOXXuVzSsaGJFk+MPdTkbcOqcFsn/5mFFky5PVjTp8ZRrjBo1auDqq6/WS1pBJoomXcxcdU6XJ5uB6/KkaNLjSdGkx5KiSZelv9komvwl6OP2Us20d+9e84/cqPz888/HRVNKSgq6detmRNT555+PzMxMI5oCAgIwaNAgPPfcc5g5cyb+7//+z1Q4DR061FQ7XX755UZM+TIqQzSVADiWVYg3fziIdXuzUCqZru2ciFYx+Xj2qSfxzDPPUDRZHDCKJoomi9PEKoSiyQqTdRBFkzUqq0CKJitMVkEUTVaYrINeeeUVtGjRAr1797bexp9AiiZ/6J26LUWTLk+KJj2eFE16LCmadFn6m42iyV+Cfm4voujpp58+Lpo8Hg8WL16MP/7xj9izZ4+ZNpeXl2cqlUQuTZkyxVQzffHFF5g+fTqKioqQmJiI7du3GxkVHR3t0yvSFk0imdKyPfi/5YewfFcGCjxSyRSEazvXQo8WschOP4qJEydSNL1g14eEosld0cRV53z6GilzI06d02MpmTh1Tpcnp87p8WRFkx5LyUTRpMuTokmXJ0WTHk+KJj2WFE26LP3NRtHkL0E/tz9ZNBUWFpr+SyNHjsShQ4dMdhFNb7/9NuRpmjztvfPOO3HgwAFERkaa6XKffvopunfvbkRUXFyciUtKSnL0yjRFU6lkem/FIazYlYm8wmJEhgbhmk410btNPKLCgnD48GGKpoNbkE7R5PU8ZY8mr4gcBbCiyREur8GsaPKKyFEAK5oc4aowmBVNeiwlEyuadHnKQ9YePXqYCn43BkWTLmWKJj2eFE16LCmadFn6m42iyV+Cfm7vRDS9+uqrWLJkCXbs2GFEjfR5ki/6xx9/HOPGjTP//v77741suvvuux29MhFNY8eORfPmzR1tV2ZwWDQ8jXriQGG0kUzw5CPwwCrULthtqppkiFCTiq1mzZqVu7/YkmwML/7G6vWkoQb+E3RpubHSLH3fvn1o2rRpuTEJJZkYWvyt1f6OIgYzg8ovn5djIzKwSZMm5eZLLEnHkOIFVvs7HBCH9wIvLjdWZKSIycaNG5cZk1SSij8WL7LalwQdDEjArMCeZcbn5ubiyJEjaNSokXU+fwLlM3L06FE0bNjQnzTW22ZnZyM1NRUNGjSw3safQOnJJj3a6tev708a621lKq78U69ePett/AmUfcl7rFu3rj9prLcVlnLOuLk/+UzUqVPH+jX6Eyi9++T7xenDBF/3KZ8F+b6uXbu2rykcbSe/RVKpK/0I3Rjy3VJSUmIqgyt7yLR4mQIvfRndGPI9HRQUZBYOcWPIdUlISAji4+Pd2J35zZOqb7nmcWPI4iwRERGIjY11Y3fmGiIqKgoxMTGu7U96evlaGe/0Rco1mbw3N/cnx07eoxtDWmPIZ0GOoRtDrqnlu0UeQrsxfvnlF/M9LZ+Jyh67d+82v3nh4eGVvSuTf9euXeYaQr5f3Bg7d+4014ChoaFu7M7cR8o1tXxfuzFk1o3cnwQHB7uxOyQnJ5v7Pfn9c2Ns27bN3M+6uT+Z6eTW+eIPQ4omf+gpbHuyaJIL7GXcwcpcAAAgAElEQVTLluHaa6/FunXrzM2LxLzwwgtmetyLL75o9io3b4888ohp/C1Pg4YPH262+/rrrzF79my8/vrrjl6dXNw/8MADuOeeexxtd3JwZl4RPv05DTtyIoGgUESEBqJvmzh0quUBCrKPh8vNi5TZ33XXXeXuLyjzEBI+HWv1eopi6uLY1f8uN1Yu8KXZuqzwV94ITt+H+Dn3Wu3PE9cQqVeW38hcLoBlSkZFS6wHp+5G/Bf32+0voSlSL59Ybuz+/ftNc3ipcCtrhBzdjri5D1rtS4IKE1sirf+EMuPlYkam79x6663W+fwJlB/8hQsX4uabb/YnjfW28jmT6V433XST9Tb+BMrKkytXrnRtOXdZOEC+W2R6rhtj/fr12LJli1k5042xdu1ayEWbfIe6MVatWmUktlsNl6UiTQTCFVdc4cbbM78rIu/69+/vyv7kYYqIuz59+riyv0WLFhmx5UbfHal+kwvRiy66yJX3JivRyk3ghRde6Mr+vvrqKyNhpLekG0NaCMiNrlsVMVJtJzeD55xzjhtvDx9//LG5WerUqZMr+/vwww/RunVrnHXWWa7s7/3330eHDh3Qtm1bV/YnFX5dunRBq1atXNmfzESQ2QYqD3AtXvGbb76Jiy++uMIHnBZprEPkRrdv376uPASUasIrr7zStQdkMm114MCBrj3Qef755zF48GBXHnjIAZ46dSqGDRvm2kMBqV687bbbXJPm0mbmT3/6k2uS98knnzQFHm6JUGk9I58Jiibrr6szN/Bk0SRPVkVSyE2gfMmJ+JEnrnJhKr2Z5ItBqlfkB1NuqEQ2ibSRv2/evNnIDbkR+fe/y5cuZdHWmDonkumj1UeweFs6cgqKEBESiMvOqom+7eIRE3GixebUOaCIU+esPvicOmeFyTqIU+esUVkFcuqcFSbrIE6ds0blNZBT57wichTAqXOOcHkN5tQ5r4gcBcj9gDzQadeunaPtfA3m1DlfyZ26HafO6bGUTPKQf9KkSa6JLWl3I/LOrWpCWfhL+jRTNOmeN9UqmzyxlR/ZOXPmmKfhIpzkyc7111+P22+/HT/++KOx2zL1SkoNzz33XCOapMxYnjDLNDmpcpJSxIyMDMiXlFQOyJNZOdnPO+88R7z8FU1ZeUWYvfoIliSnIzu/CGHBgbioVRwGdk48RTLJC6NoomiyPUF/D9HEZuC2R8d7HJuBe2fkJILNwJ3Q8h7LZuDeGdlGsBm4LSm7ODYDt+NkG8UeTbak7OIomuw42URRNNlQso+haLJnVdmRnDpX2YTLyS9CSKZ3iHApHYGBgWZOsMgj6YkhlQcypNRe/ptMo5OKJ+nRIXO/RUzJkFwiq+S/yXzbjh07Op5X7I9okuql2auO4Pttv0qmHi1jMeDsRCRElT3/l6KJosn2o0fRZEvKLo4VTXacbKNY0WRLyi6OFU12nGyiWNFkQ8k+hhVN9qxsIlnRZEPJPoYVTfasvEXKg/0///nPrvUipWjydkSc/Z2iyRmvyoymaKpMulUod1miSabCvfr9fmTkFVX4ToqKS3Aoo8BUMskIDAhAfFQwEmuEoEF8GG658NQmwBRNFE22H4/fQzRJpeH48eNtX6JfcatXr8b8+fNNVaIbg6JJlzJFky5PiiY9nhRNeiwlE0WTLk+KJl2eFE16PCma9FhKpjFjxmDChAmuLUxB0aR7/PzJRtHkD71qtG1ZoulYdiHGvZcMT3GJT+80AECd2FBMHtTilO0pmiiabE8qiiZbUnZxFE12nGyjKJpsSdnFUTTZcbKJomiyoWQfQ9Fkz8omkqLJhpJ9DEWTPStvkRRN3gg5+ztFkzNe3qLZo8kbIf79tCNQlmhKzfHg/7N3H+D3XEX9+DchdAgdJIIoICKIiojCj2ILVVCKqJQgJSAKht4CwYSWkFADhIgCCoIivSgooDQBQUBpKlgQ6UV6T8j/ea3/gXW9937uPWfuDflkzvN8n/Dlu3dnz+yZmfe8Z87ZB73w3/bsaFo2mQMPGIYfuPA5h2N++QeKaFqgpDoMfD0zKKJpPT2te1URTetqar3rimhaT0/rXlVE07qa2vu6Ipr21tEmVxTRtIm29r62iKa9dbTJFUU0baKt1dcW0ZSnS3cqoilXn0U05eqz7rYDDSwimnQy/dd/f31pR9PXv/mt4U3/9vnhHf/5xeHK33ee4Wd/6ALDgdil/3/4X+c464Hj9rn5qI6m6mhad1kX0bSupta7roim9fS07lVFNK2rqfWuK6JpPT2tc1URTetoaf1rimhaX1frXFlE0zpaWv+aIprW19VeVxbRtJeGNvv3Ipo209deVxfRtJeG6t+/6zTQchj4t047bdD19IWvnjocfM6zjAd/f4dmWj3FIpqKaFrXCE4Poqm+Orfu29n7uje96U3DO97xjrGitYvx+te/frBm7NHfxSiiKVfLRTTl6bOIpjxdulMRTbn6LKIpV59FNOXps4imPF26UxFNufosoilXn3W3HWighWjqeawimopoWnf9nB5EUx0Gvu7b2fu6N7/5zcPb3/72Ipr2VtVaV7zqVa8avzB6+9vffq3rey96xSteMXz6058eDjvssN5brfX7IprWUtNaFxXRtJaa1r6oiKa1VbXWhUU0raWmtS8qomltVe15YRFNe6poowuKaNpIXXteXETTniqqC77bNFBE0zCc+ql/Hz7/xF9Z69Wc5aKXGc53t+ctvfZDH/rQcNJJJw3HHXfc0mvqjKa1VD12p7zgBS8YjjrqqPV+0HnVu9/97qGIpk4lTn5eRFOeLt2piKZcfb7oRS8aTjnllOEWt7hF7o0X3O15z3vecNBBBw03velNty6LgCKactVcRFOuPotoytVnEU15+iyiKU+X7lREU64+i2jK1WfdbQcaKKKpiKbpMjvokj86HHynP1y48t7//vcPz3nOc4ajjz56BytzKKIpWct1RlOuQmvrXK4+q6MpT59FNOXp0p2KaMrVZxFNufosoilPn0U05emyiKZcXbpbEU35Oq07blkDRTQV0VRE0/9ooDqacp1NdTTl6rM6mnL1WR1Nefp81rOeNVz4whcebnCDG+TddMWdnvGMZwyXuMQlhutc5zo7kVdEU66ai2jK1WcRTXn6LKIpT5dFNOXqsoimfH3WHXeggXWIpm996TPDl559j7We5sDzXmQ4z60eu/TaOqOpzmhaayENp09HUx0Gvu7b2fu6Ipr21tEmVxTRtIm29r62iKa9dbTuFUU0raup9a47+eSThyte8YrDta51rfV+0HnVk570pOEqV7nKcPWrX73zTuv9vIim9fS07lVFNK2rqb2vK6Jpbx1tckVtndtEW3tfWx1Ne+uorvgu08BaRNPnPz587jE3XOvJDzz/IcP57/XyIprqjKa11suqi06PM5qKaOp+bd++QX11Lk+X7lREU64+i2jK02cRTXm6dKcimnL1ecIJJwyHHnrocOUrXzn3xkvuduyxxw43utGNhitd6Uo7kVdEU56ai2jK06U7FdGUq88imnL1WXfbgQaKaKqtc9NlVmc0vXx44AMfuAPLG4Z3vvOdw2te85rhPve5z07k1RlNuWquM5py9VlnNOXps85oytOlO9XWuVx9VkdTrj6LaMrTZxFNebosoilXl+5WRFO+TuuOW9ZAEU1FNBXR9D8aqDOacp1NbZ3L1Wd1NOXqszqa8vRZHU15unSn6mjK1Wd1NOXq0wdhbnWrWw2Xu9zlcm+84G4PfvCDhzvc4Q7DpS996a3LIqCIplw1V0dTrj6LaMrVZ91tBxoooqmIpiKaimjahqspoilXq0U05eqziKY8fRbRlKfLIppydeluRTTl6rSIpjx96mi/173uNRxyyCF5N11xp3vc4x7DkUceOVz0ohfdibwimnLVXERTrj7rbjvQQBFNRTQV0fQdoqnOaMpzOkU05enSnYpoytVnEU15+iyiKU+XRTTl6rKIpnx9FtGUp9MimvJ06U53uctdhuOPP344+OCDc2+85G6HH374cOKJJw7nOte5diKviKadqLmEZGqgiKYimopoKqIp06fEveow8FytFtGUq88imvL0WURTni6LaMrVZRFN+fosoilPp0U05emyiKZcXfbe7YADDjjAPQ447bTTTuu9Wf3+jKuBIpqKaCqi6TtE08tfXoeBZ3mz6mjK0uT/3KeIplx9FtGUp88imvJ0WURTri6LaMrXZxFNeTotoilPl0U05eqy925FNPVqcJ/8voimIpqKaCqiaRvurIimXK0W0ZSrzyKa8vRZRFOeLotoytVlEU35+iyiKU+nRTTl6bKIplxd9t6tiKZeDe6T3xfRVERTEU1FNG3DnRXRlKvVIppy9VlEU54+i2jK02URTbm6LKIpX59FNOXptIimPF0W0ZSry967FdHUq8F98vsimopoKqKpiKZtuLMimnK1WkRTrj6LaMrTZxFNebosoilXl0U05euziKY8nRbRlKfLIppyddl7tyKaejW4T35fRFMRTUU0fYdoqq/O5Tm2IprydOlORTTl6rOIpjx9FtGUp8simnJ1WURTvj6LaMrTaRFNebosoilXl713K6KpV4P75PdFNBXRVERTEU3bcGf11blcrRbRlKvPIpry9FlEU54ui2jK1WURTfn6LKIpT6dFNOXpsoimXF323q2Ipl4N7pPfF9FURFMRTd8hmuqrc3mOrTqa8nTpTkU05eqziKY8fRbRlKfLIppydVlEU74+i2jK02kRTXm6LKIpV5e9dyuiqVeD++T3RTQV0VREUxFN23BnRTTlarWIplx9FtGUp88imvJ0WURTri6LaMrXZxFNeTotoilPl0U05eqy925FNPVqcJ/8voimIpqKaCqiaRvurIimXK0W0ZSrzyKa8vRZRFOeLotoytVlEU35+iyiKU+nRTTl6bKIplxd9t6tiKZeDe6T3xfRVERTEU3fIZrqMPA8x1ZEU54u3amIplx9FtGUp88imvJ0WURTri6LaMrXZxFNeTotoilPl0U05eqy925FNPVqcJ/8voimIpqKaCqiaRvurA4Dz9VqEU25+iyiKU+fRTTl6bKIplxdFtGUr88imvJ0WkRTni6LaMrVZe/dimjq1eA++X0RTUU0FdH0HaKpDgPPc2zV0ZSnS3cqoilXn0U05emziKY8XRbRlKvLIpry9VlEU55Oi2jK02URTbm67L1bEU29Gtwnvy+iqYimIpqKaNqGOyuiKVerRTTl6rOIpjx9FtGUp8simnJ1WURTvj6LaMrTaRFNebosoilXl713K6KpV4P75PdFNBXRVERTEU3bcGdFNOVqtYimXH0W0ZSnzyKa8nRZRFOuLotoytdnEU15Oi2iKU+XRTTl6rL3bkU09Wpwn/y+iKYimopoKqJpG+6siKZcrRbRlKvPIpry9FlEU54ui2jK1WURTfn6LKIpT6dFNOXpsoimXF323q2Ipl4N7pPfF9FURFMRTd8hmuqrc3mOrYimPF26UxFNufosoilPn0U05emyiKZcXRbRlK/PIprydFpEU54ui2jK1WXv3Ypo6tXgPvl9EU1FNBXRVETTNtxZfXUuV6tFNOXqs4imPH0W0ZSnyyKacnVZRFO+PotoytNpEU15uiyiKVeXvXcroqlXg/vk90U0FdFURNN3iKb66lyeY6uOpjxdulMRTbn6LKIpT59FNOXpsoimXF0W0ZSvzyKa8nRaRFOeLotoytVl792KaOrV4JZ+/8UvfnG4+93vPrz1rW8dznrWsw6HHnrocMIJJwxf/epXh6c97WnDySefPFzgAhcYnvvc5w6HHHLI8M1vfnPQOfDUpz51ePazn73xUxXRVERTEU1FNG3sONb4QRFNayhpg0uKaNpAWWtcWkTTGkpa85IimtZU1JqXwXlXvOIVh2td61pr/qLvsic96UnDVa5yleHqV796343W/PXjHve44ZrXvOZw1atedc1f9F0GQ8PSV77ylftutOavjz322OFGN7rRcKUrXWnNX/Rd9rCHPWy4+c1vPlzhClfou9Gavy6iaU1FrXFZEU1rKGmDS+5yl7sMxx9//HDwwQdv8Kv2Sw8//PDhxBNPHM51rnO132SDX97udrcb8/2zne1sG/zq9Lm0iKbTR+8rpX75y18eHvWoRw3ve9/7hmOOOWb4/Oc/PxxxxBHDve997zFIXvva1x7JpNe85jXDaaedNtzvfvcbPvWpTw3Xve51B0DhGte4xsazKqKpiKbpojnokj86HHynP1y4jt7//vcPz3nOcwYgYxeDHbzgBS8YjjrqqF2IG9797ncP1dGUp+oimvJ06U5FNOXqs4imPH0W0ZSnS3cqoilXn0U05eqziKY8fRbRlKdLdyqiKVefPXcroqlHe1v6LdLnxje+8fCgBz1ouOENbzh2MWFKX/3qVw+PecxjBkzmW97ylpFoet3rXjcceeSRwwMe8ICxaoJV1QG16SiiqYimIpr+RwOIpjoMfFMPsvz6IprydFlEU64u3a2IpjydFtGUp8simnJ16W5FNOXqtIimPH0W0ZSnyyKacnXZe7cimno1mPz7b33rW2Oie/3rX3944xvfOFzmMpcZvvGNb4yJr64mBNPVrna14QMf+MDwwhe+cHjb2942dji94Q1vGLufznve8zY9URFNRTQV0VREU5Pz2ONHdRh4rlaroylXn0U05emziKY8XRbRlKvLIpry9VlEU55Oi2jK02URTbm67L1bEU29Gkz+/amnnjq84x3vGG5wgxsMb3/724dLXepS4/lLr3jFK4Y73/nOI8Gkg0l300EHHTQ8/vGPH4477rjhjne842B/9vnPf/6x3XrTPeFFNBXRVERTEU3J7my8XRFNuVotoilXn0U05emziKY8XRbRlKvLIpry9VlEU55Oi2jK02URTbm67L1bEU29Gkz+/V5E00c/+tHhM5/5zPDpT396+MIXvjA84hGPGAmoJz/5yePh4f4dUeWspk3G1772teG1r33tcPnLX375z751ynDqZ/5rrdsecJaDhgMveMml15qnOVzsYhdbfr9Tvzmc+t8fXlPeWYcDL3iJpdeecsopAzLtohe9aI68g842HHiB7116L+TgZz/72dXyTvnGcOpnP7Le/A46+3DgBQ5ZKe9zn/vccJGLXGThNaed8vXhW5/96FqyXHTAWc8+HHj+xfJ02Fl7F77whde+X8+FX//61weH4+9S3pe+9KXhQhe6UM9jr/1btudctl3K+8pXvjJc8IIXXPsZey609dccfbxgF8PcrJldymMTSP5dDGuFPzvf+c63C3EDW+CvdylPZ++uDvHkW5x1uAt5/OYBBxzQ3Hm86Qsn78ADDxzOc57zbPrTpuudJ3mWs5xlp/IU3M597nM3Pe+mPxJjHb66qwNfYYizn/3sO5V3jnOcYzjnOc+5qWqarofJ6JLMXQzY2VrZpTy25x3uYsDUdjXsUh6/uYsDiZ1DK8a2HA3SovtPfvKTI4bYpTyYjD/bxfjEJz4xYmr+ehfj4x//+Jif7FKefE/828X42Mc+Nuazu5L33ve+d9z5tCt99uiwiKYe7W3ptx/5yEfGjiSVa18AkTT5utzzn//84aUvfekoFfjXzXTxi198uN71rjd+JcQhze9617vGw8Gd3bTJALQlg2eERbvJvOra0kBpoDRQGigNlAZKA6WB0kBpoDRQGigNnNE1oPi3q4JAr66KaOrV4BZ+rwrpxHzs/UknnTR2xtzkJjcZP5N63/vedySeXvaylw0veclLhqc85SnjYeG+OPfiF794JJt88vB5z3veFp6sblkaKA2UBkoDpYHSQGmgNFAaKA2UBkoDpYHSQGlguQaKaPouXB22DSCMbnazm40t/Vo3HfjtDCZtqu95z3uGww47bHjlK185HHLIIYOtIk984hNHgklb8PHHHz+21NUoDZQGSgOlgdJAaaA0UBooDZQGSgOlgdJAaaA0sEsNFNG0S21vIEtb3Ac/+MHxIHB7Pu0VjvN3bHH78Ic/PFz2spcd74iMcjaCPbC2vl3ykpfc2R70DaZUl5YGSgOlgdJAaaA0UBooDZQGSgOlgdJAaaA0sM81UETTPn/BNb3SQGmgNFAaKA2UBkoDpYHSQGmgNFAaKA2UBkoDu9JAEU270nTJKQ2UBkoDpYHSQGmgNFAaKA2UBkoDpYHSQGmgNLDPNVBE0z5/wTW90kBpoDRQGigNlAZKA6WB0kBpoDRQGigNlAZKA7vSQBFNu9J0ySkNlAZKA6WB0kBpoDRQGigNlAZKA6WB0kBpoDSwzzVQRNM+f8E1vdJAaaA0UBooDZQGSgOlgdJAaaA0UBooDZQGSgO70kARTbvSdMkpDZQGSgOlgdJAaaA0UBooDZQGSgOlgdJAaaA0sM81UETTPn/BNb3SQGmgNFAaKA2UBkoDpYHSQGmgNFAaKA2UBkoDu9JAEU270vQ+kXPqqacO//qv/zq86EUvGt71rncNb3vb28aZHXjggcMFL3jB4Sd+4ieG6173usPP/dzPDQcffPA+mfX2pvGVr3xleMtb3jK88pWvHN797nePujXOdrazDT/wAz8wXPnKVx71ea1rXSvlIb785S8Pb37zm4e//Mu/HOX927/927flXfrSl/72+7vGNa6RIu+///u/h7/4i78YXve61w3/9E//NHziE58Y73vuc597uNKVrjRc9apXHa53vesNP/RDP5Qibz/f5Jvf/Obw7//+7+O7e/3rXz984AMfGKwf40IXutBwtatdbfxz6KGHDhe+8IW7VUGe9WFtkud/hzz3J+v//b//N/z8z//8KL93fOMb3xjXf8yPvK9+9avjbS960YsOP/3TPz1Ylz/7sz+bIq/3ebf1+/e9730Du7nmNa+5LRFnmvt+4QtfGN7//vcP5z3veXfiYz760Y8O/nzv937vcPGLX3zrev7IRz4yfOxjHxsucYlLDN/zPd+zdXn7XYCYCONc9rKXHc5znvNsfbr/+I//OMogT0zc9vjrv/7r4fu+7/tGeftxiB2Xv/zlh0td6lL7cXo7ndMnP/nJ4b3vfe/wYz/2YyO23/aAD+HTH/7hH96JLYiz8MwVrnCF4VznOte2p7fv7/+a17xmzFnY3lnOcpatz/dVr3rV6Mf4s13Ie+Yznzn82q/92nD2s59963PbbwKKaNpvb3SL85F4/t3f/d3wm7/5m8OnP/3p0akgRGIccMABY6D4+Mc/Piagf/AHf9BNNp1yyiljQv3iF794JLb+/u//fhSH2JLcBrEl+cwgtr72ta+NxM8rXvGKkYgh2zjrWc86zvfHf/zHR+LnZ37mZ7o1LQl6znOeMzz0oQ8d7yXgSbYNujzttNMGwd5c73CHOwz3uc99umR+7nOfG/74j/94eOQjHzneX0Cfy0MEmevhhx8+3OMe9+iS96EPfWh4xCMeMbz0pS8dQfslL3nJwfuM9+d/u+b7v//7h9/93d8dfuEXfqFLnh9bl4gtxAjgQn8G+Yitn/qpnxrf3+Uud7luWW7g/tZKyPvUpz413ldiG/IQab3Anu294Q1vGPX0H//xHyORdP7zn3/41re+NcoTaIGmD3/4w+P8HvzgBw+XucxlmudI3t/8zd+Ma/M///M/R3nnO9/5/pc8ti6pvv71rz8ceeSRA6KydViHgMrDH/7wcU3M5R100EHDF7/4xdG3/OIv/uJw//vff7THnuH53/GOdwx/9Vd/Nf4XIRG2jihApNHlVa5ylZ0C0Wc84xkDEHzCCSf0TG+t39Ipco8fv+IVr7jWb3ouIo9PPec5zzn6n20PRMzzn//84WIXu9jw67/+69sWN8ZHf6wdvmbb401vetMYExGw1um2B//CBvlyOt32kOjyDT/4gz+4E+Ln937v98bYeJOb3GQkt7c9nvzkJw/nOMc5hl/6pV8aLnKRi2xb3Ijd+LSb3/zmW5dFwKtf/eoxDvX66pe85CUDv/gv//IvI4kL7930pjcd4zi8EuM2t7nN4I+YtO0h1vPTcNsu3h2sQd6P/MiPdBWSvvSlLw2///u/P/zpn/7pWND40R/90XH93fjGN/5fhBLbc91d7nKXkbxrHR/84AeHxz3uccNrX/va0bb4qVvc4hZj8XRKrj73uc8dC5GS+R7fAh895jGPGTEZXESee/KRU0LpT/7kTwbv8Ja3vOVO3h99Kpx5f2x+2wN+46fha/ipdSCnn/jEJw7//M//PPrEq1/96sNv/MZvjD55et/f+q3fGm52s5uNudE0L9xULp9x4oknjnhM8YS8293udiOGnhJKd7rTncaYfu1rX/t/+YBN5T3lKU8ZnvWsZ425g3UOr//Kr/zKOFfrNYb5aqyAu3cx+LvDDjus693t4jnXkVFE0zpaqmtGDXzmM58Z7na3u43GLvgAD0iQ6fj6178+Jm2PfexjR7DWQ44AmID0b//2b4+yJbIBKsIBCJqCE2dz8sknd5FN7iX4SOYl8ALClIgxT7IQQLe//e2HBzzgAc0rQ9X07W9/+6hPzvmGN7zh/wl25Hz+858fiQzJ0qMe9ajmzibyEGj3vve9R3mA2BwckYeMevnLXz7+OfbYY8fg3DLoUtfbSSedNNz1rncdn3sefOhY4vKHf/iHI3miYtAD7t0DsfXnf/7nI9Gjyj8ltpAnSAwB6yEPecjYddczJOjk6fhBcgLAU3nWzn/913+NwQvx00NOAmuSIP9FOrrnHDwgSQVCgA0A9/5ah84p8iTqgjx586oR0CSpft7znjeSFA972MNaxY3kw1Of+tTRvoAYHW5zeYg03XgveMELxk4/77B1sCsk76Mf/eixg+GQQw75tj75FmsTCLdmbnvb2w73ute9dkY2AT5Ibraz7YE0eOELXzgSP3zatgdi0vsD1oCobQ/29+xnP3vsLrKutj3+9m//dvBHN5piy7aHZIpf51t0/G17ILvf+c53jv6cDW57PIjvGAIAACAASURBVP3pTx9gCqTCLjq2nvCEJ4yYRiK8C3kSYkmnxKYnuV73Pdz61rceifpb3epW6/6k6zo+xbtDZLQOJJNY9tnPfnYsLvLN/IhOhnve854jcSbeG7/8y7883PGOd+ySB7vAJOIDckdsQ8KYwxSfKGRZn3SqANk6yHva0542Yk/JrgJVyJt2JiOZXEensGnreOADHzgWHOE/BTiYT6yDoRVwzBe2UNhFMCg4thYhxHP4T9yGjxA9MB+s4j35t9CpZF93prjQ2g0qnslN4CD4T1wTA/iQO9/5zmMuETr1jr1f+KYHd8JKxx9//PDGN75x1JsufQQI/09+DDqnZ0RoT4cYAulJT3rS2G3muRU1YJQ5Jvyd3/mdMa+Ac1uJLbEFoaMo553o5nnPe94z6lBRkC+JDh/PYN4Kxq1dP9YJfAs7hzxdn3wjHyBviTwCQejd6aifks2b2AWMBcPzKwqp1gmM/ZM/+ZPj/HTzBQ51Dcx/gQtcYBMR/+daNhVrQbHNnMQbOp0SW/wbcm8/dNsV0dS1ZM5cP+awVZJ0AGiPXMSSIyskhNoajzrqqDFhah2ClCDHiajEYeanxBZZHIOKLuNFoLR24Ug2BVZOFTC60Y1u9H+CD3m6kLRnS150HLSSB3SEQAIugBUBf07a0VuAKkEYIEA2tQyBAnmkM0xCr5K0TB4gwBH6DSfcMgBBz8xJAxPTgDu9H70LJLrfAEbkZMvQKYGMA8SACQTZImIL0aRSANDQe2slElHxZ3/2Z6OeABvy5sHOuxO0yAMwEDet8gAnwEglWhK7qGIU9uA9S+YFytauJgEf0CZv0dy8I/IARokAcu+YY45p7mqSMHtm8lSwFgGHkOc9q7Ihmlor5bZy6iagH0EekJn7Fvb2spe9bCS7ARp+oXWwc/5wncHHSDx3QTSxU5VtYMY63vZAXFpXwJquyZYhmfDu6HSvgfglS1xoJZoUBFRYEUh7Dfaggi5hayWa2Dp5bHCvgexFMJG3C6JJkuP5JC8Sqm0PNiDp0JHQmnwqYOjM4PP3Gvw6DHDEEUc0E038vThkne41+BjxUcxqJZoU88T1dQZMJQ7timjiW707/qx1wH5iKYIFBhQHkDwwnwIFv2U+ErUMokkXL2yADFdAsibEb3Hpvve970gqiU8SfevTc0lMW4e48Ed/9EdjsoswI09hVZy/3/3uN3YcwdqwNL+nc0QC3DJ0J0vQxTJYC+7kIxXL4ELyzRGulVT3Ek0wLoLAGo+4bm5iuDjAhyC+JNz+3ks0wSE69hWG3Nt7Ig9Wc38+mTyFOPi0l2hi4wgz5DtiAKEDY/JZ3hO7DmKCT/Asrm89auCtb33rmAtZI4hw8qxDxJV1K28JrI2w8Z6vc53rNBNNiuls7eijjx79EyIEsSb30VCAzDJP6yiDaLL2dDLBrnREniMU5D3/8A//MBLL7B1eySCa7IhBxrFh95SP0DFdsgsEoryE/WUQTexJTkWXiC3xW46g+9m6RTIHDqVT/noXW6pbfMkmvymiaRNtncmv5UBVMnWOLCIpQj2AAOfAwbm2dbgHxtxWKE58GbGFEBEojzvuuG9vrdtUJoNHIEnmAdNlxI+5CS6uEaRUJFuGZxaEtYnqxFo1VLyQBxIdjqplIGLoUdVlr3tIdCXYCDwtzy0DWSWw6xRRwVk1rCvEHRApeLSMIMcEXoF4GbEleAiQgJ0W2dZKK8BmfoCZhHlZxYg8gUtSTB4g0DJUlsgzt72qi94x8gC4a92e5B6IH1XAve6hJV73GsDR2mIvgbXGJXl73QOJzXYAjtYtkEAme2C/gv6iPf6Sm0jMVJpVEVsHYI3skLw4Q2tVhRFoRYC1Ek38kqRBwrvXsD4BHoC4lWiio2g/X0ce4K2Ts5VokvR5b5IuXTWrCBa+jL+WgLYSTaqKSFTkpuRPC/2yoRgDsAKurUQTYI9E1T0k3q4ii/lOsUry0ko08S06efipvYY4iXiWALcSTfyYmId03Gt4f3QpwWglmnTsSRzYs+r/qm4CJJokm99r7WiS1EqUYCTvZFUFXEconOT9tRJNti2zP2QHUmJVdV9cf9CDHtRFNCHhJPTrDL4BpuohmhQfEFbuERhQIi/mI83MCdEkdnhvPR1N7Nd6swZ+9Vd/dfSNfCScRpYCj7XonUkQe4km9quDR1eDeSK2yINF+XA4Rhe6rg0Jfi/RpBsFSYAgkGQHjlf4lMjbiSDR5+9gNwXAno4muA4ZSKcwfHQLw7S2ysPs/JeEXqHXVraejiZxHUFmLehoMtg9/OsdIr3EYPEDvkX89HQ0ORYCQcAGxSK2ByvAX/wc/83e+HB20Es06Yz3Dv1Xh1gQPzGfILesowyiyXuDW8XPwNTWpxiMvLdGFfgRUdZUb0eTdx/bOAMjhTwxg0zENXnecW9HE5/LB2uciG4izQvWkA59OZeud3MUD3o7mnQisnN61fVlbYq/5uN/sz/4EB4tommdCFPX7DsNqDYI+FhnjmfZQKJI5AWZdarAy+7DqG9wgxuM+/L3IraAc85AUtAyBFrBHYASXFeNTUiiZfeJM3eACEB4VWcGMAK4CtQCTMsgT6KkegYII3WWDYAGALBVsXV7oIDq/QvmwFG0ts9lCiI6RjhzgQqAaxl0hMyho73IKuQnICD4A5Mtwz3o0Xvb6x7Wse1lSJHWszHivAT3QAosGwBVkChAALDYMoA+VV0kE3Jr2ZAIAlCIIqC7NRlErriPREmisGyo5LFP4EDXR2syiITRRaXKuMq3CP6uIW8vv7BKz5Jqa5w9sMFV5/fQuzXTSjTpkkCKkQfYrDpUHODn19ldK9FkS8vjH//4kazw/lYRLHHOFr/eSjR5J3xGVAYB+WWdgvSOMAUkW4kmvpNvMUcVYn5q2QAaEdk6f1uJJvLYsPXNl62yP3qQINqu0Eo08S3iimeXGK06a01yLVFjo61Ekw5IxA9Ar8thVXVfNxk9WputvkXiJ3GWoCEJbBFaNiQzEirJTKtvkSwjCuEW3Uar1gE7pc/oqmzx1d4fMkDi6b+rYnt0bPd0NMF/Ej7rjX9ZRWzptIJdeogmhSr+SZydFpD4AfHHO9NZrPMAxrG2WgtIcKTimu4M721KxIiJbNI60hXDThQcezqavDskAYJMTJjK0+nN53gmMQO2Ebd6OpqQPkhiPnPehRVHCyBNbNPjU3S8Okpir+LWsnUL24qdnnm+LnV/sm824r2yb/iGLlptXUEHYY4MDaIpno088ZcPQMSwb1v0+ZbWrXNx7MPUPwWxZecHEkqnnffIV4uVPR1N7Fc3qfwrOl2CiIEbkKHWvndGr70dTYqV1iX7nXfWsD24lm9ln7G2/O/WrXNiHbxC3rxYTJ5jIZAyupDketYqYqZ165wcQJGUH5viQO9QDsNOFCTpUoxERPdsnfNb/gMuD2LLuoT36FEXs7Wi21BcqI6mlohYvzlDa0A1U4Iu6AGkDJzBAPnxRSwgC2HD6TDO1uSFoqLa4z72rK9Krjl8DgPQaBmcNSMXEFUpVoFtwZezA+w49NahIhesuc4th0oiLlTEEV9AiCSQPlXwBJLWczF0YgVhJfBz1OQJ/uQhz4ALiZkA6XqJdWuLNkct4dLCrAoJtJgbIKE9VUWEcxUsbGMS8AHG1q1l1h1iS3u5hHfZF4O8Zx04AL6EsfUAcl0jkkHrXEK/TB67ULkDzHVxtJ4LZT0AUZJrlUjB2EGP7E+g0rUhCfRuAVOVJWC49Wsc1gNbV/0kTxcDoAsAkmddkic5VQF1ToUEpFUewsP7E2RtPQLyyQMG+Z2Qx0Z1OkoEAMZWeRIg+rQGViXoZCFKrWFV19YRZ6TpPGB3ANKy0XtGE9sDqK0VVUGJ17JuCeuG3wSAWn01edYdeToA+MRlwN17lHx4nlaiid74Q/bHthBIqq6LRtYZTUCn9n2kBfJ9WSdd1hlN5EhS2CG7WvYxgYwzmvgoCax1Tpcq4cuGLis+VjLRSjTRpbUiyUSMrPKJSF6AHOHWmnyKZcg46xLJZJ0v89cZZzSxB8Q5sgn5YZ0v2/6QcUaTmCbh4z8lhkjcZSPjjCbvn9+UpN397ncf/fSyoeMAUdRDNHknCGrPvqggJwFV2BRjkXt00Uo0KbJJLuHAOSFJz/wJ7Afb6HqylhULW7fOwUDiNJyEdJ0OdkkevI3kYidwh+tbcZl76hqBNyWz8wJgbPdnn3Angl7BqpVook/2JkkX0+e7EjyPLkK2yR+I67YBt9q6eM3e+E4EyRwfxAeN2CYbjbNWW4kmxIdY6/3NnxlOQnqxEWR6EFsKha1b59zL1k32NH93cXyEeK/QQfcwkm651jOaFFN1mvNTi7A5XKoIAwPr8ueD5BatRJN7KfbbdbGI0BEPdYrBpfIn+je/VqKJvxTLEVyLdMS+dcGZF9LH33uIJphdfiXfWURswRa69eFDeS95tXWuFXXX786QGojDoiVpiB3MrMDBmfs3ThwoFJw4UxWonk8Eh1PhOBFbSIEgtiQaHKnAa9ucpFelpid5kXRhlRERtjgJrggnRIxk13xdQ55nU82ShLcOySfyhy45WOQLhxlfnFPxxeqbuyqI4NHqUD0jeXFmkACySJ65AliSDUCqRx6dARH0xHmaT5wt5FmsF6y9dQKMSsBXdZes0jOAJKhbA55Zq3kQWwAihw2EINMkS/ZCI5umh21u8h49P9ID6BOgvBvAW0JInkSRPGSh5BNBiERplce+zAH4k2CbK9vzx7/FIeSeQbKo4tXazUQP7hmkMXnA1CJ5gjRwCNi3gsOQF7ZMHiDvPYZvMT92IUCbH/ts7TgIEtv7B2q8O1tq6AtRomsKiJEEaLdng9ZV75eMAEGknDmtOjzWuvEMPb6Ff0Sk6R7RvbCsAzXrjCbyEJOqf5HILLKnjDOa4r5BPlp3y7o4EJh8HrDWep5XrE/rgQ2y8WV2DIxax4i01uQl5CGx+ehV8sQjdsoWWkl68txDnOXXJM7LtutlnNHEt0icyUMqIy2WdbxmnNFkfmKNxFICxGct21qNqPB8yJOeQ1jJkzi7B3nLEj2FFn6NvGXPtE5cEm/EGnhFMrNsIITZyypyaC95fHFsDYptZMt+k3FGk+5hMYHPX+YT2bkt1chgpMUqsm3V/MxNRw3SJ7bOTa+HM5A/ig627IkZ4kgr0UQesgNeia1zc3kwomSXb/VuFSJaiSb3lujyZWKCYul8mGN0qcY2ur22sy/TKX+CqOKfzFF8nQ+2EvhdXETytfpO+lSw1M0kX1jkV8izpvg5ZBR5rbiMHr0/W56szUXElmIc8jLOgEUmtBJNYrp1Z8fBIryF+IHtET/yI7kFbNZKNLkfwiOObFh0fIlr+BXdVvw1PNX61Tn3UnzQkaabflEh0TV0KkdRfJevtH5VD2nOfhFpy3JVHeLRSaWI2/PVudCjNbcotxLvNR8g08RkmLGIpr0iUv37vtMAEIZAEIgkDVjsGJyCgAL0M8YeoBZgm+EhtlSsAKk5sYWYIA8zvai9c5MXECAivjgiqZgTP4CqbhLEj0DWQ8R4tmizBRQFW/ONQRbgGAfHtTrvOXDhvDgx724qTzCSjHmHWot75QUBouIo+RKUVXliAAHIJbL879bulLhfBDygNLrA4v0EseV8DtsiJN8CWSuxRSayUcAjD3gDYKbyJN+SP/JU5IG1HnlxGDYSQpJNn1PbA86sF2BO0tIjK+zP+yIPIYEAicEOQ573lyGPLZBnvfAtgNJUHjuwPjPkWQ/uD0DosAHmzYnOPAfAav0DoiqywFMrWIs5TAnBVX7Ds3mGXt+C9ACorcFlxIE1zA+QtersoXX8aHTVxXta9Bvy+Dm6bD2oPu5LR3TlnS3zHXTuGsl8r3+J9+I+y2zLM/nj33vtb5fy6AnJwtYRW8sSIX5HrJLktCZn3h/70mVEl/ziMpIF2eZaxatePME/G+x8+nWf6ToNwt5zLbtmHVtwTRTeVt0rS174LLJWrXPPtMpe1p0b/ACP8RmLyIq4j2IMcmS+jWldOa5jBzCLNbKqU0LsgEthzx7STlc8W0BWLSKw6VryKalWfEQc9Hx1TjEDoaNrfxFJGPJ0eUh0dQf1fHVOwc8f9rQqQecLYBj67IlFSEC2tAojxFYlcnqx4Lry+DExHp5o9dXsVycoXIJIW0RWxG4PBIqiMZKhtSsGxtXxhdyKQ+LntuQaBV6kBsKpZyube8uDzIuulvlEc4Q3xA2xvcd3kmcNrMo/Qp4YxCe0yvP+2LK8YNUagFvkSnxd61qhy/iSI1tehic9j8YDXXewWW/c28TXbuvaOgx8W5o9E9w3kveYaoD5VnZ5kcrmxJaEcJpcT4mtHnAxTV4EKs5OQuS/MTg+iXwWETOdbyShdDrVp8Db49iWLcNF8siJZDt7+UbHG0ARg7xeMmuuQwEIKEVsIUamxBZAgdgSxATO3sQz5kSeIIu4mMpD+CCzsuRN50qPQOA2be/0lLcL30IGUAZwqlJbMzGAAMkRYGHdtLaCZ9vRJvfbNRGza3mb6KKu3VsDuyS2PA2Qz4euIn48k2syiJ+9NVBXrKuBTYitVcTsuvJ2eR0SRmyFJ1dhWXHftb1FuXXlKcB4Lriih/jZpS7PDLLkC7AszLCqAAFnwBHwYA+mR3joctmL+EEGI7R6iZ8zwzvc1RyD2Iov6i2TC5fKPWHQVhJtV3NaR04RTetoqa7ZWAOCcHwNZOMfL/nBquRT9cX2LGfTZIxVxI/n0Cmgumt72bYHcEEeMmPVQaZZzwH4kCcwrjpIOEuetWILgQDc2qI9f5YAwouILYBNxRJga/1q2TryAGyA0NpUsVQZ7O0aWUfnOkvIQ6r1dB2sI8s10e2EVNuFPNvakMDktbagT+cWXS/RXeDfourvHVqbbG8Xtk627Z1Ahurntgfb0zUCtPZUydd9TrZHniTO+tz2II8tIJazfMuqZ2YLuvEQlD1bV9fVC1sQhwDSnq2r68pDyPIvtl61fiVtXVmu0zEi/vGby7bXbXK/va5VcRbfyevZ9r+XnPh3XV0SCV1ku9gi4Uwz3WHLzvxa97nXvc52Np2Lq868XPde61znWANxwRy3PaKrix9r3eq1yTMqhOgis+1/F3FWzCNPt9aqLzVuModV1+rWQtrQ5y5swdwk9I7I2EXXCF9mN4j319sdvY7Odebx07ryMov/y2TrzNPZRV5vEXed+dlFwI+x9V3Is9PFzoRdFR2dT+iYiF28u3X03XNNEU092jsT/hZwtx/Zl3x0b9iXbO+8fcDT/dc6j7QC+3JGz9BGSJ4DaxEg5LmvPypJMXSvcALrfKJ52fMAmO7jIEHnNAk+2mFtybN1JobgBLA5r8KztQ7yJEH23zvUFbCNvfrTpFbbJsDmqxU9BxJLpCXN9nf7fD3gbvuf+U0JJcHe1jNnTNBF66AnB31r30UMSLwcjurchmnSJzGz91xy1nNoKD0Jrr4aY/25H3nu6WyfGP7NehKEfZWjddCT4OqwUgmYZC8+UzwllJB2DpgXhFsPKfWMEjwttfZvkw1QO3jRWQvT81nslzc/7dXTeW86T0kzWc7j8C7Jc4ioOUyBrjOonB8hKPYQd9aBrwc5zBUgAzj5Fn+mhJI1xf6cDdWTMAF+9ue7H+DnXA4HpLKFKfD0TPyKLw71DL5Qm70zwhAtDkclz3+n8pw7EF8japXHV/JP5meebMHatN6nhFIczu15Vh0CvddziAVswXYSRBlbsPWEvCmhZE2xdaSr99c6yOOjnFfCp7Fl8/Pl0blvsZ6QInt9jXLVsyDd2Z61ICaxK3bA/qaEkq207M+ZX61fgfMckliyyBRzyWPndDollNie89Mc1t96Tgx5klhn6dlKinykQ2uTTqdnoVm7zk9T8Gj9MAV51iQgbc0A0u7FTyNXp4SSa6zl+Lx063pBIPm4hfiAVCXPGTz0NiWUnO+C+DH3HiKNrTubhm+RmMAt5LH1aRLNPvmeuQ/fdJ78L3n8hvcFrzjzh+1Nu4ado+Lg/J4469nEM/pEDliPDqomz7qZynMYuHfXE/fIc3wCeQpE7C1wEruYdvfYEu+MuNYzmsgSW/lg9scu+Evvx58poWTu1qfzJXu2zpHnIHMHDvMztkSFvGmc5Vdd59iGnqIA+/Z1MrFdd4zznqx3MqeEEhslz1avHpIe9oMB2Z4CjnPZFIT5kKktwBnILf/WY3vwlrO62B4CwkcL3JNvmcbZOAfHmuk5304nOwzPN/JlttuLNXDEdJeFIxbo2/rsIe7oMb5+aD3CLewMPpuSEj4+A6+xzR5iKzCu9e698GGwJaw3leeIAbbec0YT+5PrwPBsnW8hDzaBqaeEkvN46dk66unw44PFPjGXDvkOvppup91EyHKxr+eMJvOTL1gLion8M3mO12DrU3kwlPxwFyTopvFm0+uLaNpUY2fi6wFep/0D91hkQSI+V42w8DWOSPwEFw6O028dAD1iBYAKeXHej33H9rDGOR8MEpiRdLQOBIRk2QFxqhyIIIFPx4P/3xcfkFuSbkmOP4Bp6xCgOGwAgsNBBAE2nI3AEYekAiK6tZBR9va2DjrinDlwwME2M/IEC8/hAHcg3zt1SLKEicNvGZIDAdGhfuSockgO6VhS6BDtOKAYSSOhcj5BazLo3iocvv7hvVkvyAr3RvCQh7AwrE0HJnomAaVlkAfcOyRa15Q5WRc6DNiAcxskoQbyEjFrrQLjLQMA9WUo7wNIAYzYAnlAt69UqJQZCEkJo8AvcLYMQRewt96QPIKgzixkEPLO/OJLNACdQ6cdotoKSNkZO+dbyCLTeRvINckuPQdhgWRSuZY0tRJbQDTCFaEscQFU6Di+cOXeQSBIJpw1Qh+tQ+IZBK/7sjnyAG9fU5I8BIHQ+9U5z6ib1NeKrBF2ZW16pwgndo4AAmCyDgNHbPL/fBWAFPLIdn4eWwe6sw4DRx45TJqNmxOS2fzYNIDN1snL+OqcdY8gtD7FPLYnYfD+gFxfhZM8GRlfnRP3JBLWHX/MHoBSf8RUh7MGyZPx1bko5jgHUXwjjy7JE2cdmhuHD2ccBq6jzSfv3QuYJ9N7EjMkFGJUnOmTcRh4HGgsEQx54pC4RBbbC1vP+OocDOJAaj5DYuYdijnihHNTxPaw9YyvzolDEl2+0tqEV9gZGeIvW4giYMZX5/gWBSjrw1oxr+jicw6NuBdFwIzDwJFM5Fmn5ie+k2eNWJuIsyAn+Rnvs4fY4scQTeIsvZHL1pHHzsdhe+IFUs/6hJ16SF4HRbM9a9M8xL3oJieP7YkXcCk/hPjpOQzcPZFoCEkka8jjy8R1JBZ5cZ6Md9r61Tlx3fMi4L0v/pPtiQ9sD8YN8k7yrfCBiGntzmQDYrciqdgjxjnnRpxge2JDkHc6VOBf9tjakeZ5+SydiTCnmMPW4UNxlrw4j4k/ZzPWZ2sndhy6Lc7SEQLJuiDDIdIK8EFueS5xng9vJZr4MM9rPnwk0hyW8fxsEpEV91Y4QujJBVu7fmBX70MuJK4jremW3SMPkTJBZMsVXAv/thJNSCZfWHR/BJJ5ysvEc/NDIAe5Zc7ORW09XytIJvdle+RZl/IDZCh8iGSObZVsk/3soruvFdeu+7simtbVVF03JiWcFoctQZeUMRSMN0KIs0ZEYdgziCb34DjJU4EjT4BCKOgkYqzkqhz3Ek1ArnkgkySUklqALRJ8iRSmHiggt5do4tAkywK76hJCgDyBD6GgYshh+3dOsJdo8p58plRyBhypBJInMANVwKp3K6HnUHuJJvMwLwADmAbabIFAqtEvEANoeLdx+F0P0WQeSD9BSUASDMhDKJBHLgDij3faSzQBuuSp8ghU5FlD5gVQWI+IF8FesOglmsyLHoEZibvgB2wgXehZMEI2Ad0ZRBOghtRCmnlH5CEgVZtUOQFw5J01k0E0AVBILevSuiAPScLO6NOaJA+oyCCaEBXmYT2odPIt1pCqqsPBdTqwBcRZBtGkWg3ck6dCRx5/imBF0ulgRCAgznqJJiSILxxa+/wVu5IMSozM2ZoFCK1NSZs5A+SIyZYBPFubAJMkRkJBXnSRIBZUjZH1knuVZPbS+oVQ9svG6Y/OAFLy2Ij5KW7oMpCw8LN0D5ST3zIAawQE0sD7AwDZnnUvWTHEDQk2u0E2qWZ7zy3D19G8P7YuiWXb5CFmyJMESv7Yuk47Ptb6ae2gClu39ugsCkgKBeRJXMg79NBDR/LEQbMIL+C4ZVjzyAMECP8BWIsX3pP/X0KPQJDwZhBN7E48jWo7eXyyxNb/710pUIj5GUQTnYmnSBa+hTy+BZkgBsMR5PF1GUSTL7+JoeyJvxbXxR9JFBtk59a+9ZtBNIk/Yp0EVJWfPOQa/83HsBHrCB7MIJrcj78kD5FMHh/mXZGLyDAvBEIv0YTwjOQ1vjrHR4p7/DLb8+6sWwRGL9GEdOGrJOzx1TnyYEP4QhLPFmBBCXAv0eSZJehkISH4Mkk9fGl+/o44Z9+Sau+0h2hiBxJohKe8ACEgXoi/7A9BJ0aJs/xCL9HEvpCu5sA/hTyFN/L4Foep83X+3ks08R+IA/fUtRgFpOh+5VsUfBQZ+YVeoomuYFlFdsQPuxDv5F0wFFtgn/BZBtEknitMyxv4D/KsQ/FXHEAUkmfdZBBN1nrsKolzjPzdOxWn+DoEHrySQTQhkpDSdOWecAQ9KhTwcfQqzlpHGUQTwpZfEdfZNnliqvfJDmFuvgX+LaKpBV3Ub87wGhAUASeOLlhWQR/5A+SrUgpkqrEAT29Hk0CHwQb0o32QPNVrLYwSfMkGwCG56eloCgJLkimxDIacI5DYILc4Ac4GOPRsPR1N5iC4+4MoiBZU8lSTAQ165Nw5dYCqp6NJooI8kjwAKyEPqBFsAQL/Pz16j95xT0dTbIOiL04c2I5zr6wjQV7CKdkAJFVJQi8G3QAAIABJREFUe4gm93Q/+gKqQ57E1prUGotcAkQFRPPt6WgS3IEXwR5QnMrzb5IKa0lyI6n3Pns6mrwLOqPL+MRzfIWO7VkrAIFArYOrt6PJ1kr6EhCjeyIO5pcIkwdwSPQRr70dTTqL3APIj2ptyLM1iDxJAACJpOjtaAL62IIulajIsQUkDZsE8pETQCKA09vRRA5SgI1FtS/kAcd8gK44gBVRoUopiWkZwDpbsCYB/KjIxWek/RviHHGAAIptwq1EEx9sbYoJgO5UHluQ6Hu30ZKOKOwhmnTxsWfkNd8R8uIsO/9Gp4oU7I/v7iGaELdIHkkKohPYDtuTyEvo+UuA2zsUm3qIJraHxEJ2IpCm8ti65A+RAOSbl/+vh2giS7ePe3jukKc4MbV1CSedW5s9RJO1rouCX4yveol7YhS7pk/VXsQ5XXqvtha0djmwOfGWPO/HCHliInlIEfK8a3aDIJluGdzEDpGEbNszR2dWfF3WuiRP3JA0Wlf8j0Ja63Yh8Q4u4zsjrrN1fgCWsVXV1ii2KXFEarD71iHBQ6r671QeP4DoVVShP/L4H3ro2aqHFJGc+e9UHoxhLfFl5qOwoyjS09GEwILzYAREcXQXsAXEvXcLj1or4jlf09PRhJhTNPXstlzF1hny2Jl/I1ciinhWhOzpaHIv29j4DjhiKs+8YFu+THeMNWr99BBNyGNYmY6mtscerX0YHpHtmcwX9u3paPI+xByka3wNke2RJ+7AtrrGvGNxHfHT09EERyiIi53hL0IecpIe+Uw5CgzB7/V0NIl3YpBcJ3IwvgbR7F3BDOKerjxYqbejyXsTt6edUggRXb5snW8VY4855pjR1ns7mmBpvoq8wElxgDZMhgzlTxBfdNHb0cTnwmXWZthCnFFrTmIjm+C/vN/ejia4h32511QeLI3cEodhXe9NDKyOptYoVb87w2oAwMe26vyZf9KWM2AswBPgywHoJOnZOud+nA7wOT9YFZBi9BIzwRroUUVo3ToXZ4xwZsDgdAS5JVBIrAVGQFvQaN06B0ggqhASgNIieZyOjiYBRVuzYNm6dQ6RhlxBHvgzlwfkSzjpUyAGsui4desckOt9AGqAynQEmeY5ADeVa+/XHFu3zgGdOjMEJ+3Kc3kctn8XGEOeynLr1jmkBzInkuupvNhyCWQhGFQx2EucK9HiAJAtEnYAXgI6HWwPyWRuAqMqjTWKdGrdOqdLwvshTyVyOqwLdiZhkpjZsmfNqDa1bp2TXOtmIG/emUEeGyePHsxJwLauWrfOeTeAIBAxbWMPAgEIVs3Spi0Jta56ts5JEBBIOjCn5zOEPM8iqUCoAxj+tBJNwDrQaV2w57ktANfm7xrJEtvTst1KNCGqrXPkvER2kTyAXBLgnAX6VMlu7WhiywCn7Tm6C+a2Z37mhlDTNeL98metHU3WHPJRO31shw2ZdKziyk8ig+kTeQJ8t3Y0Ab5iHmLLNtW57Yl71i0SJuQBwq0dTeIaMg7JpHNiLk9HmnUrEdTBgshmp60dTdYCUsI95h9HEIf5ArbHj7IH/k7i30o0sVvFIr5+fig1eQo45hdfQRUXJDytRBNMoBuTvCDSQqfiPh+teMSnIEmD8G0lmpAryHnre7rNgm8R19kC/2M9Sq75zR6iSbFDTNBFND0/hDxdrxJQ75ge+TykTA/R5F3QkQRzeuZNkIX0DUfBpvy25L5161xgWGTO/MMrbB3OkBDq5kDMwoDibOvWOb4DxuPH5nE25MHUCF+Yk2+nz9atc2xZp657zp+ZPBhf5zDSic514plv69Y5xbbotJnbgoTevOAGcRZG4q+Rbq22jlTlPxFpCpfTQZ71r/tUtwgZ8Iq417p1DgYUH7y/+TOT599i+1zI05HTunXOs8N37Gn+cQS2Tt9ISWtXgZVuHT3QunVO8QQBSt58Cxd5OtPIs1bEJfGfHbZunePLxCHy5l8R51tgUsU/5BfMax2T3bp1TvyUf8kJpl8C5FuQd2xN1xrSjly4v2frnDUp77Pu5vL4EvqTf5JLZnxhsCVn+G76TW2d+256G9/lzwLAC0IACyJpPhgn5ybQq2pJqHqIJgkM4+Z4VDnmI77+Rh5nIWFqJZqi/VvQCTJiLg9IBMo5N1UM3TGtRBN5gLtAgMFeFMiRQ4AaHejYUdFrJZrIk5hwYJKiRV98isO7VUMAKolAK9HkXqrFkksJ3zwoxrZEwEBrtSBmnq1EExJO14R1B3TOvxhEHpAmUEliJKnktRJNEdSRdxKZuTy2YP0itxAIbIG81jOavH/kgCoIYLrIFoBICbjrAFHETCvRZH17bwAgcnWRPLaGDDFHoFXVrpVoAvDJo8c5MUk2EKzazDaBG6CcXluJJiRudNnMk2vygEQJr0qrRNS67CGakLjsAVEhYZgP8qJ65tn411aiydpjA0CupGL+BSa2ANQAyfRJt3TeSjSRRzfIQGtlDvDJA5i8X/7S9ZKzVqKJ33cfa4b/jK6R0Cl5YhViVscDmwHgWokmfoMf5KM89xy0e57Y1sIWEFJiRCvRxG/wUbZMqxIvkgfUs2+2IBEgr5VoQtzxwaq6EuxF8vgW9i2RMS9xpJVoknh6bnagu2Y+dDCxPUUINqFyTe+tyaeYTZ6Ea07ckU0eG/eO2Z7kSkLXSjR5dnEN2aG4sGh+/AF54jtZktFWognJq7Cjm2DRxx/ERrbHn7BRJFAP0eQ+iDv3WPQxBvJ0OIpFfDbZPUQTzCPpQ2wt+nqdWMzf8QmSz9B9C5zmCxEd4ktsnZveJ86jQhSKH8gRdthKNJGna4Qt0NH0Azfkkof8sXUour7Ns5VoIg9xJw7pmpjjMvIk0zp/ous7imUt+oT/6VPBA2E8/4KW50H++HfxCqEM37TaOj+MCLWdjT+cf42MPCQhfwkPu5a8VqIJUSiusGUdYovkIb7IQN7Rhf/dSjTBt9Ydf73oq6ZylMDUdI9glqe0Ek38Jnmw1iIdkQdHeB65H1u3tlqJJvdC7LD5RQemk6eAzR7YBTzPr7cSTQhJPmVR3LPe+R1riX+Jcwt7iKY4WN9/px9NCNsiTz4rb4JhkGt1RlOL56nfnGE1AJABicDmMgJCoAJ6ODhOwNaC1iH50lkhwEr4Fo0I/M4ZwgQLIq1DOyinKjFZRGy5b3RzqIAChsuea51nkOyZm+C7DPjFuUYq2EANh946OC46EnRUBxcN8rwzIF8FCuBoGZI9gU5gBKIWAbGogOqQUwWV6MYB4ZvKdC/JlyBFXmwvm97HNSrNugU4cs4+DghvkQfU6nQgb9FXZ6xN8hAMsZVt3hGxrlzJLFugKxWxRV9JcQ3bExRdi8DUfdAy3EvC5I8q06LPKcehrGxdFyOfMK9arisbAJRUsl+J5SIgFhXe+PqQZLz1M9axRQ4hSt4yW4gDWAX7VpLXvdke4B6JxTJ5wKjExfx7vmhpbXp3KnbTL2aG3NiWyBbYqCrkouLBuu9PQilplujaxjMfscWaDhQF2IGEp3VImBEIiNR5h597hjz+gI+V9EvEWwY71inBnyEOFiW7bAEQlZQhhfmy1uSTPHYeB/0vsqnY8iyZ13XAl7V+BY48VVb3Mb9FNhXy2IC4ZX6tya4Yw0fphvFe5smud+Qa2wNtrUEmSwhaP+nuXvCBBAGxNS8KhDw2Y7uEefV0HZBnHSCqJEHL5CHqdQPoXJOAtn6JKraN62JYRm7yc8gtBAld9hA/EkpEEp+xjNyML/OSpzLfGte9G0UP8dq7i0P353ZMnq5Q+IhOe746R0/8mXsssr2I6wg3WAlx0PPVOVu4rQVYJLaXTecX8sRz226QMj1fnaMnxLF3Mt+ZQG7Iiy9/KTy2FpD4DdgOSaGgM/0ydcxRTLSGFSnYHl/WSvxEEcK8yFvkW8iLbh8kPV/W6lvIU6zhM8lbZOvkWcMIZbHK/FrJCh2YikfIrTgkfm4LyBjknUKOvEHHTyvx415Ifv4pDolfJA9uQ9qxCXi4lfghj54UWMT2OXFHtmuQd3TAr/N7cwJz3TgPR7Arelr07twHho9OKn6h56tz8KSCTXxtdNFzkodMU5i2buqrc+u+zbruDK0BzhQI5bwRLSpWq4wttpq5rrVKF8kCeUDEOvJc1xqgQh5HLtCuYpHpgzPQ+rgocO71sgFRiSfdINPoa5UzyZAnsaabdeQJjJh0Tn5eYdtrbvFbjt+cBAXM/SL2PnROH+Rx9JtWXlrk0YG16R1vKs96VEEVSP3Wetlrfj3y6I88xBI9kee5FwXgAInsgExrc9MA7Lf+AF4hz3uZtvnOQXDIY6PLnmvZuvEezJE8z0ym+a2S5zfeg/ltKi+eI7as7WXr1hf9Gy0Aw2/NKb5oQu4q3xLykN0tviXmx2fQJ/2sApmu8f5c0wNoPLd57iXP+vW+W+Xxu96ZNbmJPLY6b8Xfy5fFs/qteVlznnuZTUXcc513vMznLZNLL2R6Tu/fO3SPVfKsL9eRtym437U8BJW5SP6sOYNul9l6xL04GHXZdcv0KebRn7XCZ9DpXvIUm+hxlQ9aJk9Mtz5Cnuclb/rJ6ulvza9XXqxr8zPXVbbOXtiPuW1qC3OfTx5Zq9Y4eeZHHy3yELeelRzyzHWVPL7M/KyvTeP6dH6e2x/3WBU/w7eTt6ntLZJHR6viWa88nYvikPVofnvJg8n4MhhwUxzht2IC3ZBFpve4Kq7r5iBnFd5YZnveO3vyrNbBuvJabX0qj8/ey9bFLP7P+m3xLbYaw+/0Q09itWdf5lvonj+CIeh92XXL9LlI3irbs07Is75a5NlBgZi3/unJGlhlUyEPYddCoini6AiL4nPYxarYTO9ytk3j0PSe3ou147lXvROxmbzpWU574ZXv5n+vrXPfzW/nu+TZOB2txKpXtlOpmi2qhGQ9LmO0fWBRa2iWjOl9OC2t4K3tups8E4Ctwm7fu/OnVAVtQdiU0FlXJoDm7BuVYRUsWwdU2hdVeta956rrdNTEWUEO9FNNWdRdlCHLPQQM8pwVRJ6qUmtlf51nUnkjT0VFBdL8Wiv768hTmdJKC2CYn46D+dakde6z7jU6FrUKAxW6DVSn5luT1r3XOtfpglH1BnrJ032zTd/CHgDD1tb1deY0vcb2LfOLAzytzdbOhXVkB8BvrZiuI2N6zS7l8S06La1RtsfWVdpbkth15qlKy9YBQx1Y5LV2CK4jz7xUOoFM8qyZ1g7BdeTxmeYn/uneML9FHRXr3Guda3QxqdSaE18GU2zTFpxNZOuHDjTydA5t0y5s09Tt7dwp8uClFnJ6HV26RmeS7UY6fXwZyXb4bW6zgJEkuD2E9Lpzc50OCV1mdGl+27R18hBbraTYJvOKa2FcuK+HFFtXro4p68X651vEWXF9UwJpXXm6ZPkWHa4wJ9+yLYzrmXScxJEX5PGd28K45NkizVeL5zC8+W3T9pwBZauf7h32AHNuWshY9925TkeRbj3rhDxnOPaQqXvJ1uWlW48exXbytrU2PYujSqx/22PNUVzvIZD2mp/tqHDtNmXs9Qyn578X0XR6av8MIlslRSu4Fl/bFQRjIIqRAovZiaF2QcYPGMZhxNsinYB62zmcPYX4EaS0024rKCLRbAnQem67AgekW0WSvQ3SSRIBrEl4yUPMYOVDXjbphEizRsxPImPtAN6RGGaTTogDcsizXczfbbUAvrdBOpmPLUn0KTE0X2Aq5pdNOgGjiElkoYMzVW+Am22RTjoXybOF1HY4INg7I28bpBMSO+TF1yVtjyBvG6STLYyIO3NBvNLlNkkn4Mm5Bb54Y2unCtW2SKc4JNu2qyBdJZ/bSgytFWDb+Tax/snbFvETtg7ks0EVP+312yKd4uufyIrYAm5tBimTTTrF1z+dseHrUCqe/HPIa90mugxmWC+29UoKyQOCxT7bvbZBOrEFfsX2bdsQkUzOX9wW6WRbBL9pjjAFO7etc1ukk20RIU9BQpdmJIbbIJ3YOXlwGRLINllxz/tjF9mJry1G7IC9IX7I2JZvsWZtS7f1le/UGRU4YhukE0xmi5DkPYgYpOu2kmuYzLl43pF3JtYpIG0rudbdR5d8i7iu+8fa5Fu2QTo5K4mfZutsD+kj7m2LdHJWEhI7bB1+VwTcFukkljsLU+7A1nUOwe8hL9v2xFh+GoZnC9YmO9gW6WT7aMhTaFEc4Fe2RTrxYSEPxiaPHZLnYzPZdmHLnS2k5Ip7iC3HiTjgfxukk5xEwSNkmN+ZiXQqoukMQvacno8Z53kA+pwq45Q82eesYoeg4fQQQz3bPWKOHJt93UFsCVLuHcRWJukUXw1CVETQAEij+2cbpBOZCC4BAxiWaAsg5s0ZIYEEydbDVudrJeRJzCQU5HGy5AGn5iqxaD1TZCrPWontjsBNfL1MB5C2WIl9zC+jWj+Vp3UX6RRfHgESgyShz4xEjTyt4Agm8nTkkKeyDKQGSZKVqGm5ju1N2oudqeP9eY9aqQVGh3p6d4vObdrUb0zlIUHJAxatUwQlUEqeebaeazB9JvJiixLfIrkgz174IGWsT/IyCCGV3SB+gH1zCtLJWsmQMZ3f1NbNydzo1NqROLEFa8X5B71JmzXJzgBu512xPwAnOu+ySSfy2Dd5DlEmT9fBtkinqa0jZRC9kidzto7iq3D0ya/1jrntRWIvKRX3dPYCwsiSbNtTEOCjEQnxSWXne5Dnv1m2F76FrfvyHCKIPCRQkDLmmWEXbCFsnT+RFIq5CEvgXtIruWALGd0IU3n8JdvjXxBs4qwEn0zV7WXnc2yyhkIeu0A6hTyEpUOzgwRihxnyxCE4gi9RhECIin90DLewQ76NbjO6H2J9IH7Yujltk3SK+dGfbg5FAjbv/2cD8WEFcb2XEIKNrEc6JGsqQ8zLJp1sD7I+yPPuYCb2Zj16Z9mk09SXibPOnHNWnrOarEU+E4ZHBmV04SGyrE1/+Euy2DpC1NyQMnyZmJtRmJjKE9d1FrJ18qwPBBB58GdGB1nIY+vkIUnIYxdwbZBAzu5q2do19zvWB13GB4L4afbovSJinLnm3Yl7GaRM2B6ZYrs4K0cxkDIaAKxTfjRbHlIt5qfYongr9wtf1npcwlSnsW1clzQMr9sWNjQXPg2pBluLs5tuO1wUM5wrCj/wnZ7fujgzkU5FNG2CJOrasRICyCBJONj4mpIKpbZcSSEjFUhax5TYUg1BOElmBEgAODqPkE8ZnUfmxIEjXgDgSAaBDyAtiJHWr/os04N5AqdkAx62SQnGqvWehWxzBVBbPy87J4FCnoCIHCGPo7UFJkgn8hZ9lW7T92l+kcgA95ysdykx5NAFrJhfz1le8VxTeQJIyLMFBtAWsJAkwFzPWV6L5OnMCXlBOgE15AEdGfKAiiAoAURkApmSKImuCmV0AGYkMlNbBxbZuvfHRoLkIo8dZlTwQh6741tifgAAefFlHklUq7wAiCGDrbMByZr1H7YOvPUSP4tsz/tDkugMABTNkWxJGyDM9thFywgiJmRYhwCiDkN2D9xEp1/r1/qWkcrmxM7IQz5Zq9Z/yFv0daqWOcZv3D8IXwQsn4nA0xVHDxIYsQjBnLH1MwjRSCzYAdtjF4orOnuBfQlwRrElbIE86z/kIYGC5CIPCZQVA8V18hCiIU+ngLhuXuRlxdwgYCWCbIFvoU9+W6LGR/Od4lBmosbWdHSEPHFJnI2vcCFKM+WZ31Qe0oQ8dmF+umF7SaBp8YMtsENJrzjLF/CX5Emgemwhkk9zQsYgSfgWMd66CGJLYt87p7mfIVuhEwFrXkgheMn/z/ai+6H1S4FT7IB0tT6QvGxPHEA2ieMImQzSNeSZU8hDxvAn5CENQl72ds84v49sOEICLBbpQoIbxFm4DIGeRfgGSYIo5FvItI7shkACIRJg3Ix1Exg3vhKNVEPaw7zWP3mSfB15mfL4TkQveeYH0yPVvEfy+JZeQpRdsDdzQ9CzP/L4TvNG0vPTsISCfEbXTMjjm8mL2CAmwiohj+1lyaNL85ObxPymJJf5wYS98oKA1UVl/ZOH5NJ9K0eJ4gBc2LNWpsQWrOLLnzCu9eDecmb4nW/JILZ6sNU2fltE0za0eia5Z1TwkBRRrZe4cbDARiRtrZ95psY5scXpRHss0kkyEVsLetUexE8cxBbED4Y9SCfyACqJaOaYJolkCcgqeBx7tHbSpyC56KtHmz5LgFPJhfcVnUf+i3FHysT2uowtIuHQyRNAVEckpQCrqgFQc/Ob33wExRmkUySGIU8SSh7Qj5RRPbzZzW42yssigcjyB+kUnUcSX/cXRMjTedQrz7sLsIiQBBaRJeYncQrbQ/Z6j72kU8gzN/KAYfJ0ViEYrA+BP+S1kkBTAi/snjwBmc3zLcBpnLmCRAB0WuSFrZuT5E+yC4zyL/6OdArip+eLQovscmrr5oMQAm6AVD7VO5M4md+iz5WvY+th33yZ9QhAWZPsLWTEGXEZnX7sLToZQ55kV7Xev9FhyMs+Yyx8S8wV6FbRtm6CBOLL+Jhe26N7+gvwzRasTX8UQqJ6HudMZJBOEWetVYlvyEMqkCeRCYIyg3Sayou4zt6919hCQZ6kplde2IK5SQT5S+8OASsRRhjSpcQbWdlLAs3liQc6UlXtrR9dceYW3QGZ8oLkQtBINsxZ13LI49d6khlrMwhYc7E+zAthosNKJwfCMPBSa5ydE1uIH+sDwWVOCnLmFMnuOv5q3Wum80M6BSEkMUTQiLOx9bO162/aZYvY5U/gFXGWDJ0OfBlZGfYdsVxyTR6SgjwkL3lB/MAsvfY21/PUl5lfbP0U15EyYhDfyQ4zCi/xgRHrBNaEWcQl/hSpDCMh8xRCem3BXKfyYGlxljzzJg/mJI9vyZTH/sRz8rxL7xiRhpSJjtte0ilsgS7hvjiygq3LGeQKbN16zSCBpvKC5NIJpPAoZ2B3IS+LBIr3F6QTeUECwUjReQTT95JOUztEOsEvYhE/ypeIQ3EeV2sXV2AVsY19iwNsTpy1HsigQzbXKmNdX7rL64po2qW297Gs6RYRyQzgAQQAj9qOMfo+c9s65skuw5TokoOYAYCD2FJd6x3TZFD3FjCF+JGwYZwRTeQB+RnbNBZV8AAPSW90yghcnKmg75PzHG3GmAJHAAPQUbUI0gk54vOmnHrGCCCHoORso3PFukEecuY+cdr6Sd35M4Y8pAV5Uc2WZKggeIcOymxN6pfJs24Ax5ifJErA8t58PjurqyS6dCQyupu8P38EZ7Z329vedrj1rW+dsr0n7BCQQpIANdESDOywQ/JudatbpWzvmcubEkJBcvnMrU/Xt1aap8mnOSGYAUQgAHmCzIrOHFXQzDElhFQM2TiA4xn4VLLZXs/nwackLxnINAAKQFSxlhjyZRKn1o6AqU6mxA95fAl5fLZEiX8mT+LUmuwuewfTziOJU1TPETRxjsYd73jHrs+RT2UHKSPOsb2oviKdEGrswJ+scwwjzpLH9sKX6Ypg67e5zW2GW97ylmkftpjKY3sxvyC52LrYnrFuplsjrRs2wBYkUCrOOuScEyT5zei0mMpDoiF8yYuz/pBO5C37bPmmfmAqj/6iozjO+kM6ORQXsdBCni+KQ9FRrOPcu5NkI2Al1Uin+KT8pnOJ6+fEj6KcxIlvQWyx8SB+MkjeRX4GThLXp4QQ2fyZT8H3+OwoeIh3ZCBGFDzEVh+PsTYQajBSb0FnTmLDDnGmmdjKh5DHd1qbGWtk7stiuxu8y3cqvsCgumP4ldvd7nYpOCJIIPLMLeR5h/4/78wZVsiSrHlGRx55086qILkcuM23ZBBq0/lZK3xKdAJ5DiQ922PrGVsHww4RGHaByFOsVTFCvkKPziBDdmUQGFN5fEt0AsVZf2ze/LzHjK1uIU8cIA82YxtBcsHU8kuYOkNe2D19kiEu6PoL0gkedNZnz7ubElt8Cxm2YMYX/6J4q+iRMadWH5/xuyKaMrRY9/i2BqZJGyIBmELQSOAYataQAMYWPoBUlVdCH91UEk+ONWNMAaJkPogYzo4TV61H/HAMrQNYwqILQNNBtnkKhgK+6oh5qsYcc8wxreKW/m6alMZhuKqiiLWHPOQh6fLC2Vor5g8II4AyibQ5mKJLAQuQI09wJC+LSAt5084j8yNPMAH0yevZXrroRUy7dCSiukmADTp+6EMfmnJG1XxtskP6jHNCBH9B0VcVW79ghaDz/BKTKcic+hbyEJPkCfYPfvCDU77GNyWYAcQgflTrAUR2gPhRec0e84qhxFBSg5g56qijUsRNSaBIzvgzYCrO6jj88MNTzmvzwNOzQaz/IH5UJZEFgD15PR8JAMzImW8LCrDIfyKdxAj/td1TJTtzTG1P4SMOhgbq73SnO6V/CXMqT8wjD5nHFqzP1u2Xy3QSdsHW2SbSiTzEofnN41avbqNDLraISGRsLVKd9zWyVlJ52XNN5SG5xHby+GhEdvbX8aa2bv2KseRJYJCFrdul2LStlXP9RJxlCxI1fkVS/4AHPCCtYDX1LWI5Ww9iS2cY0kkymL1WvNOYn/VCtrhHvq/t2vaWMabnAMGc9IeIsV4QrQhXREzWGaJTeeJPED9BcsG45PWQvMh/fnNO3Ip1bN16ibPwYFRx3dmCmWPaXa94hHTysRW2Lja0dqbtZevmRh4SiDwkHnnbsPXIV5Bc5DkTFt5U9Mg4E2s6V+smSDW2Lu9CYBx77LGjTjM6txbJsz7Ik6OIDY9+9KPHLuLezq35e4z5hbzoPDrxxBPHbbStRBo8uehrd/OzBR3jovghRmR1GE63ystHYBXvTWyw/uWWfFn2u8u041X3KqJpV5o+E8qZEjQMqQccCgq2KcwB9DT51LEiIPvUqf/NWFsHwCIxmm+RmxI/kl1OVUKISecIWgaHyalwmD6RvArsB+kkmc+o6q563gCOAMcu5EUbtyApYco4tHGjPgmNAAAgAElEQVSVLsO5AwGqWL3bJEKWRBPg184bZMu0I69XnmRZ4gUYLdqGhKhTWZaweG9kWyutVRHdIMCfysqiMz6QycCozg0dd73yJF2IFXpydgMyYn5G2ZQQonckSev8VgHSaN0GEHWP6KJEiiDutjmmhC/g1GrrQVC7xzwhmSaf1qvuUIkHUKMDrnVIhOhtTjROiR++lTykq7NqJGktAxCTJIgtQPuyEWDRf/mVbfuW6ASyTvmWbLA9nWeQTuKIsQt5cTitQgt5reB+Og/PbzuUdTJNfqddM/RIXus2idjGIiFZROb4kpRE03Z/zyEmiEWt8qxxv0UWL0oobQXRGaOrMEOejihz5DNt03Hf+fauqR3ym1lxb558xvZSySe/iShRrMousCxKROE38vnN1uRMMYrf13U571YK4gAeQzohthRIEHc9xyqItYiqeQI7lRdn4SleKbC0dmzx9Y95zGPG7vFVzxwxkB3SQ4atr8JlcR6X99Zj6+vEkyCYda7sSl6cLZgpz9pDsLJ1cTfe0bRrJmyh9QygpzzlKeNWX1v7F8WzI488cozBCoRT22uV54u2/PAi8se7vf/97z92gCJi2Lu5t9q6+8nh+GqdezrI2cQcU8b5X+aXdVD4fJ0GduBbkE4+XoOchMF7OqjWsYdtXVNE07Y0eya4L2MT9CS2qpyCZAwG6/yIVvJlrj5OFDi0NUcCbR/r/IDZKbElgLRWJjit+MLQ0572tKVvcko6mW8ru02eyh9ZnErrfZY9qPsjsYASWx3udre7je3t2sqXDc8g+cvqmuI8faUQiaBTCmkouMeQBHuvPZ0Np6fJAYIqIo961KO+fdYOAK/z7Pa3v/3Y7p7RWm+OcX6XToJFIDO+vGfbR8b2PKSW9aLat2h7IVJLIqGTIqPaaX2oFOtW4l/4mTjfQMU/axtSrBd+S4eNZHBRNRrB5BrVY7bUQ/yEzDg8G2moHdufGMCS7ZwAT+9A+gBsukoRhWxaB+bcN05J10iuW2STJ1m31nXtLRtZ8iSCJ5100pgs3/Oe90wHYjp3JGN8vQ5ZSYK/W/PLhi07tg1kfMWTDGtOjNV1ZkuebXJsIgY5OrQyztpqeee9v7FmxD6fQ/c+DSQ9W9e9lLWF2n2tFdgACbOoE0RVnH3794ytXu4nKfN+Ft3vsY997Ni1qUMy48uFfLVuJfjFOnFPnRPIXAli1jakeOdILbYnbi/CLY9//OPHcxDJljhlEFt8priAZEZYKyrGQEwcccQRKR19fD6fQo6Ch/Uo/s2TvSBdrSv6bSWVyXvc4x43+s1VOGgqr4f4oUd+yhY13WbZBBJMe/TRR4+FC3PSiX/cccf9r1g39x2wEuIrw/bc29oQv71DRQ07K8SeGOyCfbQWcnp9X+/vrX8YXTxC1CN1xAFdmP5kzguJFF+3W0ROk6dApYOwh/AJnchV5ATL7keW+CDettrcVP/OzoM7/ZGbOHtU16D16/y81mLDsnfsy+oKATo8F92bLTzxiU/8dlf4toit3jW4zu+LaFpHS3XN/9EAp6aFEFkh8AmyyIQYDEdyCBBkDNUbQFS7MrIC8GeguijsP85qV/asABFnI0HjfLKJn7k+zEWi+YQnPGFs5c1uL5eU0Jn5YOolsLZVqbYuGyr+8ZWq3vdnXVgH9sBL6GOtmHcMpCEQ4jC8TYcqON3pbFh3CCKqjwigjGF+AC5d23cP8AI0CFIJooCpAtMz2IDqsMqGDjhbgKbJJT0DVEgfydvJJ588BsvWAaSRp5oCrEmWpl0q7J48hJAuLusLEdw7osoYBwTHuVMq4gCA8ykAAAAxI3GybpCv/NVd73rX0Uam9/WFEDqgz4zhDAUJmG4G78w6MecYQBySEGnZO/hpZ4NJPvk0wFQHhTMN4ks/WWdSeFb+S1em+YgN267AkcO3eYfWHrDb82Wtub4R4t4TX+Xe3o11yC6WDTaH1MuwBSST9YewYGuxXqay+bAHPehBYzK/6UBK2+JgK8C6Q0cKX55xSL4ClS0diGx2HUS1Cj3SBJHOb/Z0iZiX7U3+WCeSMXOYkq2xvfLpT3/6+G/O7OvpwPau+GBrx5rRfTrtoIoObZ+9lsiozLcWxqbvLTr3xCF+ht9GBiExEGtkiUU9cWEqj02IN3SGsPAOp0kmrMHPSOgzhiKLta6Llt803ymO4LcV6xD1vUNMoz9FOsSdNalwY078p1iYkeDGc+oq5TMVbPiPzHsv0gX9WZ9woHekeJtJTNhahNhFFMAqsZ1ySgzOnwtpDj9lYG5yYGnrU3eatTKNs2TDgK22Lv/huxTG1h3iOpzYujV2KoePsRb9F26OQqYYLN4j95B2vQfWIyTZgm5EmGtu43SrEAKvPPOZz+xeu2IuW9MhFQfRT22BPEVd+YLdK4imDJJ0enC8br/puUziD8yJ/Mog0bxHOSuZfCi7R65Ou7/EA8WCDIy77vrc1nVFNG1Ls/v8vogR4EIl7rDDDlvozBh/1v5qYAJ48kcA4dgESFUSCbhuBACq59DceGVkAYmSQfPMALqrlgPQKSgLWiro5M9BBgCgmvDIRz5y45U17fQCepFIgi4nt2xweN5fhlNVpX7qU586zlFgX9SFE10iLW38ziixfRF5tu7gxAGajGTJFkpdHJI173BaeZAoCvrO31CdaD23yLyQWQKSIOvd0dW8tRd41OrvsHHkSc92MvPxvtgaedbNvPJCHuKCLCCqR96idzc9G4bdsw+6BhhtX5t3Na77/qfXPeMZzxgBMaLJOlJNBj6BfUO3BV1ICjOGRIg9IMkXHT4a25EyQH9sqwoQBezHgc4IUOsRgSgBzeh+816QFwAnwkcXWM+a30vfKtS6tRAEOiatz/kaRMYiRiRTm444J8XvrH/vBsE6rYrP70k+/51hC2wdySRZAEgXFVQ8V2snBeLRetApte5gc2wj4+uBcZ6H+0liImGwjiQcOjzYiHXUM1SP+V/JvMF3TkF9bG0WD5xDIznuqWDbZvLkJz95JCTJEUcXyeNrdH3oKOmRt0g3062xSDZxCNEmYZT4Zwwdkta6Yo81JDEUC8Ivk+Ma2CVjIGEkodaDQuMcJ9GxLYotOGL+fNNjGWA0thi+U3KvG8G8rNseUjLkel/ejyMfEHM6qDIIl2V6R0SyL+uCTtnefJuTA/hd0/KhlPgKqbXvfcQW2CkxOH+2wJyt262m90MwHX/88WOcRTwuKqggZ1q358UB5tPO/L3WuDXD12UUd/gYnUx2KohxoTPrCCErb3FWUm/BA5ZUTBRrvce5zYWdICoVG3VR9rw/Nm5NwtWr5LEPuC2DoJ+/t+mXV9mJYg+cgXTLOlOLbcPzcCUboWeFztCvtSl3KqJpL6uqf9+3GgDqHSwnWek5w6BFQdODULHbOh4kg5yA/fK9A5mlmorU0Q0gQM6dK+OXoAlkvYM8h7li0OcVurg3R6Ri3XPgeO9ztv4eCEUOCEAqAhnVh+mzxGGS0466vZ4VqPdOM55FMqHzzZYuoGYeZNkIcsEWgh4iND7/jXACMBZtIxOctPkim3q7SeKrcrp5/AEk5okuMoQ81ZheecveGRDMrnVxSUytJ0DcVz8yvlqGaJJA2BKFUNKRwx7ZmqQJcZJJNCGZvEOJ7zzh3Wvd9v57JJ98DjLdIaHmbt2uOuNoXbnAIVsAngA0tjAnXBAUuh96zoGK50EyI7CRzMvsHzBEHJwRt+Xq1vLHF8IcrJpBXk3fpfWwF3E2f/eeQTzKIEbYAvtGRiw600t8JQex0GPrCCZ/rE1rErEzr/S7v4QNadDbTYLAI09ywsadNTKXp8PInDPkLbNPsQeWsY2JDxODEQc6rDKG98ZPwoKSUYSe9aSbQreFxCmTaFLYdD//XUSMZMxp2T3iwxd8J8Ke/+bvHv7wh6cc9g9T68x23hO/xs7mNoYIFafmZxa2zFsRFakVH1NYdA9FJLrusb2WZ8v4jWIHnfIdih495Mei54li7SribP47fsWfjGdhY+xYN9OcuLJW5SdIGw0BPcSr7kGExwknnDDG0UVnJumQpGM+rjcuwEbk6ZDy7IvOSoI5Q16GLhe9X00MyERFYngQ6cpeMgqA5CGaxAnxD17iOxH0Cg+IUbosoinDE9Q9zrAaYADavVXHMrpCNlWELSESJEmgyoWgyeFqBe4dqv9x8v8y4kew4ABvcpOb9IobO5h22WHkgcnj5BBA/jsfAhfwiBjqHdpuVSjoVLvrfhtAp22dAt8ifUk4nv/8549BpOdrV7FOVPoRP7aMzs8ZicQ+I/iGPNsugA2dBduUN10XSBCBPv4gvWyroT9g5zKXuczYKt4LashENEnmkdUAmtZzPkUSzE7YAlvP6mhyb34LUOytNm5qS5IkhDxyxlY689bJxI9bT72DrUtsEYNIjEUgHIDiWzLOMFqHZM4kleknzhBD9gKJ86HTQqdDSxfA/F58C5LavbK6UHrfcebvVeWtGUTnojOmdAWJx7YtSHpbh2KR9YhwsR4WHZLt//cnw3fGdliJiSRPkWHenZIpL/Siu0JxjH8x1ygEKhLY7sWP8eEZncpkIn34ZGtT14/EHlGPdPI+xT7nUGV1NPlIhCQT7srYfrTJeootO4E5JZ/mrqNEPOodCB9d+rDsso5JNmDuPbYQzxkfnJhvJ5vOwxq1fjPirPsqyilu0N2ijnoYA7GV8W5hFtvdbcGyZvbbUBiiL12Ei7peEGx0Ka73fPwiciDdQ4oddiTMifhFpGirvkMeIteuA2f0zQvCmfLiOQO7IOT5L/aIYIXpbc8Tg3VPZcQHMsUDtu7d2flgu55uWt1o5m07uWeqjqbWlVS/O8NrQMICyOj68anOjG0Xq5Qi8CK3JJ6SJLJtpZF8cgQOChdMstjmvYgfz5q1tez0WAxxuDEgSG/ep6RJ4qsFXpVVx0jGWQeSQYBXdVpl1xarbQ7rgrN2+OOywckD/xkHzapqsgEBClkxPfQbcSGht7XHeQESnN4RXQhZXQV7Pc+u5Xl3Ai6gqFJmDarcIbQBJvPO7OwIosk7MmKbrqTJVgaVJiR2FtGERHNP21kkKZnnyy16l7YWA/aIEWeN6P7RgaZaaNuHTkmdDhnJZ7TRr+ouBNSyugn3WrvZ/85H6jqwRYCPRJrpPpAYAYuSbVv0HJyfcTg320NiIwQl9QDoNgffr4prjS4bunD4zp7Pqse9Y+ucZEmH5nSwD1t3dW/oLMzYbhLJbVZXwV7vYtfyHO4sFukudZwAvwUbSZgQBtldQEE0xbZUpIUiIH+DYILT+NcsogluQTYhzpBbWXhv2XtUdGAP7A9pKDGUaFurtkBJPvmAjHgUW8v2In52Fff3Wtub/jufwi/SJTJeXII7xT/dr/Ro/er6znivYhCSCQaDvbYdZ615a0UcWDbMGwbM6P6OrXPsbE48KiaxEUUKZyplrE/z2mXc3rU8X9RTdOcrYSOdmjBnfMAgQ4fTdRFEU6x1sR6ZrVAn7smZ5DJFNG3qaer6faMBVV2n4qvuxHk+88nZIiFZzBgCkcAO6Es+OVF/BH1O+4wafEM3nIzgoK1dMsjhGIIvEOfrCllVGQ4caBKgyBOAkSFaVpFL/qsSZI83Yqh3IGLiXBrvcVHCICl74AMfmHJoqGRJm6991YsGx64rRkeJzoreIbnWYQQkWYfWpTkCOrqPdN4JXPSdsVUvnpcNCkq2kummUt3yLKogGeenhBzgGsFr696yYQ3ZjpLx5SQEoUP/bUW03UkVKZKk3ne16PfIAQnhvOMA4PdvUWHOICXJZ2s6iMxzWWVONTLjMHDvTFeItceXqEhKknQTAafbSD638Y5W3dM7ckA38s45Kv5uKH441wiJkfUVI+eV8Y3sy72BQbYvqefDdMHRszO+Ms6O8PEE89K+L/YtIgPFRb5HQtE7kJGKR/zKosHOVcnF/oziEl+FVLYtFpkcNoa88/8B+ZJF6zarkmxe0aVJfnwVTZyCJTK6KUJ31qMOo1XnuEhmIqHpfX86lOlOfEMIsu/5+VC9Mqa/tyaR//OtOfCMOUvc2EpGXCBXsUoxR4cr37loTdgylVEgU2iw9U9hU3xFysdWnjgHKjv5zHw369wL2QMnOdjafKNAIJbDR7bsZhC8nkVXu64YOmVzzg9CPulWlFA75N3h1fxATwdOzBvucs6q97doC7frbC0jM+MsWevOF+CQk4sG36YLSfdmxtlbCu9iOZwyJV0R9PC2uODM0KzYF3MSG+xOQODprhMT2Lm8rHfL8VRvjhKRL6w6D1G3lm7CDDtEYItpbDzIpcz5zNcE/L7oS3L0GsXBbWyXX8cvZF9Th4Fna/RMcj8AQ2vjoi85hAoEY4ewZgxGiRRRDRAEA9xkOJhFz8e5cXKCx6LOGPI5ARWajKGlWNVWhxGQKDgIINo3OXZJjAQng2zixLRoSyocNKsC6e86cgRmIA4IEDB1XPQOa4Wsvc5RUa23D7p3eHfmNK8sceACJDAuOCG2Mro4PC9ZAI2EXsUOsEH6CCSqvkBbxrsL3SBwHSRoi5J1ghCMT3NrudWZ1rNNb/oOkMkSWRW7RcNaBRbNMePg5+igYtvmBoxaQwBNBiBcNAeVVbZnjSJ5bTGhU0mbhInsrO0Dkk+ge9nWMs+nupZxHhu9IWF8vQTw9H74LoRn1nzm+kT08CXOGgF650PS6YytOGy9196RMBJQ6wWBBsQjDpE0CAXEiDiUAbjZAtLV2tBO7+/8s4RM54gOHQfWS3QztpSLC3yn/y7rdOBX4t326pLerHe+cjr4NzGCb1P4sDYzYi8fKUnR9eL8pOikQlyI9XyKuU27RHvnqDORrxTfyZdoIgbFBv5U8pLx7jynzjc4SRxfNCSf8aXLDIKLHzMncQ3JTC7iE6mcFevm8+AvkWlszVDwgFf4HO8NDswiCa2R+HLtsrNxJPIZRQG+yxlbOvfYtthDh9ldYVN9wmb8GZuPYuP039k6m8jolnRfJK85KtjqzjI/2IlPg7kRFciMDLIJ7mJz8WVQnXd07GNCfDM7IZ9/yYjz4ixfjUxetlbEWbgzw7+Ie97Z3E8j0WwnVQClT4RMhj2Yk6KwM7vE+Ciw6IDRycivea+ZxU05iq2PsTa9U7FO57f14kDrDBLN2lTMgCGWfbRIzFWwQ1pmzFHccx+xh+8Si7wrncsZ72uR/7c2xdT4upxzKz2DbXRylG357N4Yuunvi2jaVGN1/agBTm5Vi6hrJDIZlQn34rw5AlVHzpVTA54kLByRakx8GjnjFQmIjJ7Buy8ZgBvjFzA480c84hGjQ+8dAoQWc0EIMBUcIgk0b0BcdwOHes973rNX3BiQdIw4z8rnQf1dgiQYSiY4P0QT4I046R3fTdtpEKPam1V8BM0MQBr6ia+sWCdIC2vfu/TfzAPzBSXrBNmELLM2daiZj8AICAAeKr8Zw7zi88DT+wVBqUMH4QpwZCSfZCBIEGbApyTbGgJgotKK5M0a5iaBYX/ABVnAr+orO4nDsq9whSukiNzlttywPfqUCCLNrUWEjGTF/69ql9F9E8pxHhkAyF9L0kIGMC/x1f2jWzLjcG6kOB/F5vjG6aGv9OysBe9PxVenYe9AtvKRiEhn3vg7X+mAVLHIekE+SbYlp70jPuG+zlfutkUcRrznZ/gU/0WeZ5wTE7FdDPKH3xR/rM34oEHmNjfdZ+xcl43uAlVzSTSinJ/WVYFEzDio3txgJH5ynnzCMXy4d6arwvbArGRGXOC7xABJrvuKC+QoPmR8IS3WNRymC1rMic/WK86xhUc/+tGjz9b1kEHykolIW2ULrln0NdYWO4wzjLwrpAXfZc2LPRJA8+U3M7ZBxfMpHknakY78pXjEp4lRfN2d7nSn8eiBjG2r4qo1YVuj7WpBEETMYCfkKjJZP70Dxnzta1/77bMJ/d15hfw2XG0rmFiBiMrwLfw/7LLXV+4y/csiHZHPB/gABj3r2MpaM1FUZRe6bfkTmNa7JCMLj5kXG9ddisBSaLAuHFsi1inIiYcKaFlbFNmXWDN/fzr46ZI8xFbGNst4b3C0opW8z9qhP7EdnmH3GYRWyJJHijPRHcZPs3e5pf8fBtVdlfkOe2249fdFNLVqrn63Uw0wetVG1Zyo7iKAdCAAANoeAceMrV6ctu1r7gmw6QIA2iQRwJOKNWckyVfV7h0SMoBXwk7e3LGocmH2ESTOB+kdHDdHanuZYCGBBqSQBbaSCVIqapIz1db9Nqwf555ok83o+gHGEJ2AoQSJfgMMC0zWrjZnQUQ3R2810hlGEj7PDrRYF6qSAChiS4UEcYJ4ytjesuz9m6e5q8CyTcRrRmWQPXg/tvAAoJGwA2vAFPtkm4JwxlC9ZdfAO/+iCsrG6di2OcSJ93hGtQXEJBBviwRfIsnW4XOb29xmTGoAHsAtg2ySlOkWIfPe9773mOQCqLoa+BNbNNifD0lYq70D6FQZZ1e2F8/JFrKQynw44NY7rHdbEflo68GalGgj8cQCtoggMfdt2l7vPFp/Ly6KFZKLDKIwuoX5RERPdPnFQdkIRDbI/iTcvUkFO3A/xJK4h+wxdFF4b7qmo6siixxZpGskBuKAj1NA4st7vgwVMiQtcIk5InRjy5pt+damGI+syCKbdFnzjxJPRbfwK2xdlxPSCZGRQbq2rtme34k3un7ECHFHpxsM5sMezv1BXiuwZBAHiptiuAQaUce32TbLr/Ffust14OjYynh/SHId7Lr5nNM3JzoVdG0FRgRlFFnEBsSW+1mbcLt1b/3bJg+z6GJBXmR9Qr7n3Wf/ViFX/DDHjFiroIEA5KfEo9j2GFtK+QAdY2RZP70kCd+BdBFHvR+EoIKDWMBnWpfmZkfGNjtxxAi24Tl0wtJBRpEF7kPwyCv5q9g2xw78gV3MrVePsa7ghziuhF+BdeUIMLRc03rhP7OaNbLX8yb3K6JpE23Vtf9LA5ymRAUJs2hwgAHkelUnUQfegTOBnzPlaABVYB8TrVoiCegd7qfagp0XaAEMf/cHsFJxlVyrvvq0be8QIFRadS1pRZ23ntrCJknkcI444ohecePvvTuBSvD3GWIJqECv0wCBADwB3Rlg272RI8itZUMCAXBkAJpVClIxk/iaK0ef0ZEGIALb1iSygm5VqIP0NHey4uB1Oo7DU1tepm1Jgh5ShBzvcUo0sQPJNxIxI5lf9YzWigCtcwR5kJFcA8AAhKqmOUbAJwtwYgveI0IjYwjmiFwt6EgY95dYIJokhJ5FkibwZw1+Szfhsu2Itu9kbcs1H9uFJHzIAVs8VcwlNeal4wewyjivTPLAhwFL3p33Za0CpgoBziyLrZ1Aau/gq5EHfLQEZp7wsT1n/fAtGee2WIOKG74GZ5uvrSxIVoSB+OCwVwd5OhcqoxKJsPOOlm29oj8EjG1mWZXkZe8EISkxpXOVZElH77AuxTdbfcUJNh8HjSOZkNfWk/dr/aim95w/p0NSohIdWeFD+GO+WxcHf4OEzega2ct3IrhVsBEzGecYwSNiOmxkK1QkYDAGjKQI4d8k+hlDYsanSDD5FHo1F3/oWfLp/7N9NWvwV7oIYcJFQ1dQxhct3dtZebo1/BdGgRsQdc5DQ2Dzb+baWzwiy3lvSCz39/z+Dj/z04ggxT9xSlzIiOvmxUeL2zqF5wk0TIG4ZHcZX0flO2FqhBZ59Gk+iFG+ReFIAVein9HdF4dz81fLRhzOnbE1cNX6VriCxxAV9J2xTRamRDyKM7p/Yi7yhCDTbTOld36PDfYQoghAa917IsPfg2hCkot5iET/nkGa7+U7FQvYCtyScZYSshxmt97hl1iDCsXySjtLxIusw7ltD9XRx5cg5tgDf0I2fy0eINSy5GX535b7FNHUorX6zZjoAdeSL9UIRgGAA7yAI0eHGAK6MwYjVz0SmCSzgD6SQMLGkaooA4vLErdNnkG7pmRM4gmc+bvkHYgT7AFiyZIEX5KTMRBoEkLggl6jdRhoRHapJEvYMogfz0tncb6WoODv5hl7rzm+qbPtmaO1EId4LroPRyoAA1QZX1XirAWGRcRAnF+haojYy6gMWovHHXfcCDzjbCZVJIBe1RMZi4gCECWl1qx33fougQdrQpKLeJwSTWzRlkjJNbnO59jmEAgFX+uWzjMAKVsDSIF74Gk6ED/+TQcg4JbxWWlEErtGLEnMfH0uiCYJLl2rzmd9dY6flEBL+iTNZLC7+OKjtaNFXVW7d6iQeX5gybYg/gTBBSgCvN6fvwM5QFvvQMKrwntPCFV/tz7YnQIBW2En/BtA1zvc17tBrFr7qv9RDQfukeX+f8ln1tkREmh/AHx/ptsXJGuSlqyKrnVorVifi0ZsHzfvjG3Atl3xZcjj+TBPa1Ncl2RkAGDxE3mFSPMu2R+SFW5gE9au7hHvVJWXT5VgtA4FIp3DEiaxZko0WbM6cmAYsagnKVvn+XSGmadOOMRdRpeDLgNnWiHK5kRnEAu6SDJIXnMMEgn2Evv8N4gm7y+2gGR9dU4cRQbCS8gdxRs2wJ+Jq3CEA5kzClbuxw/zizqH/d16RaohgvgXvs7fM7r72ACyHJkq4YWbyEbEIGaQ5mKQTmXEU+9gb7YBwwn8h3UYBIH4Cu+av46VLOIgtrLFdrXYls+3kMGnZHSn0A2C+uijj154TqB/R8SatzWa0UGl2CbGLiJAYW2x3npBLGR0xYifiArbc71L97RevDPPAmOaX3xcBUnaQ9KLCzojYXm4eUo06ehnI57HtvKMIsuq9W3dwoc6363bDH0qLPDJ/Mmc6JRT6Dqiy4y1Ym7wiEJSYPQp0cRXKyDJpTPibK+v6P19EU29GjyT/l6CAhBq55W0C4pxZoVkBlnCkUsGMwYH5/4MXSDy9yCaBCkOAgiNAyl7ZdpyYW6SJZXbILI4NQSB6jXw1HJmkgqLQKBlOYZAIeEUeKfBFhttPeIAACAASURBVPj1b6o8qgVZXQ69+tnk9+YQn/6e/k7wRVAgRoBG26EyKhNAqORZ51IMgcjWCCSlhB548veMypnk2TkxOpsEefclX6efZN7aQcRKAhChCEPdFa1bv5xlYm5ADYBLdwgsXSm6AOjUOgGAM+Yn+bRHXWfFfHi3ArS1rDqaARJVrBG5QNIiQC3hBITZQ0YHFfJa9Vay54DJKdHEz0h2ka6IkoyBFJEwSSiATkSXdYEUQXADUXyrCmHvkLwAYxIx8/N3cw2iyZq1HqPDqVceX2VuyFDrL8A1GdanM1388e74802H51cA4DNi8P9sIs4EjDXPv0heJG10LQk9ow3xgO9cdDi3c/3YCkLSnwxw771JUPiTGNYKnwn4SrB1HAHJGb5F4q47RTXZeidfl48DiMUClXrkha0fCDdgnG9rJWUQn/wmHyIGWE/mgZjg58wVKanjJ2N+dKmbQCI2H9Yn/40YyfqqHgzkXmxvTnayTUk13KTTKGPAR5HgWiNTosnadBSAuEDXGUNM4Ksk2dajbmxzVoSMrc5ZHT9RPJHQWvP+bj5BNFkviIPoQOqdn1iKeJTQWv/WumSe/bM7ZLM5u6alwMK2xABdSjH4Fb6Tn5yeVaToKAF2vhZ76CEoevXS+nt4etH5aHyKmA7j2/aMyM6wdeS8Ypv8JwbcoPsMMQPzyYmySDs2IH6zQTgJjnnoQx865hbWKSwjLpAn1vJ78pfWIoiilS8vBqEMg1qXOmnhXX4HCZzRrfX/tXe3OY7jyBZA522p//V2ew3d65uHUzMxIATakqmQnVZdAoUqlzNF8ZIMRtz4IPzYjnSXKnI+rgPrkxyDd1d/IoyQuRy42/VAdvpewENXf/BiE5Av9t5INCF/OUGsqasdHqv765XfC9H0Clr52f8hQHESsigVguDymSJPeFOgED+MTxu3owmttSk9UwjoSDQ5OCgZDmIey47mgJKihFDTr8+MXwYLw8ZYKclIhVebA5A3TLTU0UbYILw6Ctrq0xwRmoxeWG4br7wxEoJXNu8hwoNxb247PJFF2o23VTg4GKJ1nXxnAUhEk4OWMsbbrh+EqIPYIU+BdHghJnlgGeKIwzPpBAwmZGcVBYejNSICiMezq+aHuUeUSRkdowWtDwSXMUshIgu6FCiKsPXg2Vsi17gpidaMiLWOKBUkOWPQ/kb+IevMKcNXtJj9TiHtuD4ent6fIU9JYqTBVlQOeSIKgCzjQeNBPNsYKRQWRobn2Rsj0STyjcykiHbccud9Ge9kJ3KVYgtfUSvGVSl11uhKtB1PH+VL7ZQjzb5HSniPjigAffIyiooReSeyd9vsQQZ3R4TRozFWBCrCzfmHOOhInbPWnU9V70P/dTU4uWa9PrpW/sh8bH/Gmvf+5CYySf9kmvGZ60rHMjb/zzD2s6vFgj2XF5ki7+yzzzXr0t53vktH6fCQe64znrE0pj4yOslOpIHoo86boRh65BcjdLv+RFCSOfSZLj2C3BK1S86IEBPR4Dwgu8lT/TjXRRV2NGemte5v6xERgvhRZJmDSTqRsSPqzzZnjbXGWEfQ0XFHogkhSj9E3nQ4PLwvOU12Wov2g7NQ/TxOHhhyaFkzK2ctOYyMeJRyuMULvvp0DnakdXq+/Ub/of/ObhMzb3SXLmN+tgbIAOSF6EXECaw7UufIJrJzLPxPdtYtheykDkdcjck6R145u8mvSi+2ZkUN+9vY6IX2vEhDhO9qzR+4WZ/WIDLL2ecsEOGD7BXp2uW8NUZ6C4fiuE7ITPvC33WxQQdJqD/7HDlHN9lixFHmfejcHTqn/jg7zJFoRfoJAlkUIUccHZGspkd0nUVn5eGZ3w/RdAa93/h3HVoMZ+GYNr3PNr56JzwEDhLKQClyZ6FC9DDmsfeEK+8ZQ9NnhrDoERuzow6Hd62CzhXS63OF+foeUXEmtaxuxDiKSyn7HRE/+lQvyeFDeaIYbpuoKoc+b+TVDYkozJmXbqV2kXlh/PEkKQzokKBMUQKfNcoaA2aFLByf6/0Z7zCjdGq8n4wZipq1a2z2BwLKoSW8+Ewh8lqPFKYx2sGhRLFY9VrN8DpifHYehowW60EEA6PPQawpEo64ZigioBgcHUoGxbCMT4a7PeH/EBTCwaUnVi2Ejr1ACTQOUWKMTp9FMomg1Cc5hpBk1Jxt1gkjpdJNpAWRyebLmmR8ImBEa53dB/WusCPfzA155XPdKub/7E9/VuauUn5HImQPo3qPjogfxifSTAoLD+esjo+IBIq3+mlXN1EjCooy8q3RVxvZRE7ChqwyVz4jK541yrZz/6zSLeIHCcMIqltjkbrWDQODl7eIJZdXkEVnb6UyRs+2JuvSBmuEzOy+qWlmfFahc5gbZ6fxiZgQgcIIREhUejYdCTmKNDhb52pcF/BD+iIBGWHO4Yoe5qRCAjEMu8ZIH2GUMQqRAyIjybTSG6TyiSLuIM3JGueQCEqRKHQFslS0m/IJHJuMQ+d4xyUYcK1bJmtd+Ozcqxuw6BirOqB17znbGxCf7XPz1rVGOU+QI9YLG2FG7ohSEaXWUdJgTxaS4faJqLEVIs3vOkuR3n6fk8hnhM+z5mftidV5rGcjIDmfrf1af4glhA8SvYgmZy1bjNxkH60STfqt7ARjtD+0OtPJzpUz/RFWpdtWP36uHMXWJXnd2R/HEczsbzKm5gfxi/By7lubXbo1HQbZhFyyJ6wfewJJL/qMfX2HaKb/rpH/+/X3v8fZ3Nuh+f63R4CQFQVQtTYY+QQcRUMkjNoSVYCyAyzLs25f40lisBN2FFFGuzx2QrTT4O1475/4DAJNugLW3J9ZWHQZZyues1fGzJvN84mU4UlYSRdCElgTIh0Y7wwunxkxe01UBUVRyPHqjUYUQdFLCnnyLnkO4w9hQfEVNUKxskZ5gEXrIEiF4682ewGZxtClZNh3vEwIDAYGHLuU3/EdGWhCqBmiVZttdQzPfs94eD6tz4q4c/Dz/lNWu72eo/FZinjtgW7jU7SnNWGdIrIq5N58IXtEO5Gh0jA7WkWYIualW/GYGRtll+JEAZ2Fi3f0fbdnuLSBM4XhaW/P6idQhruuWH+GH7nHy4r8QnDPHAZ7+CM4pbkbB6MZ8YSUdH4/a9aPc0M0C0Nn1XipG1ytUWkYxkThJ0cZpuQAYkTEiNRqZz3i94wCjtiyxxl85onTBflPppIr9uUV555zglNCg90V8hkxgQyRhouErELICGxGvDOWDO0ifoylUlfHq8g9H4b+dPbF2QhDRBOiHCkv1ZjBXWnjHBQdFxsYmzGJ0iI7pcpZI3RM/dlzMIVtp8G7t2e/9XuRffQk9c/IqhnR4v+smavxFJ2NkBXB4n04DV5tdFZpr+Sf6ChkhM9k1p7s5IQQySyCf9UBgjimR9Ih6GL0Cnve3qfP0i/pnMhFkYX2jlTd1f6MSQaLaDNEoH3NUUWfpUtUOmvnfi8cnXEyMOw10aBnxvBobpxB9ro55OgrPRDBLGWX7Fy1EZ71SUaPjjP4ddZ5fHVdX/HziWi6AtXf4JmUC0KHgkao+cyItiEJBBFHogO60k1AWlEcIh7KE+n/qwBrJ8nk+fKf1U+pK5jHaaVYi7TgUeto+iPcYAbXbaNYU546CugSbIqLM3YZKlccDOP7I0REZ8xuIKzi3EKYeQ5XPFmUP4aRdScKC/ki5YlRuNcYNgwNER2r0XDGULehIUa8D0UCaQBjZKw/vBYUKNEH0ohWiwoiCigN1idizX5QK4LHxbq0D3h1KVJdDbHsEKbE8No5hB268sz11aXY1/tWahCvlvWDtDOvdQ16Z+pjF0ZHn2P/UQitEx40BiglnIFvbqWBKGKK/Olq7zQGzZn9h/ic3ZYmyoKHlYLc0fSHMJEWYh9um33IO9hRo4mxSbl2rpH/VxtEjAcpjzyf22YPUvp5tp27K8SF6CVrkZfWHqbw+uws2mtkrqgmtTRWo7esS5EwZBdyHgFDdyBjyDXngZQoJILv6BrSpVZxJ+vJSmQSskKqPwILQW8diYhFVKzWz5thJtrb+Sfq1Vg0e0D/6vtwQnQ2mMKOceaMcL4zBBlp7yBAO8eyfZZ1wMC3l5E9dQsxAgMp5DwUobJaw2v27lXHyN4of7wz1lnbfQ45E4yF86EuZhnfCbmGGOm4dMNz67Zh0VnOoW2zNhFqHTWapGjTbRWq70qlfLbW6CsiQ+y/bbNHjAnZg5BZiS4Stc5xg7wRBUNm+QzTvSaKmS4vQm9VD7QepR4jW43Re5CXzl4kOucB+cYhL52b/DmDuzNWVKlLdBD/+rHXyBc6migg9ssKafcIL7YXB4izxjjIfWuf3SVa8ozD4dFep58JnODgNBZnAuLnHQTo3rr51u9DNH3rzP2A96bo2vy12SvMt27kIehWmWcEAGEiSoRQozQxJAi2dzQKGiMQeTG7KteYEQa8qx2NUFMHQH8Od0qTGhWMTR48kTcU4I7aCpQlHh0hmxSz7c1eHeMZn0E5lGKJHKk2FudGHlDsV/O7xzTHUvwqBH1vLOZZ5IwIBekbq63qQlVIsXXv3+P1pEgn/48Mc3itGkuMT0oDg4uCw4Mt3YTiLaWMgkXhQeyt3mw34kABNX88PRTdSmVjzKiVJCrNOupYmzP8a34r5WR1jur3GJu8ga80nseugraV/lUk60ig+7c1TL6sEMCU3EoJQFaZG8oaIqGrRtEebva59VC1ybY/b5+LpEIudzTpLdam/ebZSFFKIeUQ0YUMrYKpZ/ujgFLsK022W9Hdvp+UJ8r7WIi/inMzlBgXUodWi3OPaY5kcq3NI+k1CCnkOdl95jp5BhOSx9+1x8lNn5HZ+mDESUnUzxmvsihXc4jkIYMZavQKRp+i8fYM0sznM/3UPCJCEFlkv+iJKuLsbEcemj+GVMd19du1Yy5rHuG6et6MzxW1Mavp+GxfiU7rItPKAVG1wnx2DlUdl0obXxmrSBSkLb0TkcV4pifRj2Ypsmdlyez3kbaINMb0jICgC3vHLieEaEHO4iImEPX0MeeGtcuJhNhaSS3bjo8eqz+ZD/SWTsfwDEsOAQTvGGFUxbkRCOSWOmar0YulY9btoyVLjyQHcTTSq8iZFedqjdeZR3bqG572OQLMM31G4uvHWSs1+QzmorbIK7LT+Yckpz8j62AgXZXu0XWrHhuQ081aHNPIrFE6O13Xn476WjPZaX67dE7Ph9OsLtkzOWL/rZCgV8imM88M0XQGvd/od3l1GCwWPaPcZ0rwzAsywkKIr4T0I1woKIxCQsxnXnCh9lc3igtj3TWedSParM8K8z37Pg4KCpyIBgcjLzFDmAeB9wCxIJKEscRo6mi8ZRRs3l3ExzYFhMLGMD2T3lXvWcrh9uaksVZFFUzsGNsrz7B+HWjG3+G1G/s27lHpqPDYUgheec/xZ0VqycEXxcBA4R0TeScijAJn3SCiFEbtKEisACQFAmklfLiUFWOjxNkjDHoHaVczL0gsa18f29skKTMUnRXvGUX+aCQiY5NBqh7UKqnMqORx5GUXho14FaG1V8sBaaLvVxolTHQU2WSuSilDTsDr6qY/0SmUQ/JqNj9VD6dDgRIBpjgpjCnCFG5EF+woxPYJ0oKx5Nw626x561LkIqUR+bFt5gz500HyUnb1M0bw6q9qVZSRs2JYn8XCvrSWjbMzgsR7jemrxl7Oq7OFyKX7O985kch8hoo9zsBn3Fu7+pAW2VGzzBlLl+AU4Jgq8tg6ItOkLXJwrNQmfDR/dCURWta9f9sb1RhlzgXrc6Vx9DHyjjTrwl7g0EKyrTTkBFkiIguZ6rN1t1ejzV5/taA0XdP6qFvmfLbPReB0RuY/wkF/Cqc7a6TkzQzoullzxQmx7Ve0ixv6rHUkgTNJiiDj1jlV+qbvO/a3PS3NEVGPMJ6RV/6fvdBB4FsjYy0h469ap5UW34HjyrquSCOEYVfNn3oPstL4/KFzl/Pq7Fil2LPJlGVA1rNFRIxxkJsvf6tNuFqsfoujc52DhR02nqXWkbpJ9BuReB0kaPUtYlmfZCaSeZQz5A/n7Sqxhawmy440ZK+1IbpxNS39SD/v+pkQTe9C+sv7obTw6iNBGJ6Mc56/PfaesKOwOcBf8WA79Ag1QkskAWWbJ2SMitlCakPOFP9XoUf8CF0WxUHROCug9/pnVCOapLMhmijCPqtVQbAResKOeQ+kDnQ0+PKkGuMs/FsElUODkH+1Ec68gTxiFXbqszXzrDlwKTjv8h56l5EMOjPPlb736FYXIcuMG17zs42SYl3y8sNXIXzrnneekYSkFOUh5aYDS8SVAw+xpUbK2ODHa+Z7qXpV0PfMGEUvIoNEacGVYrE1tF3/TKaskINkSdUu8Z7ICnUGGH4KclfUAYMGjkgi9ZJWvciiKJBUQr1FaCIFeXb3ZKf1KL1MdNBRuSaah7EsgoLBxEDg2bXHHxWf9519t3qT1zjXsER8ksXIvKsJEOeStULZhK+50r8zh2LMOUJ2Wpe8omcb2WytSCFArs48xOaMAo70fbV5PjlZNz75fZ/3inMjS5zNKzf5vfqO9fMlO8uoWX2OfadOHyfSjHy113m2z3j+692cqfYjnCj96qGRW4x7mIs+snYQKmcLnevTXvRca297KyC5JoLKHmWkdRhM0g/JMDLb8+tPjR+5Zv2u3nhahanreaKbyCfEFX2h5kiKlD0i+hVRs0pUwAVRZ08jX8yTz3vNOUjmIk2OyjUkuTE4q/XlnKgbOR/dhsvAdl6spK1uxyBdlbNIlIvIkatlJ0PaeYTcEg3tM30TbnR7Rrx9CcOOW/XsN8QuotI+n+lbHAL244re4vkw9LuICWvV5z2HDmcIIrOb8Hm2RsdIw721/Ox7KWVsImt3qyP5PXqGc6hjbByKot+kWFsbSGxRmXQwa1UUIJ0TWXgmcqrGay8i4ZW02EadGasIeg4CBH6H0+rvv//+5YyjQ1UU/aijiTAk71ZTHeu5NT6y2jnD5pN2WNk/iC77xP+Tn2fskjNrq/N3QzR1onnjZ1VKBuXLQUioi3LYy0d2WAt9pyhjoY82ETcMCIof5duGRwA9Y5MZEyIgOhohithC7FydcuIgRGwRLA52nwlwSoe/Ya14N6WYcX22eT5yQAg27+asvoaDiYd3xbhmgFEyER6UUN5Mxbmtl2fNYcVgEokguqsjdeEsVkd+3/pEMDnUHQrSBBTMtlYpovBwCCuc25GmWOsDtgxpBz98RS/x+FIIHMTqTnUoq4gKygyiaRadaO1at+oNdERQkRMi+JBoj6KWzqSXbeeUlxWxixixF8aoA0SGvUcJ4EFbaRR4JDJlHgnhs/6sm2eN15A8o4SIfDjSyEmKijRbfRpLeeUeKWMURbKuo/6b/pFzbr9ioPDMXdmQ8AhWxJaIJp+tHZ+Rg+Q4I5Us60i75mRBvtuDjPWZjEJUOItWjE91L8y1uapCrmShPbYnOxFN5pFx/i1eUCQTOeWssN/rJjjGIlmGoKB0M/w7SDRnqXMWUU8nIbPVoDFnsBcBpy9Org7ZySvPqORkMD/bRm47IxBRHRFUSALnjUgVZMXWwDQm51KHYWYs5k7kkIgshE5h5vwh5+CJ4F51sCCV7GFRFAgdnz13Gx29xZVTjiFHFhytt2WeRIPaf5w5mn6e3brmPETWrETtb99Z/0gfUeQi4DrW+zOZgZTXHzmJHPCZc4KDBznhHKazkaurNdjG/qXaIpEQx7O16WfJzdUb2ch5KdSwIwedf4jcWd2+8b2ckSLDnSPO6NVyH1eec7NnI5k4V5x59Er7BFmN7KUDICnoiI8Kr7/6vpxI5CXdBWYIa8EDSCAOa+e+iLgOOebdkMrOWNF2s/RGMtX4BSN0yDMYIq2KnN7Kf59XU9RnWMOO/SWjZBwffc15L0OA/PyWs3xHP8mtc69uuN/x56uOiLFTXiodag8LPyfygrA4UmC0nlf9YYGFFJfnTG7zrBF8BGxXiLOIB3VuKIqUzm1qGcGAgPrzzz/3IDj0vfEJMcfQixqhTPEEOiwo26JWhDBTDM425CCFjYENz9nBWl7qFTYdSUhJYUQQojyEPlPk9xolWWoKheGqmj977/Dq98gIKYgUNe/t4Ee8MG4RC7yilAJGxVHv6t47OIyqKP5IuogG8j4MtZW0slm/9p91wku4LTBuf/rO+ETqdEQBUEitT8QWBbfD4HuGJ2LOwU6p3q53cohCJRWFcbrSKvXHs3n6jtYPY3joU3SAdIOjrQp/i4Sxl4ytaijMnoEQYcR1rU2Kvf1Ahs1u8CKnGVMdXnLzw8vqjBHBxJhnMFB8GUsIX3uC8kgWnW1kmGgxERwibWdrs+rhrKxbMsR8eQYC2RoQhcOI2GvejZLvDGEwfUPjTOJMQUYYL1mCxPO5Lljg0ebZXsFzi0HpLZVSUzejeTZiC9El8miFJJzh/c8///yS/4yibY03c40YYigheTsMikpd8XdHVMHeGlJrjWGPaNrODznke2NfjaByzo31Z3yeRW5s39PPWDP2PeLwaKvC3+rckF8cSObtUdotw953XesFkU2HqLTDrW6GuOd4WI0QG3GAK1lBlpWOa75gTI92DiN/EVEdxccREXBFgiKTHunxKzqnZ9FTOFDJPrJf1L7PdJS95gyxZ6yXDmz3+uv4ni7GGWV+yP26BZE8YS/QZ/x5hPWr71D10IrkZROVjLFXOF04rbqIOhcViZyiS2zTYNkWSCFnB+fm6poZMbCXBUXQgzqet4evMSG0ZxFS9iD93Rkxu9l279k/7ftENP20Gbnh+zCIeZcckCuN0kDp5NnlPZq1M8TI7HkMFIKcl2RWP4hi4VAmDDuaMF/GLMHiwPOZgirqyPgp26KZOsLrHRSMGXjqo4McGDGosNNSEM1NGdt7WDGO1Rdi+FJQv6E5LET8UAKRgT4LDxcNxmCiADF8kZIdxu4zTLrSWcY+GF/mRHQhBbRu70LGWrO8xzyIiNEOY5AyKoyZwvgOstFcUYKNYVsDzdjIHAd/RzThq+uZ8Yu4fZS68ex59h8vJAJC1MSjYubmrKtYsPdhoPAk63dm7DJa1P/gPe9oyGlENmXb/JGhokERhGSbSDQGREeEJNLPWkGSiRzqblWM23MLuzK29/oi00W9MjRWa/Ds9dH9Pa+t9V0RP6KNkEBVIwk5j4AhWzpS5/b2i+87jQxGrkhWZKEzvIpiMxA5ehg1og4Qsh3Nmc6AESHV5Wh49l4cX+aHkbutJ6eWoDQ+ZJqIpHc30aAM3xWdib6CvCbLnHePIrvPkMozPKx/EZP03dk6FHnE6dBFJCO2yGnnLIegSFTyUq0aBIUzj7OzI/VKOieZTPZ31Mvb4lfFuOGG7ChZupei7jnSaTkkRMh01NZ7x1pH2CEIzZ3zHVmN9BXB5+xAtJrLrvnbk51nU6i3z1e6wN4zFtFNVbfL+c45SLeWqtdlvyDD4cVOfQdJL6BAfxyq24gsN/bKECCDVmtCvWMNHu0jRNNRpPJzpxCoYp6rD3FYUEA7vH5771BEDENIqOjsUCeIGExVz2XvmXvfj+RMRYxV1EoZHQRthyHveRQZYa5llHUJ671x7n2PvEA2Ea4r9Xf2nn/F9wxdEUwahdtnxJN1xMiQ3sZj5mB5VCfnivfqfKZ6W0hJinAV5nY4Cjmn8DBsXi2++uj9ENNqPokGELbfZYQ96o+yreg+soKSVpE2yGaeQYorr6GozHe3Ig5Xjd9StsmNdyhPUpOQPAxr5MDMm4rwITe7Quy3Y6yzQtp2FR4nUztkJ2MGaSwtw5pHHvyUhlSUDsaw/havPAJbBCYiQtqMzyKf1WQSzSgFm+4gWq0r4u6d82UtGg+vvLGpVag5y0VwOS+klncZE/riEBDRIVV0tZ7IUYyk0YjAIZ8QnEXqkKnSIaXMqVd2xa16e+9or54xfou4OHt5x9571vfOG85LeiXyYJY6VxFUXVEO2zH67PytGyCt065zwz5Gqjoj6EVdkTZH8X32cxxK7AvYr95C1/EerzxD2ipy1znE8Q1bJFnVl0OckJvOqHfYTa+8+5GfJTsRnshzkUt1Yxv9AYkmpRoBvKobbd+Bk4bOIqqWo6YrMuvRWDlZpMcjtpwF1Z/sANk0ggzI8o60wCN4X/kzIZquRDfP/koEkB0UKOSAiKZHAqciAb5tkMbH+60WgYgUh9DWCKPk8NgT8u9uZxXEd7+vA9DBoJYPD6CDT60HBjdPvRBukSnq5nTc4vfu8emvjHlj5WniaZGeRzFjxHfeGigMG3YMFREBs/0nJZHnt+PabOtNFNpff/31a79X0XrKm/niWVJXokvh/sT8vatPJCtFjYFSNctmfXdGUL1rbPoRnYg0QIQiX2drQkg/BfLdUUVXRDNeja2UcXUokMmIXIYF0tf6YUSJbJSWJSqm4yaqq8czez75wungj/EytI0NaUB2dho0ahJxINmH2oxclU7DUOtoCAn1YBhNUkpFhWiiqdQgMW9qn3QZgx3v/FOfIZJX+QRRDmTHbO6+VeeEuegwGQCcEEVkbedCnUSRxSvFwM/Ma1dx7jPv8Orv0t1Ft4nqke4rzROpy5lJx3cOs2NEoXfKmFff88zPmxcEINmJCEK6cEA4C8jOTrkik4QMg92j59Llu8h7Y+JMFbWrxEGlBHOwI5xl1HSl5J6Zg47fDdHUgWKecSsEbHjKk2gKBMLVRRnfDR7B7YYfhvyjege8OiK5Xrkp8N3j+En98coLDRcNo/iiz24coggISadwUyC/9cAfsWbQFhnYedBXH7yLDnyE1qOwdwSXNMSuqJjRGByvVjdfRaT9pPX2U9+FkubmIqlBPK5dkRo/ZbwUTcXxrdFHa1MKLQ/l1YXQfwomZ97DXlOPrWpSidRA0otkQupJoXM76krq6Jn3uup3jde6uYpoZWw625+lC7lso+NSisKIDsEBgTyowR86PwAABc1JREFUfhEijMJuY/CqefkJz0XSMXY5NkSh3CGSYcRV/Ruys8jIGeZ0J7KzI835J8zple9g36khSw8iH+05UU2IZA46Fxm5xe8u9kvZKlfp0Eh6JUueyU6ReJ3RYWQme2y0w5wN9v63RNYdWeMhmo6glJ/57RBgKCkqK00IWXAXYT0qh3tFNat48W83+QsDroifsT4A5buu8aVwd9Q5WHi1r/sVxpi1+ezAr1SwjnSorwPoh7+w2ihqcQhrp+jeiWw6ujYpw1eQsD986pder25FhJn9zNNLbsK6FO5geQzaI/W83pUKduyN81OFgPNOCr6oWrdRSam8E9l0pE5n6U8514/tCzomuVnkC7np/6wlhIj1EyyPY7n3k9Hh9xCafx+iaQ23/NaNESCsRae45lW+7Cy1TEijkH5RK2lBIAgEgSDwr1/pZGoYiWpSL2am6Ir0cduR+hFpQSAIBIEg8K9f6dsunlCyQYH8WeTGH3/88Ss9X73HtCAQBILANyAQoukbZinv+FYEeATky8tvfhT1g9kWrvqJAsFvBSOdBYEgEAQOIiAtwi1Gag5UCuL2V0WHuh2O0ZQWBIJAEAgC/7mghc6pvtajaF61i+ic765hlPkJAkEgCKwiEKJpFbn83q0RqNs4Hg2yijJelS98a3AzuCAQBG6JQNXvepaWS3YmteyW059BBYEgsIjAePPwo0cktWwR3PxaEAgCH0MgRNPHoE/HQSAIBIEgEASCQBAIAkEgCASBIBAEgkAQuBcCIZruNZ8ZTRAIAkEgCASBIBAEgkAQCAJBIAgEgSAQBD6GQIimj0GfjoNAEAgCQSAIBIEgEASCQBAIAkEgCASBIHAvBEI03Ws+M5ogEASCQBAIAkEgCASBIBAEgkAQCAJBIAh8DIEQTR+DPh0HgSAQBIJAEAgCQSAIBIEgEASCQBAIAkHgXgiEaLrXfGY0QSAIBIEgEASCQBAIAkEgCASBIBAEgkAQ+BgCIZo+Bn06DgJBIAgEgSAQBIJAEAgCQSAIBIEgEASCwL0QCNF0r/nMaIJAEAgCQSAIBIEgEASCQBAIAkEgCASBIPAxBEI0fQz6dBwEgkAQCAJBIAgEgSAQBIJAEAgCQSAIBIF7IRCi6V7zmdEEgSAQBIJAEAgCQSAIBIEgEASCQBAIAkHgYwiEaPoY9Ok4CASBIBAEgkAQCAJBIAgEgSAQBIJAEAgC90IgRNO95jOjCQJBIAgEgSAQBIJAEAgCQSAIBIEgEASCwMcQCNH0MejTcRAIAkEgCASBIBAEgkAQCAJBIAgEgSAQBO6FQIime81nRhMEgkAQCAJBIAgEgSAQBIJAEAgCQSAIBIGPIRCi6WPQp+MgEASCQBAIAkEgCASBIBAEgkAQCAJBIAjcC4EQTfeaz4wmCASBIBAEgkAQCAJBIAgEgSAQBIJAEAgCH0MgRNPHoE/HQSAIBIEgEASCQBAIAkEgCASBIBAEgkAQuBcCIZruNZ8ZTRAIAkEgCASBIBAEgkAQCAJBIAgEgSAQBD6GQIimj0GfjoNAEAgCQSAIBIEgEASCQBAIAkEgCASBIHAvBEI03Ws+M5ogEASCQBAIAkEgCASBIBAEgkAQCAJBIAh8DIEQTR+DPh0HgSAQBIJAEAgCQSAIBIEgEASCQBAIAkHgXgiEaLrXfGY0QSAIBIEgEASCQBAIAkEgCASBIBAEgkAQ+BgCIZo+Bn06DgJBIAgEgSAQBIJAEAgCQSAIBIEgEASCwL0QCNF0r/nMaIJAEAgCQSAIBIEgEASCQBAIAkEgCASBIPAxBEI0fQz6dBwEgkAQCAJBIAgEgSAQBIJAEAgCQSAIBIF7IRCi6V7zmdEEgSAQBIJAEAgCQSAIBIEgEASCQBAIAkHgYwiEaPoY9Ok4CASBIBAEgkAQCAJBIAgEgSAQBIJAEAgC90Lgf0TTvYaV0QSBIBAEgkAQCAJBIAgEgSAQBIJAEAgCQSAIfAqB/wf6Lrfij+te9QAAAABJRU5ErkJggg=="/>
          <p:cNvSpPr>
            <a:spLocks noChangeAspect="1" noChangeArrowheads="1"/>
          </p:cNvSpPr>
          <p:nvPr/>
        </p:nvSpPr>
        <p:spPr bwMode="auto">
          <a:xfrm>
            <a:off x="2286000" y="2286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AutoShape 4" descr="data:image/png;base64,iVBORw0KGgoAAAANSUhEUgAABJoAAAJWCAYAAAAQk+1zAAAgAElEQVR4XuydB3hUZfaHf1PTC0kIEIoIiAqiIqKiWNgFFcv+xS4rLii4yOIqyK6IDUFFAUURBYEVFRVFWeyoKCguoiKiWFCaSC8J6b39n/OFhABJ5s7MmStJfp9PnkTmu+eb+96bZPLOOedzlJeXl4ODBEiABEiABEiABEiABEiABEiABEiABEiABAIk4HA4HHKog6IpQII8jARIgARIgARIgARIgARIgARIgARIgARIwBCgaOKNQAIkQAIkQAIkQAIkQAIkQAIkQAIkQAIkoEKAokkFI4OQAAmQAAmQAAmQAAmQAAmQAAmQAAmQAAlQNPEeIAESIAESIAESIAESIAESIAESIAESIAESUCFA0aSCkUFIgARIgARIgARIgARIgARIgARIgARIgAQomngPkAAJkAAJkAAJkAAJkAAJkAAJkAAJkAAJqBCgaFLByCAkQAIkQAIkQAIkQAIkQAIkQAIkQAIkQAIUTbwHSIAESIAESIAESIAESIAESIAESIAESIAEVAhQNKlgZBASIAESIAESIAESIAESIAESIAESIAESIAGKJt4DJEACJEACJEACJEACJEACJEACJEACJEACKgQomlQwMggJkAAJkAAJkAAJkAAJkAAJkAAJkAAJkABFE+8BEiABEiABEiABEiABEiABEiABEiABEiABFQIUTSoYGYQESIAESIAESIAESIAESIAESIAESIAESICiifcACZAACZAACZAACZAACZAACZAACZAACZCACgGKJhWMDEICJEACJEACJEACJEACJEACJEACJEACJEDRxHuABEiABEiABEiABEiABEiABEiABEiABEhAhQBFkwpGBiEBEiABEiABEiABEiABEiABEiABEiABEqBo4j1AAiRAAiRAAiRAAiRAAiRAAiRAAiRAAiSgQoCiSQUjg5AACZAACZAACZAACZAACZAACZAACZAACVA08R4gARIgARIgARIgARIgARIgARIgARIgARJQIUDRpIKRQUiABEiABEiABEiABEiABEiABEiABEiABCiaeA+QAAmQAAmQAAmQAAmQAAmQAAmQAAmQAAmoEKBoUsHIICRAAiRAAiRAAiRAAiRAAiRAAiRAAiRAAhRNvAdIgARIgARIgARIgARIgARIgARIgARIgARUCFA0qWBkEBIgARIgARIgARIgARIgARIgARIgARIgAYom3gMkQAIkQAIkQAIkQAIkQAIkQAIkQAIkQAIqBCiaVDAyCAmQAAmQAAmQAAmQAAmQAAmQAAmQAAmQAEUT7wESIAESIAESIAESIAESIAESIAESIAESIAEVAhRNKhgZhARIgARIgARIgARIgARIgARIgARIgARIgKKJ9wAJkAAJkAAJkAAJkAAJkAAJkAAJkAAJkIAKAYomFYwMQgIkQAIkQAIkQAIkQAIkQAIkQAIkQAIkQNHEe4AESIAESIAESIAESIAESIAESIAESIAESECFAEWTCkYGIQESIAESIAESIAESIAESIAESIAESIAESoGjiPUACJEACJEACJEACJEACJEACJEACJEACJKBCgKJJBSODkAAJkAAJkAAJkAAJkAAJkAAJkAAJkAAJUDTxHiABEiABEiABEiABEiABEiABEiABEiABElAhQNGkgpFBSIAESIAESIAESIAESIAESIAESIAESIAEKJp4D5AACZAACZAACZAACZAACZAACZAACZAACagQoGhSwcggJEACJEACJEACJEACJEACJEACJEACJEACFE28B0iABEiABEiABEiABEiABEiABEiABEiABFQIUDSpYGQQEiABEiABEiABEiABEiABEiABEiABEiABiibeAyRAAiRAAiRAAiRAAiRAAiRAAiRAAiRAAioEKJpUMDIICZAACZAACZAACZAACZAACZAACZAACZAARRPvARIgARIgARIgARIgARIgARIgARIgARIgARUCFE0qGBmEBEiABEiABEiABEiABEiABEiABEiABEiAoon3AAmQAAmQAAmQAAmQAAmQAAmQAAmQAAmQgAoBiiYVjAxCAiRAAiRAAiRAAiRAAiRAAiRAAiRAAiRA0cR7gARIgARIgARIgARIgARIgARIgARIgARIQIUARZMKRgYhARIgARIgARIgARIgARIgARIgARIgARKgaOI9QAIkQAIkQAIkQAIkQAIkQAIkQAIkQAIkoEKAokkFI4OQAAmQAAmQAAmQAAmQAAmQAAmQAAmQAAlQNPEeIAESIAESIAESIAESIAESIAESIAESIAESUCFA0aSCkUFIgARIgARIgARIgARIgARIgARIgARIgAQomngPkAAJkAAJkAAJkAAJkAAJkAAJkAAJkAAJqBCgaFLBWHeQwsJCZGRkIDIyEjExMVWTy8rKsGfPHvP/DofDPCZzZNT2mPy7xCoqKoLH40FiYqKZX15ejry8PHNc9TVsOD0uQQIkQAIkQAIkQAIkQAIkQAIkQAIkQAKVfsNhPEe5mAoOVQKCND09HZ988gn+/ve/46abbsKkSZOqRNKGDRvQvXt3I5dEGt1yyy0YNWoUXC4X1q1bh9NPP9085vV6zWMjR440kql///5Yu3Yt2rdvj8WLF5vH5d+ffPJJE+fuu+9WPQ8GIwESIAESIAESIAESIAESIAESIAESIAErBJjRZIVSgHMkw2js2LHYvn074uLiEBUVVSWa9u7di3PPPdeIpb/97W/44YcfcNFFF2HevHk4/vjj0atXL/PYDTfcgDVr1uCSSy7BCy+8gOLiYrz88st45pln8MADD+Dss89G37598cYbb5h/f//99wN8tjyMBEiABEiABEiABEiABEiABEiABEiABIIjQNEUHD9LR+fm5uJf//pXlWgqLS3FypUrcdlll2HXrl0mRk5ODu666y6TzXT11VfjyiuvxI4dO8xj2dnZGDNmjPn6jDPOwOrVq41kevrpp3HMMcegS5cuRjYtXboUrVq1svScOIkESIAESIAESIAESIAESIAESIAESECPQHZBKUrLAi8WczqAmAg3TN1ZPR4UTTZcvENFk/Rskuyj6dOnG+EkQ7KfpkyZYv7/0ksvxcyZM/HVV19VPfb444/ju+++w7BhwzBjxgw89NBDmDp1qim9+/bbb3HWWWehZ8+eRlQlJyfbcFZcggRIgARIgARIgARIgARIgARIgARIoJLAnW9sxI7MQgTamKhJpBuPXd0BXrezXkOlaLLh8mmJpp9++slIpsGDB+Obb74xZXM9evTA5s2bTTPwl156yWRNiZCSz/4MOV6yqkpKSvw5jHNJgARIgARIgARIgARIgARIgARIgAQA/PutncgP5k/q8nI81q8FvK7Dc5rcbne92fiLosmGb4eaRJP0YpKMJMlGkiEZTZMnT8aPP/5oyuCkLE5kUvXHNm7caPo0yZBeTcuWLcOjjz5qsptGjBiBDz/80GRJhYWF4dZbb/XrzLKyskz/qH379vl1XKCTZXc8KQmU3lV2DClXlOsQGxtrx3Kwez0RhHIP2XF+slZ+fr5tP+TsXk++tyTrMDo62pZ7xe71ZMdK+bDr/GQtOUd/5Xeg8O1eT+4V+X6v3DE00Odt9Ti71ysoKDC7mdp1frKevPERERFhFUlQ8+xcT35uyg6z4eHhQT1nqwfbvZ78DnI6nbadn6wnWdzymseOYfd68ppFNniRDV/sGHavJ29uyrnZdX6yntwrwtSOYfd68ppafm7KH6F2DDvXk79R5HeQXecm68lrFvn5Ysewe73MzEzzGl5+Xtsx7F5PNsiSv4fsOj9ZLyomFlIpV1JabkrmyrveAETEy35rdSIO9zghH4fNKsxG2bcvAmWH26qkpCTcc889tv0sC+YeoWgKhp7FYw8VTfKHs/RTuv7667Fp0ybzw0x2p5Pm36eccgo6dOiAgQMHQnalq/6Y7EJ38803mxfhv/32G2688UbMmTMH69evx+zZs42EevXVVyFC6sEHH7T47CqmiWC67777MG3aNL+OC3Tynj178PDDD+OJJ54INIRfx0m/Kyk/FJlnx9iyZYtp2P7II4/YsZy5j5577jm/r3sgT052RHzllVdMo3s7xs8//4wFCxbg3nvvtWM505j/3XffNT3T7BjSc012ppTvfzuGlOcuX74ct99+ux3LYcWKFVi1ahWGDx9uy3oi4OWeGTp0qC3ryc9y+Vk9ZMgQW9aTnUa3bduGQYMG2bLeokWLkJqaigEDBtiy3jvvvGOya6+77jpb1lu4cKHJ5L3qqqtCvt7rr79u/lDq169fyNeSBeQNLRHKUo5vx5g7dy7kBbC8WWbHkNc/0peyT58+diyHWbNmmddnslmLHUMy2Dt37myy1+0Y8vqvW7duJlPejiHtIqTlg7SAsGPIm6m9e/dG165d7VgOEyZMMBv5SB9VO8b48eNxxRVXoFOnTnYsZ14Dyi7YHTt2DPl68ke1/M3Trl27kK8lC4wePdq0KmnTpo0t68nrP9lZPCUlxZb15PWf9P61q9WKvP4bN24cEhISbDk/ef03ceLEkL35LiJJPkrKgJKycowcdSdu+ued2J3rwO9p+fh9XyH2ZhcdVjbncABupwMup8N8drscuKBzAi7qkmj+zeoQRyAtduyS9FafV03zKJqCoefjWBFCaWlpRiKJ+BEbL38sSxaPvMMvL/4uuOACs+uclMXJDzX5g7pt27b4y1/+ggsvvNC8uJfH5JtUdpY7+eSTITvWSTNw+eUsj8sfxpLBJKJBXui1b9/exPRnUDT5Q8v3XIom34yszqBoskrK2jyKJmucrM6iaLJKyto8iiZrnKzMomiyQsn6HIom66yszKRoskLJ+hyKJuusfM2kaPJFyL/H67Nokh5LIpPkw8il0nLszirC1n2F2JxWgM2pBdiSloeyGjKXqgsl+To6zIWjEsPRJiEMbRPD0TYpAtHhLr8bflM0+Xf/NdjZ8q7sTTfdhC+++KLqHCWtVTIlRARJmdzFF19sHpN3HeWXrsglKcOQx+SdEBmS3iiPiZSSsom33noLn332mSmvkyHpq/fffz/k3VKx05I94O+gaPKXWN3zKZr0eFI06bGUSBRNujwpmnR5UjTp8aRo0mMpkSiadHlSNOnypGjS40nRpMdSIh0Joikrv8TIIn9HbmEZtuzLN1JpS1qFXMorLMWhkZwOyVCSjCWnyVbyuh1Iia8USuFonRCG5rFhkKymYAdFU7AEebztBCiadJFTNOnxpGjSY0nRpMtSolE06TKlaNLjSdGkx5KiSZelRKNo0mVK0aTHk6JJj+WRIprG/HcTtqZLD8jAzk38UOWhlSVwpgzO5UBuVhbat0oy2Ury0TYxAq2ahBnZFIpB0RQKqowZUgIUTbp4KZr0eFI06bGkaNJlSdGkz5OiSY8pRZMeS4omXZYUTfo8KZr0mFI06bH8o0TTI48+iqhoadAtJW/AHfPXI7ugNOATE7kU6XWZbKWoaiVwIpaeGD8a06ZMtG3TFIqmgC8jD/yjCFA06ZKnaNLjSdGkx5KiSZclRZM+T4omPaYUTXosKZp0WVI06fOkaNJjStGkxzKUoqlSIpVJ/6T9Qkn+7d93jsY/RvwbeeXhSM0uRmpOEVZsyqqx5O3QM60ogTvQrFvEkuQlhbkduOyUpjg6KRzNYsNQvXf34MGDzU7ydu3OS9Gke38ymg0EKJp0IVM06fGkaNJjSdGky5KiSZ8nRZMeU4omPZYUTbosKZr0eVI06TGlaNJjWZtoyswvMc21A6xkM/JHYuzOKq6SSXtzKr7emSHNuV21noTIJJcTcErpW+XX5rMDidEe06y7ogQuHK2ahPssgaNoqv1+4a5zut9L9TYaRZPupaNo0uNJ0aTHkqJJlyVFkz5PiiY9phRNeiwpmnRZUjTp86Ro0mNK0aTHsjbRdO+bm/B7WgEC6M9tnpyUstXVb6lSJok8OvTr+Eg3kmM8aBrjNWKpqXwd7UFStNenVKqJDEUTRZPud0wDjEbRpHtRKZr0eFI06bGkaNJlSdGkz5OiSY8pRZMeS4omXZYUTfo8KZr0mFI0Bc+ysqytvLwcI+8YhdF3jUF8fJOKnknlwL0LNyEjvySohWqTSZkZ6TiqRRKax4UZiZQY7Q1aJtX1RCmaKJqCupEbw8EUTbpXmaJJjydFkx5LiiZdlhRN+jwpmvSYUjTpsaRo0mVJ0aTPk6JJj2ljFE1ShlYsBijAIaVskj0kIqmktByZBaVIzy1GVn4p5r/1Hk489UwUOzzIzCtBRl6JeczKctVlkpS5OZ0V60jvpNgIN5JjJRvp4MyksXeNxORHJyA2NjbAs/HvMIomiib/7phGOJuiSfeiUzTp8aRo0mNJ0aTLkqJJnydFkx5TiiY9lhRNuiwpmvR5UjTpMW2Momns279h014pZQtMNnlcTiRFu5FXVIasgpI6y9oqr1RVryQRSI6Knknmc7X/j6tBJiVJuVsdZW5Dhw7FxIkTKZr0viUCjsQeTQGja1gH+iua5OdQYUlZwBDS0tIw7elpuP+++wOO4c+Bu3fvxuzZs3H33Xf7c1jAc3fs2IEXX3wR8svKjrFl6xbMf20+Ro0aFfLlfvvtN7z55psYMWJEyNeSBTZsWI9Fiz7Arbfeast6v/zyC5YsWYJhw4bZst5PP/2E5cuX4+abbw54Pfnl7HXJ+0m+x8qVK816t99+u+/JCjNWrFiBVatWYfjw4QrRfIdYtmwZRE7KCw07xtKlS7FhwwYMGTLEjuWwePFibNu2DYMGDbJlvUWLFiE1NRUDBgywZT2KJj3MFE16LCXSrFmz0KFDB/Tq1Us3cC3RZsyYgc6dO+Pss8+2Zb1p06ahW7du6NGjhy3rTZkyBT179kT37t1tWW/SpEno3bs3unbtast6EyZMwCWXXIIuXbrYsh5Fkx7mxiCaRt91FxKTkk1DbpFLY/67Cak5xSoQpX9SlSxyOFBUWICIiHCThVQhkyp2douLcCE+wo24SLf5HCNfh7shPZTMR4TbzPN3UDT5Syx08ymaQse2XkX2VzQVFJfhi42Z9eoc+WRJoKESkCaGXVpFWzo9iiZLmCxPomiyjMrSRIomS5gsTaJosoTJ8iSKJsuoLE2kaLKEyfIkiibLqHxObCiiqbJPksgk8yH9kcqA+8eOxYAbh6LUG4u92cVIyynC179lI1sykXzQqco4qp595ATcDodp0C0iKdztNGVt8ZEuxEd6sOSDt3HNZZegRVIMJENJPmLD3WZ+KAZFUyioBhaToikwbg3uKIqmBndJeUKNiABF04GLzYwm3RufGU16PF9//XW43W7069dPL2gdkSiadDFTNOnypGjS5UnRpMfzSBBNlT2TAqxkMxInK78Ee7KLkSofOUXYm1Px9a6MfJTCWSuwg/oiOR2Q3kiu/b2RosNciIv0mGykSmlUmX0Ut18shXucqO6QJKN93LhxSEhI0LtIdUSiaLIFs6VFKJosYWr4kyiaGv415hk2XAIUTRRNobq7KZr0yFI06bGUSHPmzEGrVq3Qp08f3cC1RKNo0sVM0aTLk6JJj+eRIJoefHcz1u/JN5lIgQwRTXVJqsNkkhFKFY22K/siJVVrsi19keTD6z5YIll5bhRNVihZnzNw4EDMnDkTXq/X+kF/0EyKpj8I/JG2LEXTkXZF+HxIwDoBiiaKJut3i38zKZr841XXbIomPZYUTbosJRp7NOkyZY8mPZ733HMPbrzxRrRr104vaB2R7BBNlWVtpj/S3ffglmH/QLNmzUxpm/zbg+/9jj1ZRUGdb20yKTMjHW2aJ6J5k/ADO7aJSIoJXCbV9UQpmoK6jIcdTNGky5PRbCBA0WQDZC5BAiEiQNFE0RSiWwsUTXpkKZr0WFI06bKkaNLnSdGkx/RIEE0ZeSUoLi2H/BfIcKCi/EyyjCROdkEp9uUVIyu/FAvf+wjHntAVZZ4IZOaVQMrm0nNLUGIhm+lQmSQNtyUrSdaSPkjJsSKPvEiUndr2i6RHxt6Fe8eMRnJyciCn4vcxFE1+I6vzAIomXZ6MZgMBiiYbIHMJEggRAYomiqYQ3VoUTYpgKZoUYbJ0ThcmM5rUeVI06SE9EkTThPd/xy+78gIuZZPd0xKjPJDNlEQySdaSryGNtaWcrVImVezkJju3wfRNks+HySQLmUmy6/CYMWMomnxdAIuPDx48GFOnTkVkZKTFI4KbRtEUHD8e/QcQoGj6A6BzSRJQIkDRRNGkdCsdFoYZTXpkKZr0WEok9mjS5cnSOV2eFE16PO0QTdVL2e67bywG3XQTUlq2RFkZzG5tjy7agh0ZhSonZXZnM9KooidSYUE+IiMi4HY5zb+JYPK4HIgNr2i8Hb+/8XaM7NgWLru5uREvX0e6zTx/B0WTv8Tqnk/RVDsf9mjSvdfqbTSKpnp76fjESQAUTRRNofo2oGjSI0vRpMeSokmXpUSjaNJlStGkx7Mm0SSlbEXS0Mh3YlDNT2S/5JHEopLScmQVlCJ9fynbW4s+Rvvju8DhjYKs418p236JVJmNVK3JdmU2UpjbidiIClkk0uizxe/hL317o03zBJOhJP8WE+4yMioUg6JJlypFE0WT7h3VAKNRNDXAi8pTajQEKJoomkJ1s1M06ZGlaNJjSdGky5KiSZ8nRZMe00rR1Pboo02PI2ld9Pjirfh5R+4fU8pWraStqrzN/JsDUWEus2tbbITLCCPJQJLMI/m3+EgX4iM8CPc4Ud0hjRo1CiNHjkRKSooetDoiUTTpYqZoomjSvaMaYDSKpgZ4UXlKjYYARRNFU6hudoomPbIUTXosKZp0WVI06fNsbKLJZBiVlAWeYOQAwj0uSIpSpUwqLy83Umny5Mdw5VVXoUnTFBSWSI+jEry6cg/2ZherXLjKUjZpoC1ZRBWlbOHwuCuyiuTf3U4nYkQemZI1F+LD3YiuVspWIZICK2WjaFK5jFVBhg4diokTJyI2NlY3cC3RKJoommy50erzIhRN9fnq8bk3dgIUTRRNofoeoGjSI0vRpMeSokmXJUWTPs/GJpoe/2gr1mzLsbRTWk20wzxOdGsTYx4SYSWlbNI4O6+oFBk5BSgpd6J6GpAUlVmpmqvseWSE0f7+R5J5ZKSSs6JPkpSyiSiSzCMRSZ9/sggX9TkPbVOSTCmb/Lv0SwpVKRtFk+73H0WTLs9gorFHUzD0GtCxFE0N6GLyVBodAYomiqZQ3fQUTXpkKZr0WFI06bKkaNLn2dBEU0WWUbkpVSstByZMeAT9rrgSbY9uh7Kyckz5eCs2pxbog9wfsXoDbcf+RtoiiSq/ls8ikirnVX6uKmUzwsh1WClbXIQHEYeUso0ePRrDhg1DmzZtQnY+1QNTNOlipmjS5RlMNIqmYOg1oGMpmhrQxeSpNDoCFE0UTaG66Sma9MhSNOmxpGjSZUnRpM/zSBBNUs4mpWZWMn9qIiBZQ5LFU45yk12UlV+KjPwSZOaV4KNPlyO5dXvAG4XM/FKk5hShqMT3SrUJI1lHHqtJGKXv24fkxHjERoYhOtwFr8tpsozC3BU9kSI9LtP3SBpoe90OiDwK8zgQHRZYFhJFk+73w/DhwzFu3DgkJCToBq4lGkWTLZgtLULRZAlTw59E0dTwrzHPsOESoGiiaArV3U3RpEeWokmPJUWTLkuKJn2eR4JoevLjbVi9NdvsqhbIcDsdZnc0kUwFxaWmX1Jdo7JMTUrTnE6Y5tiu/eVp8lk+pEwt0uu0JIxiTeNsByaMux9DBt+Edu3aBXIafh9D0eQ3sjoPoGjS5Tlw4EDMnDkTXq9XN3AIolE0hQBqfQxJ0VQfrxqfMwlUEKBoomgK1fcCRZMeWYomPZYUTbosKZr0ef4Roqnf5Veg43HHo7S0osRNdmZbtztP5eSqSyTpb1SQX9Ew2+tx7ZdJB3Zcq2yMHRdRsQObNMmOj/QgPsIFj9sJyZTyZ1TuOkfR5A+12udy1zkdjpVR2Ay8dp4UTbr3Wr2NRtFUby8dnzgJUDRVuweWLVuGn3/+GZI6bcdYunQpNmzYgCFDhtixHBYvXoxt27Zh0KBBtqxH0aSHmaJJjyVFky5LiiZ9nqESTdInqaQMVTKpRHomlZVj6rSncea5f0Zcs6PMbmxpOUX4bmsO0nKLzS5udY1DJVLFTmsVDbMrspMOkUgRbiz75H2cf95Z6Ng2JSiJZIU8RZMVStbnUDRZZ2VlJkUTRZOV+6RRz6FoatSXnydfzwkwo+nABaRo0r2ZKZr0eFI06bGkaNJlSdGkz7Mm0SQ9k6QMLbBCtornmFtYgr3ZJaYnUlpOMVJzRCoVY3dmAYrKZEbN+UIij9wuGIEkJXHVP1c2zJYd16T3kZVMpLFjx6J///7o2LGjPrxDIlI06SKmaNLlSdFE0aR7RzXAaBRNDfCi8pQaDQGKJoqmUN3sFE16ZCma9FhSNOmypGjS51mTaHp6yTZ883s2igPsmSTNsuvKTqpLJsWEu9E0xo2kaC8Soz1I2v8hX4dLOZuf9WwUTXr3DHed02MpkdgMXJdnMNFYOhcMvQZ0LEVTA7qYPJVGR4CiiaIpVDc9RZMeWYomPZYUTbosKZr0eVYXTZLBJOVtkz/cgp+25waV0VQpkw7NSsrM2IeUpHikJEYbiaQhk+qiQtGkd89QNOmxpGjSZRlsNIqmYAk2kOMpmhrIheRpNEoCFE0UTaG68Sma9MhSNOmxpGjSZUnRpMdTeihJxtLkx6eg15/6mObcUi63L7cYb65Oxca9+UY61TVqk0kelwPRYW4kxVRkJFWXSTOnTsa1V1+OTscfr3cydUSiaNLDTNGkx5KiSZdlsNEomoIl2ECOp2hqIBeSp9EoCVA0UTSF6sanaNIjS9Gkx5KiSZclRZP/PKWETYSRSKVi87kMJaXlyMwvxa7MQrzz8f8QntASpd447MoqQpF08D5kSLmaZCa5XQ54nA54XE7zdV50yp0AACAASURBVEWZ28EyyUilKA/CPTWXuY0fPx5XXHEFOnXq5P/JBHAERVMA0Go5hKJJjyVFky7LYKNRNAVLsIEcT9HUQC4kT6NREqBoomgK1Y1P0aRHlqJJjyVFky7LxiqapDl3vjTn9rUtWw24RRztyy3BjoxC7Moq3v+5CDkFpZCspkOHNN+WjCT5ELkkUinS6zRZSSnxYWgW60VKvBfNY72IDndBspr8GRRN/tCqe+7o0aMxbNgwtGnTRi9oHZEomnQxs0eTLs9golE0BUOvAR1L0dSALiZPpdERoGiiaArVTU/RpEeWokmPJUWTLsvGJJpOOvlk01C7tLwcs5ftxMrNWYE35wYO67fklCwllxMlRQWIDA9DuNdtspQSozxVMkmkUou4MCOZRDxpDIomDYoVMSia9FhKpOHDh2PcuHFISEjQDVxLNIomWzBbWoSiyRKmhj+Jokn/GpeWliIrYx+Ki4qQ3KKl/gLVIpaUFCMrfR/cHg9i4+35QR7SE2JwvwhQNFE0+XXD+DGZoskPWD6mUjTpsaRo0mV5pIgmyTDKKyoNuFm2KJsIr8vsoCYyqaysHNIOSTKMZs/+D04/oweOat8RBSVlJvPone/TsGVfQVAwwzxOhO0veRNpFBXmMllJa79djvNOPwmnHNcGzWLDEFFLyVtQi1c7mKJJiyRFkx7JikgUTbpEBw4ciJkzZ8Lr9eoGDkE0iqYQQK2PIRujaJJU6bycbKTu2Vl1yZxOF2LjmyCuSWLQlzFjXypen/M0Nm/4BQ9Nn4fSkhKk79uLstIydfG0e8c2vDr7CTRLaY1rB98W9HM/0gOIxMvOTEdmelrVU3W53IhrkoCYuCYhefpFhQWQa+oNC0d8QlJI1gg0KEUTRVOg946v4yiafBGy/jhFk3VWVmbOmTMHrVq1Qp8+faxMD3rOrFmz0KFDB/Tq1SvoWFYCzJgxA507d8bZZ59tZXrQc6ZNm4Zu3bqhR48eQceyEmDKlCno2bMnunfvXjV91rId+GJjZsAZRl63Eye0jEK424lCkUmFpcgvKkN+cSkycgpRXOaAsVD7h3xVd1vuiolOKXXb30vJK6VvpgTOCZcT6JAcibaJ4SZbqUW8F/ERbkiZXPVd56zwCHYORVOwBA8cz4wmPZYSiaJJlydFky7PBhstPz8fmzZt2v9LzIlmzZpVpRXKH9LyWFFREZxOp/l3ebysrAw7d+5ERkYG3G43jj32WHO8SJPMzEzk5OSYF17+jj9aNDnKShCWvc3fp+33/HKnB4UxFdlFhQX5+N/idzHp7lvRrGVruN0eeLxh6HLqGfjr3+8IWiYcKppSd+/ArMfHITc7Ew8+M8/v517XAY1NNKWn7cVbL8/C688/g+Yt25j7XwRQj14X4MqBwxAVHavKV4Kt+/E7PPfkg+h4wsm48bZ7ao1fVlaKnMxM5OfnoVmK/9+LgTxxiqYD1JYtW4aff/4Zkjptx1i6dCk2bNiAIUOG2LEcFi9ejG3btmHQoEG2rEfRpIeZokmPpUSiaNLlaYdokubZ5qMcePqZ6Ti1+2k46eSuFf9WVo45y3fix+25uidWLZo4Jul9JOVt5rPzkP+Xf3c6IAJKZFHlvJgIF5rFeJFc1UcpDMmxHoS5nbU+V4omvct4zz334MYbb0S7du30gtYRiaJJFzNFky5PiiZdng0ymgikd955ByNGjEBMTAwcDgcuv/xy3HXXXSYV7qeffsKAAQMgwkmE0mmnnYbJkycb8fTPf/4T3333nRFQ8kdVkyZNjGSSd79EGE2cONFvZn+0aArL2YHj3x7g9/P294CC2Db45ZI5B4mmF55+FI89/xaaNm+JbZs34K6br8a5fS/D4BH3+Rv+oPmHiiaRIwtemI683Gz8895JQcU+9ODGKpp+/PYrTH7+LRQXFeKrZYsx95lJ+L/+g3HRlfr3kmSmLZz7LNp2OA79Bvy91uuXnZmBRQvm4ruv/oeHn31N9TrXFoyiiaIpVDcaRZMeWYomPZYUTbosJVpNoqmylE3KzwIZInZE2EjaUElZuSlXy8gvNjuzLV3+NaITkhEV3xRZ+SXIzC9BRm4JisRC+Ri1CSNpdySvp40gOkQY7duXhoS4WDSJjUR0mAuS/RQb7jK7uEV6XaYxt3wtj4lAipHHvBWPSfNufwdFk7/Eap9P0aTHUiLdfvvtGDNmDJKTk3UD1xKNokkXM0WTLs8GGU2yko477jj897//NWnYIpYuvfRSPP/88zjppJPMFqUXXHAB7rzzTqSmpuL000/H3XffjRNOOAF33HEHPvjgg6r6THkn/f333zdpul999VVAvCiaKkST9FR6fc40rF/7Ax6Z+bphKVlkIg/S0/aY/5fMp8Tk5oiIjDL/LzJQSrjkWBkej9dk2WRnZRxcOlfVs6kQyS1amd5Nu3dshfRXkiEvjiSmPFZaWrI/Zrp5zOsNM2VxLrfb/L8ck566B7k52UY4yueP3pxXVTpXJqVlWfKc95r5Mic6Jg4JTZsFdH8caQdVZjRViiZ5fru3b8Frzz2FvJwc3DH+SWRl7jOZTsWFheYaxicmmUwnYZe5L83wkREWFo6kZi3gdLmQlZEOKZET1jLk+NzsLORkZ5oMt5ysTCN+4xObwmQuZWViX2rFfSHXPTo2Hpn7UrFowUtY+8Mq3H7/YwiPiETT5ikoLytHRnqqOabyPtIq9aNoOnCHMqNJ97uVokmPJ0WTHkuJxIwmXZ41iSbJMPp8XYYl+VPTsxHJFB/pNr2SsgtKjWzyNeQYEUbms2QVHfL/8m8igiK8FVLIqjB65snHccH5fdC1a1dfT0HlcYomFYwmCEWTHkuJRNGky3Pw4MGYOnUqIiMjdQPXEo2iyRbM9XcREROSkSQiaevWrYiIiDAlb5KqKWmhIpmkTn7NmjVISUlBXl6euYG/+OILk800ffp0vPTSS5g/fz6ysrJw4YUX4pZbboHUu3fp0iUgMBRNbyGpWQpSd+/Ey88+ZsTSvY//xwiKPTu34b35L+Dzxe9A+gBFREXj4qtuwJ8vuRIutwc7t23Gh/99BV8s/cD0YQoLD8eIsY+jeaujDhJNlRlOv2/8xZTO7dy6GY/fP8KICsnIkcd7nHcB/j3haezY8hs+WPgKvvz0I5SWFCMyKga33TcZx3bpaiTUpl9/xgvTHsG2zRsRGRWNlDZt4XS50a5jJ1w9aDh2bv8d781/EV8sWWTklMiRYzqdhBtvu1tNNkmjTemBUCBbAwd01/l3kLyjKE03pT/CoaJJhNCmX3/E8089Yq7j5QNuxvw5TyMvJ8v04XI4nOg34GZ0Pf0cbPz1R7z58iys++l7I4uaJrfANTf9E0cf2wmLFryM1Ss+w4PT5xlBJNlnS95bgP8tfg/9bx6BDxa+bKSUlM7t27sb785/Hh+++aqZ26JlG/Tscwm2b9mEDxa8vL90rjWO63KK4S730Vvz/oP1P68xJy7X7bSze+Oyvw4Ouq8URRNFk3/fTdZnUzRZZ+VrJkWTL0L+PU7R5B8vX7Oriyb5nS6lbDM+3Y6vNmWp/I6vzEKS3+XS26iwoADhYV6Eez3m/0UgyW5t0WFOxEW4qz6iw12IDT/w/3GRLnhdzuqtlnydmnl80qRJ6N27N0WTJVq+J40dOxb9+/dHx44dfU8OcgZFU5AADzmcokmXJ0VT7TzZDFz3XrMUTeSF9BC58sorcf/99xs5JDJJRFHz5s3xpz/9CXLT7t6928QrKCgwYunZZ5817+D94x//wGOPPYaFCxeavk0iiST98ZxzzjFCoX379vB4PJaeS+WkxiyaZk8Zj3899JTZrW3j2h/w9qvP4bqbb0fP3pcY4SRSYuX/luCBqS8gJr4Jflz1JZ4c/y+MuP9xIyeWf/weYmLjcVbvi5G2dzeef+ph7NmxDXdNfLZO0VTJXjJsflr9Nf7zxIO49qZbccIpPfDFkvfN8znzT32N/Hr+qQnYl7obD894DWl7duGl6ZPw2/q1uP/JF+ANC8PH77yOBc8/g4uuugEX9OuPBS88g1/WfIt7Hpttsm9+3/grHrv3NhzV4VjcMe5Jv+6N2ibnFZXhp+25+HVXbsDvdlp9IpK1Li88O7eMQsdmkVWiaeXypfjXg1NRVFSIH1Z9if99/C76DxmB5q3aYPbj4yAlhTeNuAfde/7ZLCUS6OXpj5mspjGTZlaIpHffwMfvvIF/PzwNe3Zux6zHH8CAW0bhjPMuMCLvrXmzkZCYjDP/fBFe+8/UKtG05psv8PKMx3DVoH/g1LP+VHUqNZXOCf+Xpk+G2+PFnROeNnNXffEppj9yNy68/K+mr1Qwg6LpAD1mNAVzJx1+LEWTHk+KJj2WEomiSYen7MhWXFqOGc/OQqcTTsRJp3RDYXE50vOKseiHNKzdmeczE0l+R1dlIDkqRFKFUDrw4XU7EBPmhogi+X3+7Zef4+TOHXHise0gPZDk32LC3QGVqVkhQdFkhZL1ORRN1ln5mjlq1CiMHDnSJBfYMSiadClTNNXOk6JJ916zHK2yR9MDDzxgjhH5lJ6ejuuvv97swlGTaJo9ezY++eQTPPLII3j33XdN9lPfvn1NdpSIJslwcrlcpvzO39RgEU1Smic1u1ZGcbkDm/MqSsc0xh/Zo0magbdofZQUr5nytcEj7jVSQcau7Vvw5LhR6HRyd/T888Xm30T0iHA4+fSz8dehd5gSuF3bf0dJcTHycnOw7MO38O2XyzDpuYU+RVN5WRm2bt6AOU8+hLiEJFNqJUPEya5tW0w2k5TFffbBm/jx2y8x/Y2lRn48M2EMup5xjpEcMqr3aDrtnD54YuxIXPbXIfjTxVeYx0V+SFbWso/exlPzPqwqwQvm2qXnluCzdenYl1sSTBjLx8oL1qMSw3DesU2qRNMbL0w3mWMyWrY5GtfdPMJkEG39bT3mzXoSCUlNMXjk/VVriIya9dgDuOjK63HsCRXp8xvW/oB35j+PKwb8HR2OPxGvP/+0KYO7edRYfL9yOWSNQf8cY7KWqoumdT99Z+RR++NOwDnn/8VkupmSyRp6NH312UeYM3UCbr3nEXTuerpZd+e23/f37MoxkiuYEe0qQYtwa1s0//jjj1i9erXpAWfH+P77741Yv+666+xYDqtWrcLGjRtx9dVX27Le119/bTJTJRPVjrFixQrzJsRll11mx3L4/PPPzeYTUtptx/j0008hG2XI7zY7hvxOlSzj888/P+TLffTRR+Z39J//XCG+Qz1EEkrG9HnnnRfqpUx86TsZHx9v2y5pb775pnmzza5d0hYsWIDWrVubnpl2DHlNJ7vcnXLKKUrLmcZFgNN90EduUTn2ZBfjo89XojQsHo6oROzJKjLZyoePcqCsFCgr2f+52HwOd8P0O5LMo9gIF2KrMpIqBJL8f6THacrgKsfcuXPNa1VpCWHHkNfG0obi+OOPt2M5yGt2eQPYjowfOSF5M1p2YLSrYfYzzzyDiy++GEcdVfEaLJTjqaeeQr9+/QLa7CiQ5/XEE0/gmmuuQYsWLQI53O9jpAfvDTfcYFvPpEcffdRsYCIbTdkxHn74YZMkERcXZ8dykB0YpQdydHS0LeuJdJVWN/L71o4hGX6yC6r0dD7SB0XTEXKFpAROvgnPOuss80P7b3/7G7Zv324ykySjSX5Byruh8qJYhrwwlj/gpGTujTfeMMetW7fO9HySP7Qk48mfIaLptttus2zTI6LjcM5Vt/izRJ1z/0jRVNkMXHYtk0yhrz9fgmmvfWSylLZv+Q13D70GBXl5iI6LrzoH6fVz/v9dY7KHfvruazz98F1GFpreSJnpJovIimiSfj2L3piLFZ9+iHunPIcmiU1RXFxksqamP3pPVcyszHQ0bdbCiCZpSv3E2Dtw8VUD0Of/rjXP6VDRNHX8v3DdkNtx+jkV2z5L+dgn77yOd+e/gEdnv2GeX7BDXoSu352HTan5sNB2IajlZA8YadR5TLMIHJ0UcVjp3KHBaxNNq79chnuHX4/4JokI399jS46Vnkz9rh+CTid1xyfvvoEl7y/A0H+Px7dffIZ1P3+H+5943mSFVRdNcpzIppmT7sfeXTvQqm17jHjgcYSFRx7WDFxE09zpkzHygSlod2xn83RlF8IFL84w99i4p+YGxWfPlvVY/ckCSzHkj/jc3FwkJSVZmh/sJMnWlDUTExODDWXpeDm3wsJC215AyXryxoFsymDHkDLr4uJi29bLzs42v29EINgxZD35WWrXC1L53Sult3asJ5t2yJsZsbH6u2LWdG1kPenPJxuO2DFESIpIs2s9eXNOXiPZ9ceErCcv7KOi9N5kq+u6yOuysLCwg9aT5ty5haWoSQH5vMYimLzRRiQhIgGOyCQgsgngiQQch++eJm/ueFyVH86Krx2lcBTloDw3FchPR3leKpC3DyjOB8r9e1bSf1RY2vXHmawn90p4eLhPVBoT9u7da74X7Fpvz5495ueY3DN2DFlPfi/Y8ceuvLkiv2PtWEvY7dq1y7xm8bc6JFDusp68JpOqFDuG9Alu2rSpbevt2LHDvCkgvx/sGLKeVAjJ7z87hvy9LlLSrvVk52HJ6LXr+yEYhhRNwdBTOlZeVEszcHkn4sMPPzQvRC+55BLIu3XyTpb8YXHfffeZH+jyWeZv2rTJfC0GVebLVtfyTre8YypC6oUXXvDr2TXm0rmDd53biHuGXWfKma4dfBv27tqOZyfdj2M6nWj6+Bw6JCtFMp66nHKGyW6ShuCSAbNi6Qc+RZOUb/383UrTV+jKv91iyuRkbP99E6Y9dCdO7H4mrhsywjQFf33O01j1xVIjmqS303NPPmQycqTkSvpCSd+hN55/xkiMHr0uxFMP/htnnHs+Lrv+ZtO8XBqHS6aOZO9M/M9//bo3jsTJNTUDr/48axNNa9eswotPT8TFVw4w/ZRqGjJn3qwnTGbUrm2/o1PX03Bhv/41iqbK47dsXGd6e0kz95tG3GdEk2S1PfTMPJM9JtfuuScewjWD/2myn2T8vqFCXEk55i13PhgUZpbOHcDH0rmgbqXDDmbpnB5Pls7psZRIjbF0bu6KXVj6azqKSgLrjCj5RIceKUlG0huptKgAEeFeRIZ5jVRqEuVGcqwXKXFeNIuVjzAkRXsgJXAaQ9pFSAZ/9+7dNcL5jMHSOZ+I/JrA0jm/cNU5maVzeiwl0tChQ80O7Ha9qcPSudqvH0WT7r1tOZq8Q7x+/XrzTri82y9poSKQXnnlFcg7uv/617/MY1JHK+8S3nzzzZA0VdmhTt4lkV/QYoflcXlXQf5dsp6WLFlijKoc78+gaKrYdS4nKwP/ffFZLF20EE/P/9hkKEnD5+WfvG8afFcOKa1KTmmN9NTdeGLcKLRs0840CBcB8trsJ5G+L9WnaJJd0p559G5TptX/5pEmtPRbkvvgmUfuRuu2HdD3iutNb6ZXZ09FbnamEU0is9565T9GZo16cKrZEe3zj97GN198igsuu84c8/a858zjg0feZ3ZLk4blC1+aid6XXm0kWn0fgYomKXF84/npJuusujiUsrjKXf0kO+n9N16EZCHJNb75jrFIaXP0QaJJSulysrKMiJQh2UnSx0uymvr85RrTM2vp+wtwwz9Go3nL1iZL7bX/PGX6bf39XxXlsiK0pD+UCMpTepwb1CWhaKJoCuoGquNgiiY9shRNeiwbi2g6vlMn9DizJ4rLylFSWo4XV+wyzbmDGbKpRrh7f4aSy4GoMBeSY7zY+ONKdOvUDmeceIwRS5Fel98Nt/15XhRN/tDyPVfKhaSEu1OnTr4nK8ygaFKAuD8ERZMeS4lE0aTLM5hoFE3B0AviWEnXl/pfSe8TMSQ14yKZKoeIH5FHMiStWITStddei5KSEpO5JLXY0iBchoiq5557DjNnzjTlIhLH37riP1o0efL2ot2n1vpDBYEdRdHN8ds5402IosJCrP7yM9P8e9T4qWiSlGyyg3754Vuzo9sNw/6NE7qdYbajf/+NuVj89mtVS8vOY5KFIgLil+9XmebgMuKaJOK0s/+Mtd+vwshxT+Cjt+Zhx5bNuPWeR43c+OitV7Fj62bcevejpo/QuBE3HnQ6Ka3bYvjdj5pd56Y9PNo8JqKo25nnmWwkae4tQ3Ywe+6JB7Hx159Mid/p5/ZBdEycyZ4RkZS2d9f+LKhPzfyYuCam1K8hSCY5HyklXPreAsPkjvGHNzeX3lofLHjJNFS//IahBzGu6I30DL5f+UXVvx9z/In4+7/Hmesn98Wq5Uvx0ozJOLXnn0x/Jhly3T5c+Iopb7zoyhvwzf8+wZynJlTFOOGU083OgDI2r19rjv994zqTeTbkjvvN7oIvT5+M3zetM3NatDrK9NEKVjJJLIqmA5eYGU3B/IQ8/FiKJj2eFE16LCVSQ8lokmbcIpFKyiqacstn+f9X5r2G5q2PxlHHdkFqTjH25RTj55152JVZBDmmriG9kDz7S9+81aSSNOhumxSOtkkRaBbjQYv4MMRHVjTgrr7rnO6VqjkaRZMuZYomPZ6yC/iwYcPQpk0bvaB1RKJo0sVM0aTLM5hoFE3B0GtAx/7RoqkBoeSpkIDtBCiaKJpCddNRNOmRpWjSY3mkiCbpmZRdUIrywwrSrJ9rflEZ0nKKK2RSbjHS5COnBHuyClBQXI7a0oqcDgfc+3soiSiSr+WzlL3FhFdkKUnpW4s4L5rHVnwd7qm9ZwlFk/VrZmXmhAkTTBsM2VnajkHRpEeZokmPpUQaPnw4xo0bZ1vvTIom3esXTDSKpmDoNaBjKZoa0MXkqTQ6AhRNFE2huukpmvTIUjTpsTxSRNMrX+3Gx2ulZ5J/jbArSTgcQF3JSXXJJCl5S4z2mL5JCVEe83WifI5yB1T2RtGke39SNOnxlF22brzxRtt21KNo0rt2FE26LCXawIEDTRUTm4Hrs2XEEBGgaAoRWIYlARsIUDRRNIXqNqNo0iNL0aTH8o8WTVK4VlpWjjnLd2LZuow6ZZGvsz5UJklGkmQnZabvQ1JcFNo0izcSSUMm1fVcKJp8XSn/Hqdo8o9XXbMpmvRYSiRpxzJmzBgkJyfrBq4lGjOadDFTNOnyZDQbCFA02QCZS5BAiAhQNFE0hejWAkWTHlmKJj2Wdoom6YckvZPmvDAXKa2Owmk9zkRhcRnS80rwydp9+GF7rumpVNeoKTNJhJL0UarMTDpYJrmx4OXncWrXE3B2z5664GqJRtGki5miSY8nRZMeS4omXZYSjbvO1c6UpXP691u9jEjRVC8vG580CRgCFE0UTaH6VqBo0iNL0aTHMhSiSUrYpBG3lMGJWCoqLUNRSbnpwbQnuwhLV6xGHiLgiU3Gnqwi5BcfXi4npXDSJ6myAbfX5YTX7UD0IWVuCdXK3CK8Ljgdh7OZMWMGOnfujLPPPlsXHEWTLTwpmvQwUzTpsaRo0mVJ0VQ3T4om/futXkakaKqXl41PmgQomg65B7jrnO43BUWTHk+KJj2WtYkmac6dVVASUClbcWkZMvJKsSuzELuyiszubvJZRJOUyR06XNV2dfPub8od6XWhSZQbLeLC0Gx/I275LM25Zb4/g6LJH1q+506aNAm9e/dG165dfU9WmEHRpABxfwiKJj2WFE26LCmaKJr076gGGJGiqQFeVJ5SoyHAjKYDl5qiSfe2p2jS40nRpMeyNtH02so9+OinfSgMsDl3Tc9Q/JDb5URpcSEivG5ERYSZnd2aRLrNTm7N9+/qJkJJyt/C3LXv7OYPAYomf2j5nkvR5JuRPzPGjh2L/v37o2PHjv4cFtBciqaAsNV6EHs06fJk6VztPJnRpHuv1dtoFE319tLxiZMAS+eq3QMUTbrfEBRNejwpmvRYVoqmlJSW6PXn3qbUTT7mr9yDz9dnoO6OSXU/j3CPE/IhMklK3yLDnEiO8WLz2tXodHQL9OzWyWQrSfaSn0lKfgGgaPILl8/JFE0+Efk1gaLJL1x1Th41ahRGjhyJlJQUvaB1RKJo0sVM0UTRpHtHNcBoFE0N8KLylBoNAWY0HbjUFE26tz1Fkx5PiqbAWEozbmm2XSmTpI+SfP3fhW8iKi4Rx3Q5FWk5xdiXW4xfduVhR0YR5Ji6hlP6KO0vd5N+ShVfO01/pdaJYTg6KQLNYjxoHhdmMpdkF7hZs2ahQ4cO6NWrV2An4udRFE1+AvMxnaJJlydFkx5PiiY9lhJp6NChmDhxImJjY3UD1xKNoomiyZYbrT4vQtFUn68en3tjJ0DRRNEUqu8BiiY9so1RNEnPpMz8EtTQ4sgy2ILiUuzLLUHqfpkkQiktpwR7swuQX1QOSAfuGobs9CZZSSKJzA5v8rXpq+REdLgLyTEek6kkpW+SoSRlcBGe2sveKJosXzJLE6dMmYKePXuie/fuluYHO4miKViCBx9P0aTHk6JJjyVFky7LYKOxdC5Ygg3keIqmBnIheRqNkgBFE0VTqG58iiY9so1RNC1YtRfv/5Cm2jOp+hWpSyZFhbmQEOVGUrQHCVEeVOz05kZilAe17fRW19WmaNL7XpBIFE26PMePH48rrrgCnTp10g1cSzSKJj3MFE16LCmadFkGG42iKViCDeR4iqYGciF5Go2SAEUTRVOobnyKJj2yjUE0JSQkovcFF5rSNil3E9H06a/pQfVMqpRJB2cnOZGZvg9NosPRNiXByCMRSSKURCbJZ+0eShRNet8LFE26LCUaRZMe09GjR2PYsGFo06aNXtA6IlE06WJm6Zwuz2CiUTQFQ68BHUvR1IAuJk+l0RGgaKJoCtVNT9GkR7ahiCbpf1TVL6mqd1IZ3nrnPXgionH8yadXlbmt25WP7RmFvnsm7S9zO1QmeZwOVGYmyY5u1TOT3l0wD8e0bY0+fXrrXaQ6IlE06WJmRpMuT4omPZ4UTXosJdLw4cMxbtw4JCQk6AauJRpFky2YbbBjHwAAIABJREFULS1C0WQJU8OfRNHU8K8xz7DhEqBoomgK1d1N0aRH9kgQTQd6JgW+L1tBcVlVz6R06Ze0v2dSanYh8orKfPZMOlQmSd8kkUmmrO0QmVRXZtKcOXPQqlUr9OnTR+8iUTShR48etvCkaNLFTNGkx5OiSY8lRZMuS4k2cOBAzJw5E16vVz+4ckSKJmWg9TUcRVN9vXJ83iQAUDRRNIXq+4CiSY/skSCa3ly9F+98H/qeSYdlJrkciPK6kBBd0SNJo8yNoknv3pRI06ZNQ7du3SialLBOmDABl1xyCbp06aIUse4wFE16mCma9FhSNOmypGjS58mINhCgaLIBMpcggRARoGiiaArRrQWKJj2yf6Rokvyl0rJyzF+5B4t+TEN54AlNqK1nUlbGPsRFheHolMQKmVStAXcoeiZRNOndmxRNuiwlGkWTHtN77rkHN954I9q1a6cXtI5IFE26mFk6p8uTGU26PBnNBgIUTTZA5hIkECICFE0UTSG6tSiaFMHaJZqkh1JRSTnmL/gvPN4InPun3pByt4z8EvxvfSZWb8k2PZbqGtVlkmQneVxOVHx2IHL/bm5VZW77G3B/8ObraN2iKfr2vVCRWu2hKJp0MTOjSZcnRZMeT4omPZYS6fbbb8eYMWOQnJysG7iWaBRNupgpmnR5MpoNBCiabIDMJUggRAQomiiaQnRrUTQpgtUWTZKVVFImUqnMiKXCUvlchpyCUuzJLsbyb39CWl45IhNSzP/nFZUedjYOByA9krxuJ8LcFZ+9LmdFzyQ/y9zmzp2LpKQk9O3bV5EaRdPZZ59tC0+KJl3MFE16PCma9FhSNOmylGiDBw/G1KlTERkZqR+8hogUTbZg5iKaBCiaNGkyFgnYS4CiiaIpVHccS+f0yNYkmqQ5d3peMcoCKGUrKS1HZn4JdmcVmY9d5nMxsvNLjIA6dLiMUHIYkRQmQsntQITXhSaRbjSP9aKZfMRVfI4JdxkB5c+gaPKHlu+5M2bMQOfOnUHR5JuVlRmTJk1C79690bVrVyvTg55D0RQ0wqoAFE16LCmadFlSNNXNk83A9e+3ehmRoqleXjY+aRIwBCiaKJpC9a1A0aRHtibR9O73qXjzu1RT2qY1JEtJZFJpcSHCPU7EREcgzOVEXIQbTWM9VVIpOcZrdnmTORqDokmD4oEYFE26PCmadHmOHTsW/fv3R8eOHXUD1xCNokkXMUvndHkyo6l2nhRNuvdavY1G0VRvLx2fOAlQNFW7B5YtW4aff/4ZQ4cOteXOWLp0KTZs2IAhQ4bYst7ixYuxbds2DBo0yJb1KJr0MNckmv777V68uToV0lcp0BHmcSLSIxlKFVlKkV4XkqI92LHhR7RKisafzzzFZClJOZyfSUp+PSWKJr9w+ZxM0eQTkV8TKJr8wuVzMkWTT0SWJ4waNQojR45ESkqK5WOCmUjRFAy9w4+laKJo0r2jGmA0iqYGeFF5So2GADOaDlxqiibd256iSY+niCan04WL/nIZCovLkF9chqW/pGPJL+k+M5qkObcpe6vspeSqkErSpLtFnBftmkYgOcZjhFKTKI9p2j1v3jxER0fj0ksv1TuJOiJRNOlipmjS5UnRpMuTokmPJ0WTHkuJJG80Tpw4EbGxsbqBa4lG0UTRZMuNVp8XoWiqz1ePz72xE6BoomgK1fcARVPgZCVHSfooSVmcfLy76EPkFgPHn3IWtqUXYlt6AbanFyG7sATVE5oqG3RLSVvlR2y424ikprHeqtK3pjEek71U26BoCvza1XTkrFmz0KFDB/Tq1Us3cC3RKJp0MVM06fKkaNLjSdGkx5KiSZdlsNEaZOlcQUEBcnNzkZiYGCyfRnM8RVOjudQ80QZIgKKJoilUtzVFk3WyUv5WWHJALMkub2k5xdieUYit+wqxcVeW+X+4PAcFrWzSLVIpQsrg9pe+tWwSjlZNwtC6SZjppSRZSv4MiiZ/aPmeS9Hkm5E/M6ZMmYKePXuie/fu/hwW8FyKpoDR1XggRZMeT4omPZYUTbosg43W4ERTWVkZ1q5dCymfuOWWW4Ll02iOp2hqNJeaJ9oACVA0UTSF6rZujKJJdoLbl1uMUj/bJknW0p6sIp/ZSh6nA9JXqUIsuRAb4UKLuLAKqZQQZr6ODnNBMpuCGRRNwdA7/FiKJl2eFE26PMePH48rrrgCnTp10g1cSzSKJj3MFE16LCmadFkGG61eiqacnBysWbOmxnMX0fTdd99h/vz5eOSRR+BwONC0aVOT7sxROwGKJt4dJFB/CVA0UTSF6u5tjKJp0Q9pWPDtXp99k6wwr8xWkkylgtxsI5DatWyKlk32i6UAs5WsrE3RZIWS9TkUTdZZWZlJ0WSFkvU5FE3WWfmaOXr0aAwbNgxt2rTxNVXlcYomFYxVQdijSZdnMNHqnWgSkfTVV1/hzDPPRHh4uPk4dBQXF6OwsNA0wXS73bj66qvx9NNPB8OpwR/rr2gqKinDD9tzA+Yi10h2Tjr66KMDjuHPgUVFRdixYwfatm3rz2EBz5X7b9euXTjqqKMCjuHPgVIuumfPHlt+KeYX5CN1bypat27tz1MMeG5+fh7S0vahVatWAcfw58C8vDykp6ejZcuW/hwW8Fwp883MzAxqt5H4SDfaN42w9BxWrlyJ5cuXQ3YdsWOsWLECq1atwvDhw+1YzmSzctc5PdSNUTS9/V0q3li1N+Cd4CQTKSbcjfgIN+Ii3Gge5zXZSj9+tQStEyPR75K+QWcrWbnCFE1WKFmfQ9FknZWVmRRNVihZn0PRZJ2Vr5kUTb4I+fe4vP4bN24cEhIS/DswwNkUTQGCC8Fh9VY0XXzxxYiPj8dpp5120B9oIqK2bt2K1atX47LLLoPT6TT139dcc00I8DWckP6KpmDPXKTIww8/jCeeeCLYUJaOF8n0+OOPY/LkyZbmBztpy5YteOaZZ0xWnR1j06ZNeO655/Dggw+GfLl169bhlVdegaRN2zFEGixYsAD33nuvHcvhhx9+wLvvvou77rrLlvXkZ9Unn3wCeUfLjkHRpEt56dKl2LBhA4YMGaIbuJZoixcvNpJ+0KBBtqzX2ERTSVk5Pv01A++vSUN6XjGK66ifO7i3kgthbgfcTgfcLgdOaBmN046ORVK13kqy65y8+dWvXz9brh1Fky5miiZdnhRNujwpmvR4UjTpsZRIFE26PAcOHIiZM2fC6/XqBg5BtHonmsrLyyFSRH6gyjvlZ511FgYMGGAyY0Q8lZaWmne0n3zySbz55pshQNYwQ1I06V5XiiY9nhRNeiwlEkWTLk+KJl2e77zzDqQ8/rrrrtMNXEu0hQvfRF5hEfpe2g+5hWVIzSnC5rQCbNyTbz5n5h/YEU4ylbwuadbtRFSYC5JJ6E9vJYom3Us6Z84ck+nap08f3cC1RKNo0sVM0aTLk6JJjydFkx5LiiZdlhKNokmf6WERRSjJO7uSoZKfn48rr7wSF154oSlVktI6iib/LgJFk3+8fM2maPJFyPrjFE3WWVmZSdFkhZL1ORRN1llZmWmHaJKspfyiMuQWleKDT5Zha1oeUo7rbuTSrqwiSGl45ZCsJbMTXJgLMWEuUwYnZaodkiOREu81Db2tDoomq6SszaNossbJ6qxp06ahW7du6NGjh9VDgppH0RQUvsMOpmjS40nRpMeSokmXJUWTPs9aI0p2k/RSefXVV/H8888jOTkZN9xwA0pKSkwzcGY0Wb8YFE3WWVmZSdFkhZK1ORRN1jhZnUXRZJWUtXkUTdY4WZ0VCtFUXg4UlpQhr6j0QNZSagE27M3H5tR8k7UEVGzxdmjWUkKUB0clhqNDcgTaJoajSZQHzgB3g6NosnoXWJtH0WSNk9VZFE1WSVmbN2HCBFxyySXo0qWLtQOCnEXRFCTAaodTNOmxpGjSZUnRpM/TZ0QRTvKHvbw7Ir1OJKtJ+iBQNPlEVzWBosk6KyszKZqsULI2h6LJGiersyiarJKyNo+iyRonq7O0RFNV1lJhKbILSrAjo8iIpbqylqQcLibchWaxgWct1XWeFE1W7wJr8yiarHGyOouiySopa/MomqxxsjLrnnvuwY033oh27dpZmR70HIqmoBEeFIA9mnR5snROl6flaNIIXHZTmj59utldTJpNc1gjQNFkjZPVWRRNVkn5nkfR5JuRPzMomvyh5XsuRZNvRv7MqEk0ZeSVYG9OMcrKyi2HyiksxRbptbQ3H7+nFSCjpl5LYU4U52ahSZQbJ3dIUclaomhKQt++fS1fp2AmUjQFQ+/wYymadHlSNOnxpGjSYymRZNfhMWPGmEogOwZFky5liiZdnkFFk/5Nsn14UlJSUHEa+sEUTbpXmKJJjydFkx5LiUTRpMuTokmXZ02i6aOf9mH+N3tQUHygd5K/q1b2WqrMWpJeS+2SIrB+1adIjnbhqsv/z9+Qfs9nRpPfyOo8gKJJlydFky5PiiY9nhRNeiwpmnRZSrTBgwdj6tSpiIyM1A9eQ0SKJhswFxUVYePGjUhNTYXD4UCTJk3QrFmzg4SSZDjJH6myC92wYcNseFb+LVFcXIwvv/zSHOR0OpGYmIjjjjvO/L889t1336GgoMA8lpKSYnbWkyboct67d+822xqefvrpZr6c6969e03PqsoY/jwbiiZ/aPmeS9Hkm5HVGRRNVklZm0fRZI2T1VkUTVZJWZtXk2h6b02aEU2lfmQ0VV9Neiq1TgjHia2i0aFpBNomHei1tHDhQtPX8aqrrrL2BIOYRdEUBLwaDqVo0uVJ0aTLk6JJjydFkx5LicSMJl2eFE2183SIpJH+l+XS6KieDJEqS5YswUMPPYTvv//eiJgTTzwRvXr1wtVXX4327dubHk0iZT777DM89dRTkBeTR9KQ5ya74/3tb38zEklGbGws5IVTfHw8vv76a/ODICIiwoi0Nm3a4PHHHzdC6dZbb8X27duNhHr77bfRokULpKWlGZsq533ffff5faoUTX4jq/MAiiY9nhRNeiwlEkWTLk+KJl2eNYmmVb9nY8kv6cjKL0FWgfRcKj1oZ7jKZ1A9aynK64LH7TAtvr1uJ84+Jg492scd9mQpmvSu39y5c82bfSyd02E6Y8YMdO7cGWeffbZOQB9RKJp0MVM06fGkaNJjSdGky1KiUTQ1MNEkUqVnz56IiYnBueeea+TLtm3bTAbQMcccgzvvvBOnnHIKwsPDj1jRlJmZad5BvfLKK3HzzTebTKQLLrgAd9xxB84//3z83//9H6644grcdtttRiLJef7jH/9A165dIU3q3n//fcyaNcuIJbnB33jjDbPz3uLFiwP6DqJoCghbrQdRNOnxpGjSY0nRpMtSolE06TI9VDRJFlNeURky8oqxdV8h1mzPwdqdediXWwx5e0zeK4vwuBAX4ULTGK/fO8RRNOldP4omPZYSiaJJl+ekSZPQu3dv8zrajkHRpEeZokmPJUWTLkuKprp51ruMJpFKkgkkEuZ///tf1Q4EkiEku8xJ9pKU1UnjMdlW9JtvvjkiM5pENF177bVGIA0dOhQ7duzAyJEjMWTIEJx88sk444wz8OOPP5pywLy8PMg7TVICKHMkc2nevHnmIycnx2RyiXyaPHkyjj/++IC+gyiaAsJG0aSLrcZoFE26kJnRpMuTokmXZ6Vouvyqa5CZX4o9WUVYtzsPa7blYMu+wqpMJo/LgdhwNxKi3WjfNAInt45Gu6YRiPS6/HpCFE1+4apzMkWTHkuKJl2WEo2iSZfp2LFj0b9/f3Ts2FE3cA3RKJp0EbN0TpcnM5pq51kvRZMIJimb+/DDDw86M5FQv/76Kx555BGTyTR+/HjTmOull1464krnpAfTokWL8MADD2DAgAGml5QIMslS+uCDD0yWkvRhkiElcnIOzz77LF544QUj0UQsSfaS7K63c+dOU34nKdbSt0nerZFsLn8GRZM/tHzPZUaTb0ZWZ1A0WSVlbR5FkzVOVmdRNFkl5XueZC+9vWgxtu/Nwkln9TFyae3OXMiuczKcDgcivU7ERbjRskkYTmgZhc4pUSaTSfowBTIomgKhVvMxFE16LCmadFlSNOnzpGjSYzpq1CiTSFDZSkUvcs2RKJp0CVM0NSDRJK2k1q5da3oxffHFF6avUfUhj0upmXzTSgbQmWeeaXadO9J6NEnz0TVr1uDzzz83z036MElp3KmnnooffvihRtE0e/Zs05tKMppEMrVu3dpIJcmGkuNXrFhhZJX0curRo4df30UimmSry3/+859+HRfo5IyMDLz88svmnO0Yck/Mnz8ft9xyix3LYc+ePSbDTsoi7RgiG6Wc8qabbgr5clKm+vHHH0N2PbBj/P777+Z7WYSsHWPTpk2mSb+8U2fH2LBhA1atWoVrrrnGjuWMjJefMVK2a8cQUShr9uvXz47lzM/VzZs34y9/+Yst661evdr8DL744ottWU+ydGUTjAsvvNCW9aRfoGTg9unTJzTrORxwuLyANxp55V4s/2krVv2WAUdUU5RUNv8uKwGKcuEty0frOCdOah2NtokRCPcEaJeqnYm8cSUZ0ZJdHOohb4C5XC5T+m/HkNcL0ufR39cDgT43eV0SFxeH0047LdAQfh0nb8pJTyh53WTHeO+998wfgnaVXkkPTtkEpkuXLnacnnkteuyxx6JTp062rCctH+TcZE07xmuvvYZu3bqhQ4cOdiyHV155xVQntGvXzpb1RPSec845OOqoo2xZT9p1SCliq1atQr7ef/7zH1x00UWmJ60dY+bMmbjsssuQnJxsx3KYPn26+btWNoWyYzz99NP461//anoC2zHk79ZBgwaZljd2jClTpuDvf/+7bbvASUWR9E8OCwuz4/Tw6KOPmsQUSS450ke9y2gSoCJTpHROJEVNL7YrZdPDDz9sehfJix75fKQMeX6SrSQ9mq6//npTLid/iMkfttKbSV4Uyh/VkhUjmUmS0SRNwt966y2T7SRDRJWIJcmIkh/A5513nhFw8kJB/jCQbzJ/hoimESNG2PYLWDK65PykcbsdQ+6ZrVu32rZeYWGhadhu1wsMuUdENsmL0lCP/Px8c/9KNp0dQ0pHZUdFu148iZgWMSkN+O0YUv4qPdpEHNsxsrOzjTiw48WhnE9WVhZkzZYtW9pxeubc5Bra9c6gSHP5nrDrBbDcK/LzpXnz5rbwlN8N8vNayrg1h0iknMJSZBaUo8AdBzRpB8S1ArxRZhmn04EorxPxEW5EIg+OjM0o37cZKMyEac6kNETaye/kpk2bKkWsPYz8HJM3hUSO2DHkDQ8RW3b98SK/FzweDxISEuw4Pezatcu8sJddh+0Y8jtWxJ1df5yJwI6KijLyzo4hr1nkD8FD38AN1dryppWcm11/fMprQLlXoqOjQ3VKB8WV17jyvSfX0I4hb8rJzzG7tliXN3Tk94J8T4R6/Pbbb+Z3rL/VGoE+L3nDUV6z2CUOZDdxeQ1olziQ9eQ1rvy8tmPIG6ryN4P0FbZjrF+/3vz9Jb//7Bjr1q0zfz/L5mR2DHEGzz33nG33SzDnVC9FU2WfJvklVdeWxPLiWHobyYtyKTU7Uoa8eyqNy6X5t/wwk1/qIgrETookkmbm8m68lMtJRpb8kfbvf//b/BCSrCM5/pdffjElgnJewuOGG24wWRhSTiiZNHID+jNYOucPLd9zWTrnm5HVGSyds0rK2jyWzlnjZHUWS+eskqrwQwXFZcjIL8HOzEL8uisPP2zLxfaMQkjZnMlPKitGTLgLrZJi0LGZ9F6KQZuEMLNzXCgGS+f0qLJ0To+lRGIzcF2e7NGky5Olc3o8WTqnx1IiSe/jiRMn2ibNWTpX+/Wrl6LJ1+0o0sYu6+3rudT0uIghsZ+StiilTtLAW56zpNlKSr38+/3332/KMaT0SkST/ECX1MOzzjrL/LuUxx133HEmG0reJRVpJTtcSDmhvFsqKXz+DIomf2j5nkvR5JuR1RkUTVZJWZtH0WSNk9VZFE2+SRWXliO7oARpucXYnFqA77fmYP2efOQWlpqDXZK9FOZCQqQbeXs349imXlx1/hlIiAr9u58UTb6vn9UZFE1WSVmbR9FkjZPVWRRNVklZm0fRZI2TlVkUTVYoWZ9D0WSdVahnNijRJOnvUlYg/U5C1k9C6YpIttVHH32Exx57zESUdLtjjjnG1OnKkHKMyy+/3HwtaakilKReWErm5PxefPFFSI2tjEpJJRlQktItMfwtc6BoUrqw+8NQNOnxpGjSYymRKJp0eTZG0STNuXdnFaHUYglbVn4pft2Vix+355rjpPWSZC+FeSoaezeL9ZrspRNbReO75YtRmJ+L6667TvdC1RKNokkPM0WTHkuJRNGky5OiSZcnRZMeT4omPZYSiaJJl2cw0RqUaJKSMmka/OSTT5ryMQ7rBCiarLOyMpOiyQola3MomqxxsjqLoskqKWvzGqNoWrI2Ha98vduUwQU6mkZ70LllFE5qHYNjm0UgNqIie+mdd96B9C2jaAqU7IHj5s2bZ/rRXHrppcEHsxCBoskCJD+mUDT5AcvCVIomC5D8mELR5AcsH1MpmvRYUjTpsgw2GkVTsAQbyPEUTboXkqJJjydFkx5LiUTRpMuzMYqmD3/ah1e+2m36KgUynA4HLuqSgKtOTTZlc9UHRVMgRGs+hqJJj6VEkj6a0vC1V69euoFriUbRpIuZokmXJ0WTHk+KJj2WFE26LIONRtEULMEGcjxFk+6FpGjS40nRpMeSokmXpURrjKJJeiwt+SUdmfkl5kNK4wpLDs9u8rgciAl3m53jwr3OimbfUjLndqJH+1j0aH/4bloUTXr3KEWTHkuKJl2WEk12R5a+pN27d9cPXkNEiiZdzBRNejwpmvRYUjTpsgw2WoMSTdJk+5tvvsGrr75qmmVzWCdA0WSdlZWZFE1WKFmbQ9FkjZPVWcxoskrK2rzGJpoki0maeKfnlWDrvkL8uCMHv+zMM42+pWWTJChFeFyIj3SjRbwXx7eIwgkto9AiLsw85mtQNPkiZP1xiibrrKzMZEaTFUrW51A0WWdlZeb48eNxxRVXoFOnTlamBz2HoilohFUBKJr0WFI06bIMNlqDEk3SDDwrKwsiTY4++uhg2TSq4ymadC83RZMeT4omPZYSiaJJl2djEU1XX/dXVDYB37AnH2u25WLLvgIU7c9kkuwlaeydGO1Bu6Rw09i7fXIEIr0uv4BTNPmFq87JFE16LCUSRZMuT4omXZ4UTXo8R48ejWHDhqFNmzZ6QeuIRNGki5nNwHV5BhOt3oomkUqyM9vu3buNXJIPGQ6Hw+zSFhsbi+TkZPPB4ZsARZNvRv7MoGjyh1bdcyma9FhSNOmylGgNWTRJ9tL7i5di47a96Hr2BWbXuF925ppsJhnSaynS60STKDdaxoehU0oUOqdEoWmM11L2Uk1Xg6JJ7x6laNJjSdGky1KiUTTpMqVo0uNJ0aTHUiINHz4c48aNQ0JCgm7gWqJRNNmC2dIi9VI0iWTasWMHXnvtNfMiPzU1FevXr68STSkpKWjdujVOPfVUXHXVVejcubMlGI15EkWT7tWnaNLjSdGkx5KiSZdlQxRNUv4mu8ll5JdgT1YRlq35Dd9sTIcjuilK9jf/9rqdiItwoWm012QtndgqCkcnRSDc4wwaMEVT0AirAlA06bGkaNJlSdGkz5OiSY8pRZMeS4omXZYSbeDAgZg5cya8Xq9+cOWI9VI05efn46GHHsLrr7+OVq1a4fTTTz8Ii/RqEhH1yy+/oFmzZpg9e7b5zFE7AYom3buDokmPJ0WTHkuKJl2WDUk0lZSWI7uwFGk5xdicVoAftuVASuSk2bcMp9OBaK8TCVEetGxSkb3UqUUkkqK9cFjovWSVPEWTVVK+51E0+WbkzwyWzvlDy/dcZjT5ZuTPDIomf2jVPZeiSY8lRZMuS4omfZ4HRZRspg0bNuD888/H5MmTzeeYmJjDVhXZtHr1aowYMcJkNd16660hfmb1OzxFk+71o2jS40nRpMeSokmXZX0XTZK9lF9canov7cwswq+78kx53PaMQkjZnPFHZcWICXOiTXIsjkmOwEmtY9AmIQyS1RSKQdGkR5WiSY+lRKJo0uVJ0aTLk6JJjydFkx5LiiZdlhRN+jwPiigC6bPPPoP8QF2yZEmdq5WUlGDhwoV45ZVXzGeO2glQNOneHRRNejwpmvRYUjTpsqyvoqm4tBxZ+SVIzS3G76kFWLMtB+v35Jvd5GS4JHspzGWylwpSf8fR8Q5c2/csJES59QEeEpGiSQ8xRZMeS4omXZYSjaJJlylFkx5PiiY9lhRNuiwpmvR5HiaavvnmG4wcORIffPABoqOja11RRJNIpkWLFkFecHFQNEkWnB2DokmPMkWTHkuKJl2WR4pokubcOzMlC8na+WUXlGD97orspd1ZRZDWS5K9FOZxokmkG81ivTimWSROaBmFH79ciqyMNAwYMMBa8CBnUTQFCbDa4RRNeiwpmnRZUjTp86Ro0mNK0aTHkqJJlyVFkz7PwyLu3bsX5513Hm677Tb06NHDlM6JcHK73ZDSuszMTBQXF2Pr1q2ml1Pfvn0hW0dyUDRRNAX/XbBu3TojcMeOHRt8MAsRKJosQPJjysqVK7F8+XLcfvvtfhwV+NQVK1Zg1apVZtcRO8ayZcsg94zsOmLHOBJ2nfvs1wzM/XKXaeId6Gga7cEJraJxYqtodGwWgbiIiuwleaNGNtygaAqU7IHjpK+kvE7p169f8MEsRKBosgDJjyksnfMDloWpzGiyAMmPKRRNfsDyMZWiSY+lROKuc7o82Qxcl+dh0UpLS82OcxMnTkTLli0hu8wdddRRiIyMhJTWSRPw7OxsrF27Fk2aNMELL7yAtm3bhvhZ1e/wLJ3TvX7MaNLjSdGkx1IiUTTp8jwSRNMna9Px4opdpq9ViKcpAAAgAElEQVRSIMPpcOD8zgm47rRkUzZXfVA0BUK05mMomvRYSqQ5c+aYDWH69OmjG7iWaBRNupgpmnR5UjTp8aRo0mNJ0aTLUqJRNOkzPSyiCCV5gT937lxs2rQJhYWFVXMcDofJcjrzzDNx7bXX4vjjj7fhGdXvJSiadK8fRZMeT4omPZYUTbosJdqRIJqkBO6T/2fvPMC0qM73/Wxle6X3siCyoiIgoqBiwIomxhJLNKhosCQxRmOJRmI0KhpRRP8IMWpi1Ghs0VhQlI6IFCnSliawS1nY3tv/eo9ZImV359vv2fmxy3Ouywtkz7wzc5/Z75u55z3vWZPj6i5ZYW9bKe5Q2U0RYSGIjwp30+NiIkNRu1xcq7AQDO6RgFPSEg8CJNHEu2YkmngsJZq4LC3a5MmTMXDgQDdTwI8m0cSlLNHE4ynRxGMp0cRlKdHE51lvRJsqt2PHDpgoqW0mmrp06eJkU3l5uZNQh1qZzudDPax3J9HEHR6JJh5PiSYeS4kmLsvDQTRZFlNhWRX2FlVi295SrMwscqvH7SmqgK0qZwlK0ZFhSIkJR4ekVujbPgbpHWPd3w9IXjokHIkm3jUj0cRjKdHEZSnRxOf58MMPY/To0ejfvz8/+CEiSjTxMEs08VhKNHFZSjTxeR4yogkmq8G0a9cumFhKTU1Fu3btEB0dva+/9dm8eTOWLl2KH//4xz4dWfPcjUQTd9wkmng8JZp4LCWauCz/L0XT5T/9mctesmLeGbtKXGHvLXtLUV75XZ2myLAQJMaEo3VcBHq0jkb/zrHo2Toasa3CAoIg0RQQrno7SzTxWEo0cVlKNPF5SjTxmN5777249tpr0bNnT17QeiJJNHExq0YTl6emznF5HhTNps2tWLECU6dOxcKFCxEaGorjjjsOw4cPxxlnnOHm7FuzWk6zZs3C008/jbfffruJj6p5h5do4o6fRBOPp0QTj6VEE5el36LJspc+/mwOvtm4DYNOOxerMouwJqsYOcUV7sSs1lJsq1Akx0agU1Ir9OsQg6M7xqJtfKSn7KVD0ZFo4l0zEk08lhJNXJYSTXyeEk08phJNPJYWyRaDueeee9C2bVtu4DqiSTRxMUs0cXkeFC03NxdXXnkl7GHepshZ5lJxcbGr1XTJJZfg+uuvR1pamhNQEk3eBkOiyRsnr70kmrySarifRFPDjALpoWLggdBquG9T12iy6W9Wb8lkkmUvzVv5LRZlZCMkri0q/1v8OzI8FEnR4WibEIGebaLRv1MsureORnREaMMn0EAPiaagEe4LINHEYynRxGUp0cTnKdHEYyrRxGMp0cRladHGjh2LSZMmuUXJ/GgSTU1I2aTS119/jTPPPNMVAj/rrLOcaNq+fTtefPFFvPXWW+jVqxduuOEGl+E0f/58ZTR5GA+JJg+QAugi0RQArAa6SjTxWFokiSYuz6YSTZVVNSgorUJ2YQU27/luapxNkbNC39ZsdbjYyFCkxkWgU3LUd9lLHWLQOi6ytsY35UQlmigYXRCJJh5LiSYuS4kmPk+JJh5TiSYeS4kmLkuJpvp5hlh9IwAhNWZrmkGzaXOWpfT73/8ec+bM2e+Ibaqc3fQ//vjj2LlzJ+xD3vrbkrSaOlf/4Eo0cS9+iSYeT4kmHkuJJi5Li8YUTfYtXFLxXWHvrLwyrNtZ4qbHbc8pg02bc9/W1RWIbxWK7u0SkdY2Gsd2jkPXlFawrKamaBJNPKoSTTyWEk1clhJNfJ4STTymEk08lhJNXJYSTS1QNFlGk6WpzZ07d7/i33aq5svWrl3r5p9mZma6jKeMjAyJpgZ+rySauB88Ek08nhJNPJYSTVyWLNFUUVXjMpWyC8uxZU8ZVmwrdNlLtpqcNcteimsV5gp7l+75Fp3jqnDlecOREhvBP6EDIko08RBLNPFYSjRxWUo08XlKNPGYSjTxWEo0cVlKNLUw0WSnU1ZWhhEjRuChhx5yfx7YTDatW7cOv/3tb52MOvXUUyWaJJrwxBNPuGw3P5pEE4+yRBOPpUQTl2VdoimnuBLb/puF5GWPJpQydha77CWrw2Sllyx7qVVEqJNJ7RMiXfZSeqdYrPlqNnbtyMQ111zjJXTQfSSagka4L4BEE4+lRBOXpUQTn6dEE4+pRBOPpUQTl6VEUwsUTTZFzqbCWRaO1WI6VDPZtGfPHtx///1ISkpyUkqtbgLKaOJeHRJNPJ4STTyWEk1clnWJprkZeXhpXhZKKqobvcM2cRE4tkscjukUhz7topEYHe5iffLJJ9i2bZtEU6PJ7r+h3UtUVla6hUSaukk0cQm/8MILbpXhUaNGcQPXEc3KMNhCM4d6wdkUBzBlyhSkp6e7eqN+tMmTJ2PgwIEYOnSoH7vDxIkTMWzYMAwePNiX/T322GMYOXIkBgwY4Mv+JJp4mCWaeCwtklad4/JUMfC6eTa7Gk2BXBommwoKClBSUoJ27doFsukR11eiiTvkEk08nhJNPJYSTVyWdYmmWety8cLcrH2rwgW619CQEJxxdDKuOqmdmzb3/SbRFCjN+vtLNPF42gItrVu3xjnnnMMLWk8kiSYuZokmLk+JJh5PiSYeS4kmLkuLJtF0hIom/qXUciNKNHHHVqKJx1OiicdSoonLsi7RtCarGDPW5KC0ogpV1UB+aSV2F1SguKwK3191IyIsBAnR4W56nK0g993aHEBEWChO6BaPYWmJBx2wRBN3DCWaeDwlmngsLZIymrg8ldHE5Tl+/HhcccUV6NOnDzfwIaJJNHERK6OJy1OiSaKJe0W1wGgSTdxBlWji8ZRo4rGUaOKyrEs02b/bKnEFpVWuVpPVXlrybQEyc8tgK8vZCnGpseHokhKFvu1jkN4xFh2SWuGA5KVDHqxEE3cMJZp4PCWaeCwlmrgsLZpEE5epRBOP5+23347bbrsNHTt25AWtJ5JEExezRJNEE/eKaoHRJJq4gyrRxOMp0cRjKdHEZXko0eRFMPVoHe0ylkwwxUeFBXRQEk0B4Wqws0RTg4g8d5Bo8ozKU0dlNHnC5LmTRJNnVJ46SjR5wuSpk0STJ0yeO40bNw4TJkxAQkKC522C6SjRJNEUzPVzRGwr0cQdZokmHk+JJh5LiSYuy++LpmuvG9tgBlMwgqn2yCWauGMo0cTjKdHEY2mRJJq4PCWauDwlmng8JZp4LC2SRBOXZzDRWkwx8KKiIuzevdutNGcryFhByjZt2vhmM4MZhMNhW4km7ihINPF4SjTxWEo0cVk60TRzFpZ9sw6jfnjFd1PkthQgM+97U+TiItCzdRQGdG1cBtOBRyzRxB1DiSYeT4kmHkuJJi5LiybRxGUq0cTjKdHEYynRxGUZbLRmL5psZbmcnBy88847WLRoEVauXOlWmTv22GPdMq22lOlRRx0VLKcWv71EE3eIJZp4PCWaeCwlmngsbYpcfmkVZiz4GjO/3ozYbsfvX4MpLgI9WkfhBJJgqj1yiSbeGFokiSYeT4kmHkuJJi5LiSY+T4kmHlOJJh5LiSYuy2CjNXvRZNlL06ZNw6RJk9ClSxfExMQ4JiagsrKykJ6ejj//+c9ISUkJllWL3l6iiTu8Ek08nhJNPJYSTcGzrBVM+4p8b8l3ggkIcUW+W/9XMLEymA48Yomm4Mfw+xEkmng8JZp4LCWauCwlmvg8JZp4TCWaeCwlmrgsg43WrEWTyaRdu3bhtNNOw89//nNceeWVaNu2rWNSVVWFmTNn4v7774dV17/44ouDZdWit5do4g6vRBOPp0QTj6VEU+NZfl8wfXOIVeSaWjDVHrlEU+PH8FBbSjTxeEo08VhKNHFZSjTxeUo08ZhKNPFYSjRxWQYbrVmLpurqaixcuNCJJPvzwFZRUYG//vWvWLJkCZ577rlgWbXo7SWauMMr0cTjKdHEYynRFDjLhgRTWEUhOsQB5w7p06hV5AI9IommQInV31+iicdToonHUqKJy1Kiic9ToonHVKKJx1Kiicsy2GjNXjR98cUXuPvuu2E335GRkfvxsKymjz/+GC+88ALeeOONYFm16O0lmrjDK9HE4ynRxGMp0eSd5f8EUym+ySzGkm8L9qvBVJvBVLp9JeIqsnH9mCu9Bw+ip0RTEPAOsalEE4+nRBOPpUQTl6VEE5+nRBOPqUQTj6VEE5dlsNGatWiyqXP2QH/GGWe4zKXBgwfvV6Np8+bNmDp1qqvX9MgjjwTLira9HU9eXp6b2vf9Fhoaig4dOrjzKC8vdz8vLi5GWFgYevbs6epNWU2q5cuXu/OOiorC2Wef7UKYVNu+fbubSjho0KCAj1WiKWBk9W4g0cTjKdHEYynR1DBLr4KptgbTVwtmIyMjA9dff33DwQk9JJoIEL8XQqKJx1OiicdSoonLUqKJz1OiicdUoonHUqKJyzLYaM1aNNnJm5C5+eabYVLJ6jDV1miyaXVz5szB559/jilTpmDo0KHBsqJtb8e2adMm3HHHHfti2jS/r7/+GpdccomTYnbcDzzwgDsfE1OWrTVx4kSEhITgF7/4hTtvW23vpZdeQo8ePZxgevzxx52ouu222wI+VommgJFJNI0fz4VWRzSJJi5mW51z3rx5bsqxH23BggVYvHgxbrnlFj92h9mzZ8OumXHjxu3bX05xJbbsKUVlVU2Dx1BeVY1v95Ri6beFyMwrQ02NlfkGkmMj0K9DDEww9esYi/ioMBfLPqslmhrE6rnDe++9h8LCQlx++eWetwmmo0RTMPT231aiicfSItm9q71gHD58ODdwHdEmT57sVmv2637Z7mmHDRvmXq760R577DG3EvWAAQP82B0efvhhjB49Gv379/dlf3/84x9x0UUXoV+/fr7sT6KJh1miicfSItn934QJE5CQkMANXEe0sWPHukXJahcka+qdjhkzxiXSHDiTq6n325j4zV40mYSxm/zf/e53WLduHfLz810WUFJSkpM0Jm5MzBzOzcSTiTK7cOyLsHfv3u7L6eqrr3a/LCaBzjrrLFfsfMiQIe5c33//fTz//POwLKhrr70WdoP30Ucf4a233mrUqUo0NQpbnRspo4nHU6KJx9IiHYmi6YuN+Xh+TiZKKqobBTM0JAQn9UzAVUPb7xNMtYEkmhqFtM6NJJp4PF999VXExcXh/PPP5wWtJ5JEExezRBOXp0QTl6dEE4+nRBOPpUQTl2Ww0Zq9aDIAZWVl2LNnD1asWOGEze7du9GrVy/07dvX/emX0WzsYNjx2w2aFSy3oubr1693b3nsAbtNmzYoKSnBM888gxkzZuC3v/2ty2z65z//iX/84x9Oqp188sn405/+hEcffdRJqsY0iabGUKt7G4kmHk+JJh7LI1U0zcvIw7TZmaisbjij6VC0TTSN6JuEa07pcNCPJZq416dEE4+nRBOPpUWaNm0a0tLSMGLECG7gOqJJNHExSzRxeUo08XhKNPFYSjRxWQYbrdmLJqtNZDUroqOjcdppp+3Ho6ioyAmcSy+9FCkpKcGyapLtLSNrx44d+PnPf45zzz0X1113nctMsjS8nTt3un2Wlpbi5Zdfdmlydj42BcX6zZ8/36VV2zS8rl27on379mjVqpW7CQo0fU+iiTu8Ek08nhJNPJZHqmhav6sEn63OQWlFlYNpvim/pBKZeeUoKvvu36xFhofCinzbf63CbcLcdy0iLBTHdo7DsN6JBw2GRBP3+pRo4vGUaOKxtEgSTVyemjrH5ampczyed911F2666Sb3bOVHk2jiUtbUOS7PYKI1e9FkgsTSwu2iuuqqq/axMIGTnZ2Nn/zkJ7jxxhvdFLrDsVltpunTp8M+ZKy2iE35q0s0/eUvf3H1QGzK3KxZs5xYsv+sQLjVa7JsroKCAtx33304/fTTAzpd42gfrH4VtLVi6G+++aab9udHs/OzB5if/exnfuzOXXsffvjhftdkU+7YpKRlvF1xxRVNuRsXOzMz09U/s98tP9q2bdtgdX78+h3esmWLqyn04x//2I/Tw8aNG1025g9/+ENf9mdTjdesWeOm5/rR1q5diw0bNjiR7kczMbl161Y33fiQLSwCVa2S8W1xFBZuKsDO/HK4QkzlhYirzkN62zCkd4xBfFS4p8O1sbPfP6v94UezWn6WwWuLYPjRlixZ4r5XDnyR01T7tqmd9nLFr7o0lkVsL6wsM7ipm70cssU9bAq8H80+p23REL9q4Nh9SXx8PE444QQ/Tg+fffYZUlNTcdxxx/myv08//RTt2rXzreaOrZrcpUsX32rufPDBB24WwFFHHeULT7snO/roo12WmB/tnXfewbHHHusW1/GjWSkLq3nVrVs3P3bnVte2+lqdO3f2ZX82s8I+pzt27Njk+3vllVfwgx/8wP3++dHspf4555yD1q1b+7E7V2/XnmX9SoqwBbSsnldi4sEvz5rihE3SX3bZZe77wY9mM4TMCQSadNHYY3v22WddAogle/jRnn76aZgTUI2mJqZttY3sptsupi+++MLVIvh+MwHz2muvuYdiu+gOx2Y38JahZDcTDz74oJNGJpOsHpOJI/slsZtuk0smLqw2kzUrBm43WXZeTzzxhHvIWbVqFd59912X6fTUU08FdLomYqyI+PHHHx/Qdo3tbNMF7WHXrxtEm35oUxLtJsOPZlMaTSAcc8wxfuwOlr1n14tluDV1s0K9lrHlV8FJq7tmKyraDakfzSSoZRn6dbOdm5vrivn36dPHj9NzUtpEaGOn2QZ6kCZF7BztAcaPZudm18yBDxO2mlxucSWySiJQktALIcndgdAwREWEol1cGFKxF6HZa4CSnIAO06Zq2++ELcrgRzOpZZ9n3bt392N37nfBvm/8erOblZXlvgftO9GPZuLc7iX8eDgzaW51Ff14MDN2JlzDw8PdIiF+NPtesBtfewHmR7PvPMtm9+vh07LH7T7TShr40ewewko/+PWway8E7GWnyTs/mt2T2bklJyf7sTtXx9Vqt9o5+tHsJYv9Lvj1ML969Wp06tTJt3Ih9lLHvhcOfPZqCrb2fGPfebGxsU0R/qCYK1eudPcQfokKW03c7sns88yPZs/OVl7GLzGybNky98zglxhZunSpe/6KiIjwA6d7OW3Ps/Z960f76quvYLLQL57BnFOzzmiym0N7G3nnnXfC3jQdCNxuVk28mHV//fXXg+HUJNva8duH2XnnneekkX3I2L/Zl5NlN5hEsmlw9tD0q1/9yj1oW40me/tqv7RW4f6ee+5xN+W2Qo+9CbZsKHtLZKYzkKapc4HQarivps41zMhrD02d80rKW78jsRh4cXkVtu4tw1dbCvDlxnzsKapAWGgIkmLC3UpyJ/dKxNEdYhEe9r/pct5oatU5r5y89tPUOa+kGu6nqXMNMwqkh6bOBUKr4b6aOtcwo0B6aOpcILTq76upczyWFskSKmwldb8ytjR1jjt+wURr1qLJpsfZA/3ZZ5/tljG0JUstTdxabe0jK/5nht+WGT3cmmW92C+evUWylNfaZtkpdj5mnH/605+6bBW7wbHMpUGDBrlz/vOf/4yTTjrJZT7ZG/wLLrjAra5nVtUyMQKdAifRxL06JJp4PCWaeCwt0pEkmqz4957CCqzMLML8jDxk7CqBZTbFRIaha2orDO6egBN7xCM5pvFvvVSjiXt9SjTxeEo08VhaJIkmLk+JJi5PiSYeT4kmHkuJJi5Li2ar1FvdZmU08dkeFNFqHP3hD39wNYusDkGtLa3NDLJ0S1u5w6TM4dZsusXvf/97jBo1ys0F/n6z6TtWENyayTMTSibULHvJUiz/9a9/uZXmrNk0tLffftvVPLI060ceeSTg1G6JJu7VIdHE4ynRxGN5pIgm+9y/+tobsDG7BIs2FWDxlgLklVQiPDQEqXEROKZTLE7plYi0djEIDTyJab8BkWjiXp8STTyeEk08lhJNXJYWTaKJy1SiicdToonHUqKJy1Kiic+zwYhWc2Ty5MmumLYJE5MxNifa5n1bRpBfRYQbPNDDuINEE3dwJJp4PCWaeCyPCNE0dz7mfLUCA0degvkb8rApuwSoAWJbhaFnm2iXwXRCt3gkeCz23RB9iaaGCAX2c4mmwHjV11uiicdSoonLUqKJz1OiicdUoonHUqKJy1Kiic/TU0SbKmeFIW1FJSuUagXqrOCmFf5Ta5iARFPDjALpIdEUCK36+0o08Vi2ZNFkC8cVlFVixpdr8N7CDES0PxpFZVWICAtB2/hIHNs5FienJaJ7ajRCgsxi+v6ISDRxr0+JJh5PiSYeS4kmLkuJJj5PiSYeU4kmHkuJJi5LiSY+z/0i2jQxE0qWsWSrOdj0M1uRqr5mqxT4saJME596k4aXaOLilWji8ZRo4rFsqaKpvLIaWXnl+HprIRZszMfWvaVOJsVHhaN322gM6ZmA4zrHuawmdpNo4hKVaOLxlGjisZRo4rKUaOLzlGjiMZVo4rGUaOKylGji89wX0bKWLGPJPkyHDBmCG2+8EStWrIAV/K6r2VLCtuTgb37zmyY8suYfWqKJO4YSTTyeEk08li1NNFXXAPkllVizoxgLN+ZhxfYilFZUIzI8FB0SI3F8lzgM7ZWIzsmtuBC/F02iiYtWoonHU6KJx1KiictSoonPU6KJx1SiicdSoonLUqKJz3M/0bRy5Ur8+te/xrBhw1whbSv6+uCDD9YrmgYOHIjbb7+9CY+s+YeWaOKOoUQTj6dEE49lSxJNJpS255RhybcF+GJjPnbml7vC3iEVxeiaGIIfDu3jin5HRYRyAR4QTaKJi1eiicdToonHUqKJy1Kiic9ToonHVKKJx1KiictSoonPc7+IltW0bt06V+i7tv5SUVERbHqcWuMJSDQ1nt2htpRo4vGUaOKxbAmiqaq6BrnFlfgmqwjzM/KxOqsIldU1TihZ5lJYzga0wR6M+9lPuODqiCbRxMUs0cTjKdHEYynRxGUp0cTnKdHEYyrRxGMp0cRlKdHE51lnRJNOu3btwrx583DeeeehoKAAERERrn6TtdoC4V9++SVsCl2/fv2Qnp7u4xE2n11JNHHHSqKJx1OiiceyuYum4vIqbNlThsVbCvDlpnzsLapAWGgIkmPC0a9jLIb2SsDu9Yuxbs1qjBs3jgtOoskXnhJNPMwSTTyWEk1clhJNfJ4STTymEk08lhJNXJYSTXyedUasrq7GzJkz8bvf/Q7XXnstMjMzXWaT1W+y/0w03XnnnXj77beRkJCAAQMG4IknnkDr1q19PMrmsSuJJu44STTxeEo08Vg2V9FkGUt7CitcDaYFG/KQsasEltkUExmGbqlRGNw9HoN7xCM5JgKzZ8+GXTMSTZzr5sMPP0R2djauuuoqTsAGokg08TBLNPFYSjRxWUo08XlKNPGYSjTxWEo0cVlKNPF51iuabNrCj370I3To0AFdu3ZFcXGxy1565pln0KZNG5x00km444473FS7v/zlL7jppptw6aWX+niUzWNXEk3ccZJo4vGUaOKxbG6iqQZAcVkVNuwuwaLNBViypQB5JZUIDw1B6/gI9O8Ui6E9E5HWLsbVZ7Im0cS9XiSaeDzfeOMNhIeH48ILL+QFrSeSRBMX87Rp05CWloYRI0ZwA9cRbcqUKS4Lf/jw4b7sb/LkybCapkOHDvVlfxMnTnT1VgcPHuzL/mzhoJEjR7qXzn60hx9+GKNHj0b//v392J1bKOmiiy5yszf8aOPHj8cVV1yBPn36NPnu7r33XpdQ0LNnzybfl+1AoomL+ZZbbsEDDzyAlJQUbuA6otmLxgkTJrgkEz/a2LFjMWnSJMTExPixO4wZMwZTp05FZGSkL/sLZichIbYGNBBSY+k/zaxZRpOJpiuvvBKPPPKIk0o7d+7E448/jkGDBrkvFJNM8+fPR0VFBV588UV89dVXeO6555rZmTb94Uo0cRlLNPF4SjTxWFqkRYsWuenGt956KzdwHdEWLFiAxYsXw240altOUaWTR5apVF+rrqlBdkEFvtpSgE3ZJaj9lrJMplPSEnHhCa2REBW+XwiJJu6wSjTxeEo08VhapBdeeAGdO3fGqFGjuIHriCbRxMUs0cTlKdHE4ynRxGNpkSSauDwlmrg864xWO3Xu/vvvx5w5c1y/qqoqvP/++y57yVane/rpp93UOfv3WbNm7ft/nw6x2exGook7VBJNPJ4STTyWh4toWrQ5H8/NyoStHNeYFhEWgtP6JGHMKR0O2lyiqTFE695GoonHU6KJx1KiicvSoimjictUGU08nspo4rG0SPai8Z577tm3qBY3+sHRJJq4hCWauDzrFU0rV67E1Vdfjddeew2pqakoKSnBK6+8gs2bN7uU1SeffBIffPCBm05nN3n297///e8+HWHz2Y1EE3esJJp4PCWaeCwPF9G0cGM+pszajoqqxiXSWgHw4b0TMXZ4R4km7uVxUDSJJh5giSYeS4kmLkuJJj5PiSYeU4kmHkuJJi5Li6apc3UzbdZT5+y0ysrK3Jxkq8dkNZqKiopcdpPNiba5i1Ys3AqCWw0nm+9uU+rM4qrtT0CiiXtFSDTxeEo08VgeLqJpU3YpPl+Tsy+jyabI5ZVUYeveUhSWVe074cjwULRPiET7xEhXl6m2hYeFIL1jrJs+d2BTRhP3epFo4vGUaOKxlGjispRo4vOUaOIxlWjisZRo4rKUaKqfZ7MXTTZ9bsmSJa4I144dO5xcOvbYY10dksLCQpx44onu51agKy8vz/Wzf1OTaGrKa0CiiUdXoonH8nARTd8/I5s+ty2nzBX6XrgpHzvzy11h78TocPTtEIuTeibgmI6xaBUR6gmERJMnTJ47STR5RtVgR4mmBhEF1EE1mgLC1WBnTZ1rEFFAHSSaAsJVb2eJJh5LiSYuS4mmFi6aak+voKAAWVlZiI6ORqdOnbBu3TpXGPyUU05x0+XWrl3rspzOPvts/hXWAiIqo4k7iBJNPGuY6qwAACAASURBVJ4STTyWh5NoqqquQU5xJb7JLMKCDflYnVXkioNHRYSiS0oUBnaNw4k9EtA2IbBVNSSauNeLRBOPp0QTj6VFkmji8pRo4vKUaOLxlGjisZRo4rKUaDoCRFNpaSlWr16NjIwMVFZWonv37m4FOpNPW7Zs8W1pUf6l619EiSYua4kmHk+JJh7Lw0U0FZdXYfOeUpfF9OWmAuwtqoDVXUqOCUd6J8tiSsTRHWL2my7nlYJEk1dS3vpJNHnj5KWXRJMXSt77SDR5Z+Wlp0STF0re+0g0eWfVUE+JpoYIBfZzFQMPjFdDvVWjqW5CzWrqXE1NDXJycrBr1y707dvXnZWtJmc3wi+++CI2bNjgioGfcMIJ+Mc//oHt27djwoQJuP322139JrW6CUg0ca8OiSYeT4kmHsv/a9FkGUvZhRVYua0QCzbmI2NXCSyzKSYyDN1bR2FQt3gM7hGP5JiIRp+0RFOj0R1yQ4kmHk+JJh5LiyTRxOUp0cTlKdHE4ynRxGNpkSSauDwlmlqIaLJ6TEuXLsUzzzzjVpobOnSoy1q64IILXBbTqFGjXJ2mhQsX4p133nGFwu+66y706dMHN954I/eqamHRJJq4AyrRxOMp0cRj+X8lmr76ajGuueFGbNhdgkWb8rH020LklVS6jKXW8RHo3ykOQ3slIK1tjKvPFEyTaAqG3sHbSjTxeEo08VhKNHFZWjSJJi5TiSYeT4kmHkuJJi5LiybR1EJEk2U0bdy4Eb///e9d5tI111yDjh074pJLLsGsWbPc3+0h46mnnnKiybKdpk+fjrfeegvTpk3jX1ktKKJEE3cwJZp4PCWaeCz/T0TTwkWYPmcRBp/1E3yxMR+bskuAGiC2VRjS2kZjcPcEDOgWh4SocMqJSjRRMO4LItHE4ynRxGMp0cRlKdHE5ynRxGMq0cRjKdHEZSnRVD/PZjV1zk7FZJNlLb355pvYs2cPzjjjDIwfPx4zZsxwYun7osnqNb3//vt45ZVX8Prrr/OvrBYUUaKJO5gSTTyeEk08ln6KppoaoKC0Ep8vWY935q1FZIejUVRWhYiwELRLiMRxXeIwtGciuqVGISTILKbvE5Jo4l4vEk08nhJNPJYSTVyWEk18nhJNPKYSTTyWEk1clhJNLUw01Z6OCafdu3cjLy/PZTTZdDpbVW7x4sUuo+ntt992NZoeeughpKam4sEHH+RfWS0ookQTdzAlmng8JZp4LP0STeWV1cjMLceyrQVYuKkAW/eWOplkWUt92sW41eSO7RzrsprYTaKJS1SiicdToonHUqKJy1Kiic9ToonHVKKJx1KiictSoqmFiqba0yovL8dvfvMbrF+/HiNHjnRZTjZd7pe//CXWrFmDmTNnYtKkSRg8eDD/ympBESWauIMp0cTjKdHEY9nUoqm6Bq720uqsIny5MR8rMotQVlGNVuGh6JgUieO7xmNIjwR0Tm7FPanvRZNo4qKVaOLxlGjisZRo4rKUaOLzlGjiMZVo4rGUaOKylGhq4aLJMps2bdqEJ554AsuXL0dRUZE745CQEHTo0AGXX345rrjiCv5V1cIiSjRxB1SiicdToonHsilFU2lFNbbuLcOSby2LKR+78stdYe+QymJ0iavGhcOOxjEdY9EqIpR7QgdEk2ji4pVo4vGUaOKxlGjispRo4vOUaOIxlWjisZRo4rKUaGrhoslWlisuLkZYWBhWrVoFEybWQkNDkZaW5mSTtbi4OP6V1YIiSjRxB1OiicdToonHsilEU1V1DXKKK7EqswhfbMh32UyV1TWIighF15QoRORtQnxZJm657kruidQRTaKJi1miicdToonHUqKJy1Kiic9ToonHVKKJx1KiictSoqkFiybLZsrIyMCCBQtw9dVXH3Sm1dXVWLZsGeyh/0c/+hH/ympBESWauIMp0cTjKdHEY8kWTcXlVdiUXYolWwqwaHMB9hZVICw0BCmx4UjvGIuTeiYiZ9PX+HrZEtxyyy3cE5Fo8oWnRBMPs0QTj6VEE5elRBOfp0QTj6lEE4+lRBOXpURTCxZNJpJmzZqFJ598Eu++++5BZ2qrztmN3XvvvedWnlOrm4BEE/fqkGji8ZRo4rFkiSbLWMouqMCK7YX4YmM+MnaVwDKbYiLD0KN1FAZ1j3f/JcdEuBcBtkiDRBNnHD/55BNs27YN11xzDSdgA1EkmniYJZp4LCWauCwlmvg8JZp4TCWaeCwlmrgsJZpaoGiyTCYr+m0PL1aX6a233sIDDzyw35lan507d2LGjBmIiorClClT+FdWC4oo0cQdTIkmHk+JJh7LYEVTDYCisionlr7anI+l3xa64t/hoSFoEx+B/p3jcFLPBKS1jXH1maxJNHHHT6KJy9NWqLWXUrZ6bVM3iSYu4RdeeAGdO3fGqFGjuIHriDZt2jRXkmHEiBG+7M/uW9PT0zF8+HBf9jd58mQMHDgQQ4cO9WV/EydOxLBhw3xbrOexxx5ziwYNGDDAl/OTaOJhlmjisZRo4rKUaGqBoskymZYsWYLf/e53Tjht3rwZgwYNOkg0ZWZmIjU1Fffccw/OPPNM/pXVgiJKNHEHU6KJx1OiiceyLtFkU97W7SxBeWV1vTsz0WR9TTBtyi5Bjf0DgOjIUAztlYiLB7ZBQlT4fjEkmrjjJ9HE5SnRxOP597//Ha1bt8Y555zDC1pPJIkmLmaJJi5PiSYeT4kmHkuJJi5LiaYWKJosW8nk0ptvvulqNFnx17Fjxx50plYA/Oijj/btbRD/0vUvokQTl7VEE4+nRBOPZV2iyVaKe/bz7bCV4xrTwsNCMCwtEWOHdzxoc4mmxhCtexuJJi5PiSYeT4kmHkuLpIwmLk9lNHF5jh8/3q3q3adPH27gQ0STaOIivvXWW10SRtu2bbmB64hmpRNs5lFKSoov+xs3bhwmTJiAhIQEX/ZnDmLSpEmIiYnxZX9jxozB1KlTERkZ6cv+gtlJSEiIm98QUmP2ppk1O+Q1a9bAbhTtF0at8QQkmhrP7lBbSjTxeEo08VjWJZoWbynA5M+2oaKqcV8DVgD85F6J+PlpEk3c0To4mkQTl7BEE4+nRBOPpUQTl6VFk2jiMpVo4vG8/fbbcdttt6Fjx4PvoXh7+V8kiSYuVYmmunk2a9Fkp2WyKTs7G6WlpcjNzT3oTE2kWWZT9+7duVdVC4sm0cQdUIkmHk+JJh7LukTT1r2l+Hxt7n4ZTZVVNdhVUI4te0r3CajI8FB0SIxEp6RWsCym2mY1mo5qH4NT0hIPOlhlNHHHT6KJy1OiicdToonHUqKJy1Kiic9ToonHVKKJx9IiKaOJyzOYaM1eNFm9pnnz5rlpdFaT6cAWHR3tps4dampdMOBa2rYSTdwRlWji8ZRo4rGsSzQduAebQrdhdwnmrMuFZTuVVFQjPioM6R1jXeaS/dkqItTTgUk0ecLkuZNEk2dUnjpKNHnC5KmTRJMnTJ47aeqcZ1SeOiqjyRMmz50kmjyjarCjRFODiALqINEUEK4m7dysRVPt6nOXXnopysvL0a1bN+Tk5GDVqlX4wQ9+4DKdvvzySzz66KP42c9+1qQgm3twiSbuCEo08XhKNPFYehFNBaWVWL6tCLPX5WJ1VpHNrEZqXDgGd0/AqX2S0Dm5VUAHJNEUEK4GO0s0NYgooA4STQHhqrezRBOPpUWSaOLylGji8pRo4vGUaOKxtEgSTVyewURr1qLJspmWLl0KE00vvvgijjvuOCxevBhPPfWUq9u0YcMG2C/vVVddhYsuuigYTi1+W4km7hBLNPF4SjTxWNYnmqptGnJhBb7cmI/Z6/OQmVuGiLAQdE6OclPihvZKQGL0/ivKeTkyiSYvlLz3kWjyzspLT4kmL5S89ZFo8sbJay+JJq+kvPWTaPLGyWsviSavpBruJ9HUMKNAekg0BUKrafs2e9E0f/58PPjgg/joo49QO43OPvxmzJiByspKvPfee/jPf/6Dv/zlL01LshHR7Xi3b9+O6dOnu62tevypp57qMrPKysrw7rvvoqCgAOHh4ejXrx8GDx6MiooK2IPb+vXrXXX7yy+/3G1bVVXlxJpNHzz99NMDPhqJpoCR1buBRBOPp0QTj2Vdoqm8qgbb9pZiXkYeFmzIR35pJaIjQ3FUuxiXxXR8lzhYfabGNImmxlCrexuJJi5PiSYeT4kmHkuLJNHE5SnRxOUp0cTjKdHEY2mRJJq4PIOJ1qxFk02dM7liy2uaWLKi3xkZGTj33HOdYIqPj8e//vUvfPXVV7AboMOpmWSqlRE23c9aVFQUrr32WqSnp+P999/HM888g549ezqJtGfPHpepZdLpF7/4BRITE52ksn87+uijkZWVhYceegjHH388rr/++oBPVaIpYGQSTePHc6HVEU2iiYt50aJFrq6drTpirbi8Gmt3FLupcl9vK0RFVbXLXDquSxxO65OE3m1j8N3ipI1rEk2N41bXVhJNXJ4STTyeEk08lhJNXJYWTaKJy1SiicdToonHUqKJyzLYaM1aNNnJW22mG264ARdffDFGjx7tVp+75JJLkJKSgrZt22L27NkYM2YMbrzxxmBZUbe34zSRZA98b7311n6xTfqcddZZuPnmm92xm4i64IILcP755+OUU06BfbhbttMLL7zgtrvmmmvw3HPPYdmyZXjppZcadZwSTY3CVudGymji8ZRo4rG0SLWi6Ve/uhV5JZVYurXQSaaMXcUIDQlB2/gInNQz0U2Xa58YGfTOJZqCRrhfAIkmLk+JJh5PiSYeS4kmLkuJJj5PiSYeU4kmHkuJJi7LYKM1e9FkmUErVqzA6tWrcdlll7npc/Zg8+c//9lNnevYsSPuu+8+dOrUKVhW1O3z8vKcGDv22GMxYMAAF9tWyLOpcHYuNv1tzZo1SE1NRUlJCZ599lk3xe6ee+5xb2XeeOMNvPzyyyguLsagQYMwefJk/OlPf0KPHj0adZwSTY3CJtHExXbIaBJNXMgmmmbPmYvLr70JX2zMx9yMPOzKL3dT47qlRmF470QM6ZGA2FZhlB1LNFEw7gsi0cTlKdHE4ynRxGMp0cRlKdHE5ynRxGMq0cRjKdHEZRlstGYtmmzqXH5+visI/v26RPbv27Ztc3WOkpKS0Lp162A50bc3sXPMMce4/7p37+4ys+wBcOrUqbCfjR07Fjt37nT7tewnk0r2s1deeQW33HKLy3Bavny5k0wmpGyKXUREhJNVP/rRj9w0wkCaRFMgtBruq4ymhhl57SHR5JWUt36LFi/Dvz6ei97Df4xFmwtQVFblpFK/DrGuHlP/zrEIDw1irtwBhyHR5G1cvPaSaPJKyls/iSZvnLz0kmjyQsl7H9Vo8s7KS09NnfNCyXsfiSbvrBrqKdHUEKHAfq4aTYHxasrezVo0WfbS119/jUcffRSvvfZaU3Kix87OzkavXr3w+uuvu2lyhYWFuOuuu5wcM4l0KNFkBc1nzpyJV199FQsXLnTTA02qmUhbu3aty+CyuDfddBPOPvvsgI7ZRNOdd97p6l350UwQfvDBBy4LzY+Wm5sLe0CzaZV+NKupZWPl12qHu3fvxty5c3HhhRc2+emZALXrz65TP5oVuF+yZInLAPSjmaQ2iWu13vxoJiUti9E+B5q8hUdhc14NPlu9F6GpvVBVVQ2UFyK5aheObx+Gnm2i6YdgdfS2bNmCM844gx77UAHXrVvX6EURGnOAJvrt92/48OGN2TzgbVatWgX7PLNp1H40yxi276ehQ4f6sTv3nW7fgyeeeKIv+7PPFruXsJc2Td2sXmRoaChOOOGEpt6Vi//ll1+iVatWbkVeP5pJZXvJ1b9/fz9250oP2MtEq2vpR5szZw7atGmDvn37+rE7dw9h2fi9e/f2ZX+fffaZW4zG7k39aHZPlpaW1uhM/ECP8eOPP3Y1Tbt27Rropo3qb/e4Nmuhc+fOjdo+0I2stqt9tthMDj/av//9bwwZMgTt2rVr8t3ZC4Fhw4a53z8/2ptvvukSGGxWiR/NZqmMGjXKfZ750eyZ2e5xExIS/NidS5L44Q9/iNjYWF/2Z8kZ9vxlyRd+NCtbY8+z9n3rR7PSOeYEbBGxw701e9FkdYluu+02/PWvf3VZPc2lmYiwmz97AzhixAiXtfT888/DvuhNFNkUuo0bN7qbNps6Zz+zguf2YWvNbsTtS8VqNd1///0455xz3MOxFUGfNWuWm0oXSDPR9Jvf/Ma3hxc7Jxs7vx5ebIqh8TnppJMCwdLovvZgZpk4fj0s2eqE9sBrKxM2dbNpn1Z0f+DAgU29KxffHqo3bdq0b4ppU+/UfhdM/lhhfT+ayWGTaXZD2lStugbIKa7ExvwwFMX1BOI7uKyldgkR6B5ThMi9a1FTmt8kuzcxaefo18Pgjh07XF07e6Dwo9nYmTj36+HTRKh9nvXp08eP08PWrVvd95NfD7smJe2liV8Pu5s3b3aiyY/7B/tON9FkWcx+NJO8toCIyQM/mq2Ga4uadOnSxY/dwaSyrb7r14O8fcfag5lfD/L2AiI5ORnt27f3hadJbHtx6Yc4sBMyiW3n5pc8sHtAGzu/ZjnYPa5JLXsp7Eez2R1WPsMvWbF48WInCm1xoqZuNuPDvmNtkSc/mkl6W+070NkhjT22L774wt0D2ueZH81eCtg9rl8ixl4K2Mscv0SMvXi35y+/RIzVgz755JPd960fzZ7zzQv4dX7BnFOzFk2WzWMPFSaarPC3yZYOHTrsxyMkJMR9MDW2dlEwcOvb1h7WrYC5ZTFYyqSJgl/96lfuC96Ke9v0N6szZedkfX/+85+7Xxo7V7sJt4wSu8h+97vfoaKiwsWyD317g/Lhhx+6aXaBNE2dC4RWw301da5hRl57aOqcV1KH7ldZVYPMvDLMz8jD/A152FtUiaiIUPRqE43hvZMwsHs8oiNCg9tJPVtr6hwXrabOcXlq6hyPp6bO8VhaJE2d4/LU1DkuT02d4/HU1DkeS4ukqXNcnsFEa/aiyaaM2dQ5Szs0mXTgW97aNPW77747GE70bS0j6R//+IfLaLJ0O6vRZAbWjvOoo45yGUmffvopfvzjH7u3yZa9ZF+SZrztraj93abH2VQpy44y0WRpgvZQbllCV111VUDHLNEUEK4GO0s0NYjIcweJJs+oDupYWlGNjF0lmLM+F0u2FKCkohohlSXonlCNy07vh77tYxBGrMd0qCOVaGr8+B1qS4kmLk+JJh5PiSYeS4kmLkuLJtHEZSrRxOMp0cRjKdHEZRlstBYhmp588sk6OZhosnoBN954Y7Cs6Nvb9IeHHnrIiSJLfzNpZNPorFmG0x133OH+bqmG9jObL1xVVeXqufznP/9xNZWsmbSyueeWzWRpnrYyXaCpuhJN3OGVaOLxlGhqHMv80kos31qI2evzsCarCEAIUuMikFiWiaSyrbj1+isbFzjArSSaAgTWQHeJJi5PiSYeT4kmHkuJJi5LiSY+T4kmHlOJJh5LiSYuy2CjNWvRFOzJa/v/EZBo4l4NEk08nhJNgbGsrqlBdkEFFm7Kx5z1ecjMLUNEWAg6J0fhlLREhO9di5VLFuLWW28NLHAje0s0NRJcHZtJNHF5SjTxeEo08VhKNHFZSjTxeUo08ZhKNPFYSjRxWQYbrVmLJqvRlJWV5Yo8H2qVNSvwacUwbUUgK9KlVjcBiSbu1SHRxOMp0eSdZXlVDbbuLcW89XlYsDEfBaWViI4MdVPkTu2dhOO6xOHrpYvdak0STd651tfz888/d8Xxr7/+ek7ABqJINHExSzTxeEo08VhKNHFZSjTxeUo08ZhKNPFYSjRxWQYbrVmLJhNJVnndps7Z6msHNiua/dZbb2H69OluGUA1iabHH3/cl8tAoomHWaLJG8vi8mqs2VGE2evysHxbISqqqpEYHY7ju8Th1D5J6N02BiEhgK3eItHkjamXXhJNXih572Mrp9qqnbbyqh9NoolHWaKJx1KiictSoonPU6KJx1SiicdSoonLMthozVY02Upslq1kK629/PLLeOqpp/ZjYdlOtqy21S6yGkh/+9vfgmXVordXRhN3eCWaeDwlmupnWVMD5JVUYsm3BW6qXMauYoSGhKBdQiRO6pmAk9MS0T4hcl8QiSbetWmRJJq4PCWaeDxfffVVV7fx/PPP5wWtJ5JEExezVp3j8lQxcC5PiSYeT4kmHkuJJi7LYKM1S9FkmUzLli3DH//4R2RnZ2P9+vUHTY0z0bRr1y5XKNumiPz0pz8NllWL3l6iiTu8Ek08nhJNdbOsqq7BzvxyLNiQj3kZedhVUI7I8FB0T43C8N6JOLFHAmJbhe0XQKKJd21KNHFZWjSJJh5TiSYeS4s0bdo0pKWl7Vu0hRv94GgSTVzCEk1cnhJNPJ4STTyWEk1clsFGa5aiySTS2rVrXRZTZmamq9F07rnnHsQiNjYW6enpuPjii2F/V6ubgEQT9+qQaOLxPBJF096iCqzcXgSruVRfs+lx3+4pxZJvC1FUVuW6Wk2mfh1iMbJfMvp3ijtoc4km3rUp0cRlKdHE5SnRxOUp0cTlOXHiRAwbNgyDBw/mBq4jmkQTF7NEE4+nRBOPpUQTl2Ww0ZqlaKo9actsWrFiBV5//XU89NBDwbI4oreXaOIOv0QTj+eRKJqsxtKkGdtQWlHdKJDhoSFu2ty40ztJNDWKoPeNNHXOOysvPZXR5IWStz4STd44ee0l0eSVlLd+Ek3eOHntZbM8LrroIvTr18/rJkH1k2gKCt9+G0s08VhKNHFZBhutWYsmO/mCggIsXboUnTp1Qq9evVA7Ze7TTz9FeXk5+vfvj0GDBgXLqcVvL9HEHWKJJh7PI1E0fb21EE99urXBjKa6KIeFhmBIjwTcNEKiiXclHjqSRBOXsEQTj6dEE4+lRZJo4vKUaOLylGji8bzrrrtw0003oWvXrryg9USSaOJiHjduHCZMmICEhARu4DqijR07FpMmTUJMTIwv+xszZgymTp2KyMj/1V/1ZceN2EmzF00VFRV45JFHMHToUIwcORL2/w888ABee+01pKamug+Jhx9+2EkotboJSDRxrw6JJh7PI1E0ZeWVY/a63P0ymiqra7ArvxwZu0pQVvldplOr8FB0SWmFrilRMLlU28JCgV5tojG0V+JBA6Gpc7xr0yJJNHF5SjTxeEo08VhKNHFZWjSJJi5TiSYeT4kmHkuLdMstt7hn85SUFG7gOqJJNPmC2dNOmrVosuylzZs348ILL8QHH3yA9u3bY+XKlRg+fDiuv/56DBgwAG+99ZaTUGaL1SSaHn/8cV8uA4kmHuYjUTQdSK+8shqbsksxa10uFm3OR0l5NWIjw3BMp1icflQS+nWM3U801Udfool3bUo0cVlaNIkmHlOJJh5LiSYuS4kmPk+JJh5TiSYeS4kmLkuLpowmPtNDRrQaTfPnz8d9993n3irbVDkzpv/+97/d/ycmJrqbVqvhZDdcahJNEk3B/xasW7cOr7zyCmx+vh/tSBdNxeVVWJVZjFlrc7BiexGqa2qQGB2Ogd3icfpRyejROiqgYZBoCghXg52V0dQgooA6SDQFhKvezhJNPJYSTVyWEk18nhJNPKYSTTyWEk1clhJNfJ51RrSMpo0bN2L06NH4wx/+4KbNPfroo7jqqqtwxx13oLKyEv/6178wY8YMN7deTaJJoin43wKJpuAZfj+C1Zizz6gDsy5tvbn8kkos3lKAmWtzsSm7BCEIQduECJzcKxGnpCWiXULg87MlmrjjJ9HE5SnRxOMp0cRjKdHEZSnRxOcp0cRjKtHEYynRxGUp0cTnWW9Ey2K67bbbsGbNGpfRlJycjCeffBLdu3dHdnY27rzzTpx11ln4yU9+4vORNa/dqUYTd7w0dY7H80jMaLKspeyCCszfkI+563OxI78cEWEh6JIShVP7JOGkHgmIiwprFGSJpkZhq3MjiSYuT4kmHk+JJh5LiSYuS4kmPk+JJh5TiSYeS4kmLkuJJj7PeiNaVtPWrVtdRoCJpiFDhuD44493q8/t2LEDL774Im644QZXGFytbgISTdyrQ6KJx/NIE00VVTXYnlPmioEv2JiPgtJKREWEok+7GIzom4TjOschMjy00YAlmhqN7pAbSjRxeUo08XhKNPFYSjRxWUo08XlKNPGYSjTxWEo0cVlKNPF5HhSxpKQExcXFnuRRIH19OPTDdhcSTdyhkWji8TySRFNpRbVbVe7ztTlY+m0hrAh4fFQYju0c54p+920fi5D/LS7XKMgSTY3CVudGEk1cnhJNPJ4STTyWEk1clhJNfJ4STTymEk08lhJNXJYSTXye+0W0TCWrETNr1iyXqWTN/i0vL89NlUtLS9vX34qFW985c+a4VejU6iYg0cS9OiSaeDyPFNE07he/xoptha4e0+qsIliNppTYCAzpkYDhfZLQJbkVBapEEwXjviASTVyeEk08nhJNPJYSTVyWEk18nhJNPKYSTTyWEk1clhJNfJ77RTR5NHv2bEycOBHvvvuu+5n92/Lly/H+++/j3nvv3de/qqrKCamnn34ab7/9dhMfWfMOL9HEHT+JJh7PI0E0vfn+Jzjlwuswd30etuwpRVhoCDokRmJYWpIr+p0cG04DKtFEQ+kCSTRxeUo08XhKNPFYSjRxWUo08XlKNPGYSjTxWEo0cVlKNPF5ehJNJpSeeuopvPPOOxJNjRgDiaZGQKtnE4kmHs+WLJqqqmuwaGUGpr23ELE9h2BvUYWrv9SjdZSbKjewWzxiIhtX9LuuEZBo4l2bEk1clhZNoonHVKKJx1KiictSoonPU6KJx1SiicdSoonLUqKJz1OiqYmZWniJJi5kiSYez5YqmsqrarAluxSfrtqNeeuygfAoJ5X6dYzBaX2SXF0my2xiN4kmLlFlNHF5SjTxeEo08VhKNHFZSjTxeUo0kG4QswAAIABJREFU8ZhKNPFYSjRxWUo08XkeJJose+nhhx92K8pZs6lzCxcuxNSpU/HCCy/s629T5+zf//GPf2jqXAPjItHEvXAlmng8W6JoKimvdnWYrB7T8m2FsMymhOhwl8F02lFJ6Nk6Ouii33WNgEQT79q0SBJNXJ4STTyeEk08lhJNXJYSTXyeEk08phJNPJYSTVyWEk18ngeJppkzZ+K6667DBRdc4H5mxcAzMzOxZMkSnH/++fv627/v2LEDFRUVEk0STXjiiSfw+OOPN/EV+l14iSYe5pYmmvJLKrHk20LMWpuLjN3FqKmuRnJMGE7rm+pqMrVPjOTBO0QkiSYuXokmLk+JJh5PiSYeS4kmLkuJJj5PiSYeU4kmHkuJJi5LiSY+z/0imjyywt933303CgoKGtxbWFgYzj33XPz2t79tsO+R3EEZTdzRl2ji8Wwpoqm6pgZ7CiuwYGM+5qzLRVZeOcLDQhBZnoce0fm4+ZIzXFZTUzeJJi5hiSYuT4kmHk+JJh5LiSYuS4kmPk+JJh5TiSYeS4kmLkuJJj7PgyIWFhZi3bp1yM3NbXBvoaGhOOqoo9ChQ4cG+x7JHSSauKMv0cTj2RJEU2V1DbbnlGH2ulx8sTEfeSWViIoIRVrbaCSXfouCzUtw+69/xYNWTySJJi5miSYuT4kmHk+JJh5LiSYuS4kmPk+JJh5TiSYeS4kmLkuJJj5PRfSBgEQTF7JEE49ncxdNZZXV2LCrxNVjWrylAPb/ca3C0L9znFtZriRrLWZ+/hluv/12HjSJJowbN84XnhJNXMwSTTyeEk08lhJNXJYSTXyeEk08phJNPJYSTVyWEk18noroAwGJJi5kiSYez+YsmorKq7BimxX9zsHqrGLY9LnkmAgM6ZGAYb0T0S01CkuXLsWMGTMkmkiXzOzZs2HXjEQTB+iHH36I7OxsXHXVVZyADUSRaOJhlmjisZRo4rKUaOLzlGjiMZVo4rGUaOKylGji81REHwhINHEhSzTxeDZH0VRTA+SWVGLRpnzMXp+LzdmlCAsNQbuESCeYTumViNS4CAdJool3rVgkiSYuT4kmHs833ngD4eHhuPDCC3lB64kk0cTFPG3aNKSlpWHEiBHcwHVEmzJlCtLT0zF8+HBf9jd58mQMHDgQQ4cO9WV/EydOxLBhwzB48GBf9vfYY49h5MiRGDBggC/7s9WxR48ejf79+/uyP4kmHmaJJh5LiSYuS4kmPk9F9IGARBMXskQTj2dzE01V1TXYVVCBeetzMTcjD9mFFYgMD0G31Gic1icJg7vHI7ZV2D5AEk28a0WiicvSokk08ZhKNPFYWqQXXngBnTt3xqhRo7iB64gm0cTFLNHE5SnRxOMp0cRjKdHEZSnRxOfpOaKtSGcp/hUVFejYsaPn7dQRkGjiXgUSTTyezUk0VVTVYMueUlf0+8tN+Sgsq0J0RCiO7hCL0/smoX+nOESEhewHR6KJd61INHFZSjRxeUo0cXlKNHF5KqOJy1MZTTye9957L6699lr07NmTF7SeSBJNXMy33HILHnjgAaSkpHAD1xHNSidMmDABCQkJvuxv7NixmDRpEmJiYnzZ35gxYzB16lRERkb6sr9gdhISEuIeekJqzNI001ZdXY25c+di+fLl2LRpkxNNPXr0QN++fXHyyScjMTGxmZ6Zf4ct0cRlLdHE43k4iKa9RRVY+m2hK+RdXyuvrMam7FKs2F4E+7s1y146pmMsTu2ThOO6xB20uUQT71qRaOKylGji8pRo4vKUaOLylGji8pRo4vGUaOKxtEi33nor7rnnHrRt25YbuI5oEk1czBJNXJ71RjPJNGvWLDz44IMoKSlBRMR3dU+sWS0Em4/961//GlFRUT4eVfPblUQTd8wkmng8DwfR9E1mEZ74ZCtKK+oXTXWdtdVnsilzt5zRWaKJd2kcMpJqNHEBa+ocj6dEE4+lRZJo4vKUaOLylGji8ZRo4rGUaOKytGjKaKqbabPPaMrNzcUll1yCLl264Pzzz0dSUpI7WxNQ8+fPx9tvvw0rqHjiiSfyr6wWFFGiiTuYEk08noeDaFplomn61gYzmuoTTQO7xeOXP5Bo4l0Zh44k0cQlLNHE4ynRxGMp0cRladEkmrhMJZp4PCWaeCwlmrgsJZrq59msRZPN9lu5ciUuvfRSfPbZZ+jQocN+Z1teXo7x48fDpgc+9NBD/CurBUWUaOIOpkQTj+fhIJp2FZRj3vo8lB4wda64rBrrdhVje06ZO+FW4aHomhqFXm2iERb6PwaW0dQtJQpDeh48X1xT53jXikWSaOLylGji8ZRo4rGUaOKylGji85Ro4jGVaOKxlGjispRoasGiqXba3COPPIKPP/74oDOtqqrC9OnTXcEsy2xSq5uARBP36pBo4vE8HETToc6mpLway7YW4oMVe7Apu8RJpr4dYnBWegrSO8bC5JKXJtHkhZL3PhJN3ll56SnR5IWStz4STd44ee2lqXNeSXnrp4wmb5y89pJo8kqq4X4STQ0zCqSHajQFQqvhvpo6VzejZp/RtHbtWjdlzuo0HbjSnBUFf+aZZ7B69Wo899xzDV8pR3APiSbu4Es08XgejqLJJNPX2wrx0co9yNhV4laS69MuBucf19pJpu/WWPDWJJq8cfLaS6LJKylv/SSavHHy0kuiyQsl730kmryz8tJToskLJe99JJq8s2qop0RTQ4QC+7lEU2C8Guot0dRCRZOdVmlpKc4991ykp6fjggsu2LfCnGU7LVmyBK+++qqrrn/RRRc1dJ34+nOTYJ9++ilWrFixb7+2LKJV5rdmhc3/9re/IS8vzxU4P+GEE3DaaafBpgPOmDHDbRcbG4ubb77Z9a+srHRCbfPmzU68BdokmgIlVn9/iSYez8NNNB1KMtlUuXP7p2JA1/iAJJNRkmjiXSsWSaKJy1OiicdToonH0iJJNHF5SjRxeUo08XhKNPFYWiSJJi5PiaYWLJpMKJl4sRpMoaGhiI6Odmdr9Zu2bduGYcOGuZ8lJydzr6ogoxUWFuK2227D119/jdNPP91FM3H0+9//HmVlZfjnP//pJNmxxx7r5JJJpEmTJqFVq1b4xS9+gV69eiEjIwMPPPAAjj/+eGzduhX3338/Ro0ahSuuuCLgo5NoChhZvRtINPF4Hk6iqayyGlYY/L1le7B+V7HLZOrZJhrnHGOSKc7zdLnv05Fo4l0rEk1clhZNoonHVKKJx1KiicvSokk0cZlKNPF4SjTxWEo0cVlaNImmFiya7NRMNs2cOdO9yc7KykJRURFat26No446ymU7devWjX9VBRnRRNNvf/tbxMXFYcKECftF27NnD0aOHIk777wTl112GWxlPSt4Pnz4cIwYMQJ//OMfXc2pl156yZ37mDFj8MQTT2Dnzp3uRqExTaKpMdTq3kaiicfzcBFNJpnWZBXjw5V7nGwKDw1xRb/PDkIyGSWJJt61ItHEZSnRxOUp0cTlqYwmLk+JJi5PiSYeT4kmHkuJJi5Liab6eTbrGk0HnpplMZkwMYnTpk0b2FS0w7XVZjStW7cO55xzDiIjI93UOMtOsmlxJprsZ5aJZdPopkyZgg8++AD33Xcf7MvrzTffxN///nf3M8t6sr9bdlOXLl0adcoSTY3CVudGEk08noeDaDpQMoWGhKBbahRGH5uKgd3iG5XJVEtIool3rUg0cVlKNHF5SjRxeUo0cXlKNHF5SjTxeEo08VhKNHFZSjQdAaLJMpjmzp3rMn9ycnLcn7XNptNZ/abzzjuPf2UFEdGmw/373//G4sWLXVaSHbf9N378eGzcuNGl4VmGkjWrQ/Xyyy+71fNsSp3VcRo6dCg2bNjg5JQ9qPbt29fVc7Lpdz/72c+QkHDwMur1Ha5EUxCDeYhNJZp4PP+vRVN5ZTXW7SzBe8uz8U1mEUwydUlp5TKZTuwRj8iw0KBOVqIpKHwHbawaTVyemjrH4ynRxGNpkSSauDwlmrg8JZp4PCWaeCwlmrgsJZpauGiyItj/7//9P7zyyitOrti0M5MmtS08PBw/+tGPDpqexr/MGh/RMrGsiPdPf/pTXHvttWjbtu0hRdNf/vIXt7qeCSp7OLXzzczMRL9+/TBv3jy0b9/e1Wqy6XZ2zoE0Y2ZT+ayguh/NMrpsuuPo0aP92B3y8/OdjLSplH40k51ffPEFzj77bD925675r776CmeeeWaT7y87OxvLli1zWXd+tF27dmHlypU444wz/NgdduzYgTVr1nxXOy00HOWtWmNjZVusyCxGTXUVwktz0BmZOL5zNCLDAlhero6jt99hk8Y2NdaPZrXrtmzZglNOOcWP3cGk6/bt250c96Nt2rQJds0MGTLEj925sbPfv8GDB/uyv/Xr17vPs4EDB/qyP1vZtbi4GAMGDPBlf1aP0F7EHHfccb7sb9WqVe5lT//+/Zt8f5atXPvyq8l3BrgakJYtffTRR/uxO3dfYpnkVrbAj2Yv6uw+qHfv3n7sDosWLUJKSoqrkelHW7hwIdq1a4fu3bv7sTssWLAAnTp1QteuXX3Zn92T2bl17tzZl/3ZS4i0tLSDVqhuqp3bPa69BLZ7cz/aZ599hmOOOcY9Q/jRbEEjm4VhpUqauk2fPh2DBg1yv39+tI8++ggnnXQSkpKS/Nidm7FiNYUDTRJo7MG9//777h7Xyrf40ey51WoI19ZRbup9vvPOO262kNU19qO99dZbbiEuW7zLj2YvrZ5//nn3/X64t2Y9dc4Ejd3kW7aSXcCHuvG2mzr7YvHroaqxA24PDpapZKvL2VQ4k0X2QJGYmOimx02bNs2Jktdff93twrKc7O92I2KrB9gFbjeV7733HuzL5tlnnw3oUOxB6Y477nAc/Wj24DJ//nzfZIWJrS+//NI3WWHjaase1hZ6b2qmls1m43/qqac29a5c5p09nNmXoh/N5LE97J588sl+7A67d+92hfYHnXgStuVVYXVhAqqTeyI0NAzt48NwbEoJInIyUFNVQTkey1w08XPiiSdS4jUUxOrYmWzyS4yYZDJ555cYMdluMtQvMWIizX4n/BIj9lKioKDAFzFi15Jl2Np3kGUG+9Hsd89Ek71A8aPZFHUTTfZA2NTNBLbdk/Tp06epd+XiWzao3YjaPZAfzb4X7EGiZ8+efuzOlRmIj4/3TcTYd6yVM/BLxJi4szIQfokYE3cmRUw2+dFM3Nm5dejQwY/duftlE1sm7/xoJu7sd8/G0I9m99QmeVNTU/3YnXsmse8FPxZbMklo37H2TORHM0loz2N+iR97brN7QL/Ej0lCu6f2q8TMJ5984l6mRkVF+TF8+Pjjj11NY79EjGV+2/OzJbf40f7zn/9INPkBurYIuAkS+6Xx48OOdV4mil577TVXyNvOw24Ir776ardCnt2EXnjhhfjDH/7g/rTsGJsO94Mf/AC//OUvUVFRgTlz5rhV6axmk8WyDCa7KbGLz8y/1XQKpGnqXCC0Gu6rqXMNM/La4/9i6tzb776Hn4y9FR+u2IOlWwtRUwO0T4zE2ekpGNYnMejpct8/d02d83oleOunqXPeOHntpalzXkk13E9T5xpmFEgPTZ0LhFbDfTV1rmFGgfTQ1LlAaNXfV1PneCwtkiUo3HPPPb5lv1kihdUR9isjbdy4cW4mk1+iUKvO1X19NvuMJsv6sQG24th+vTVg/LpbBsrll1/uDK+JJhMT9qbTvpjM+P71r3919Zhs6pW93bXsGPuZva2wN7CPPfaYW4nOfm6S6IorrnBZW5bhZdPD7GeBNImmQGg13FeiqWFGXnv4LppWrsK0V/+NniOuwtJvC5xkapcQiTPTk3FKWiJiIsO8HrqnfhJNnjB57iTR5BmVp44STZ4weeok0eQJk+dOEk2eUXnqKNHkCZPnThJNnlE12FGiqUFEAXWQaAoIV4OdJZpaqGiy0zIJY7WFLP3vuuuuOyhNLiQkxM3RPNwklB23TXMzgWTN5JJlN9WuGmcFzv/0pz+5n1nq31lnneXmC1dVVblpPZ9//jnM2NYysIcr+zcrBn7TTTcFPK9YoqnBz5GAOkg0BYSr3s5+iqaq6hosXvMtJr29EOEd+qP6v5lMo/o1jWSyE5do4l0rFkmiictToonHU6KJx9IiSTRxeUo0cXlKNPF4SjTxWFokiSYuT4mmFiqaaotoP/jgg65e0UUXXXRQ4S/LErLieDfffDP3qmph0SSauAMq0cTj6ZdoMsm0dW8ZPli+G/PX70VIeATaxEfizH4pOLUPP5OplpBEE+9akWjisrRoEk08phJNPJYSTVyWFk2iictUoonHU6KJx1KiicvSokk0tVDRZFPOrPjk448/XucZmmiy4tq//vWv+VdWC4oo0cQdTIkmHk8/RJNJpm05ZfhgxR4s2lSAiupqtI6LwBl9kzHiqGTERXGny32fjkQT71qRaOKylGji8pRo4vJURhOXp0QTl6dEE4+nRBOPpUQTl6VEU/08m3WNJjs1m2JmKwzV12xaml+rTPAvX38iSjRxOUs08Xg2tWiqrqlBVl45PlyxF/Mz8lBeVYWUmDCMTG+N0/okITG6aVeRkGjiXSsSTVyWEk1cnhJNXJ4STVyeEk1cnhJNPJ4STTyWEk1clhJNLVw08S+XIzOiRBN33CWaeDybUjSZZNqZX4Hpq/ZiXkYeSsqrgPIC9IktxC8vPa3JJZNRkmjiXSsSTVyWEk1cnhJNXJ4STVyeEk1cnhJNPJ4STTyWEk1clhJNLVw0WZ2mrKwsV0fC/jyw2dS53r1745JLLuFfWS0ookQTdzAlmng8m0o0fSeZyjF9VY6TTMXlVUiKCUf7mh0I27EMd//ml7yTqCeSRBMXs4qBc3mqRhOPp0QTj6VFkmji8pRo4vKUaOLxlGjisZRo4rKUaGrhoqmiogJ33nknPvnkEyQmJqK4uBj2kG91mXbs2IHt27fjD3/4g6uwr1Y3AYkm7tUh0cTj2RSiqaYG2FVQjo9X7cXc9f+TTMN7J6FNxVYsnDUdd999N+8kJJpwyy23+MJToomLWaKJx1OiicdSoonL0qJJNHGZSjTxeEo08VhKNHFZSjS1YNFk2UwZGRkYOXIkbrzxRpxwwglYs2aNW4HOPuC3bNmCZ599Fvfffz/OOuss/pXVgiJKNHEHU6KJx5Mtmkwy7SmqwKff7MVna3L3ZTKZZPrB0cnI2rQG77//vkQTaQgXLFiAxYsXSzSReNpLlW3btuGaa64hRaw/jEQTD7NEE4+lRBOXpUQTn6dEE4+pRBOPpUQTl6VEUwsWTbbq3MyZM51Imj59OiIjI2Fvs5966im88847sGynJ598Env27MEjjzzCv7JaUESJJu5gSjTxeDJFU61k+mx1Dmaty0VeSSUSosIxvHciRqWnuJXmVqxYIdHEGz5INBFhAi57V6KJx/Ttt99GZWWlL9PrJZp44ybRxGUp0cTnKdHEYyrRxGMp0cRlKdHUwkXTypUrMXbsWHz55Zcw8bR8+XJcffXVWLhwoRNPlpnw4osvwm4m1eomINHEvTokmng8WaKpVjLN+K9kyi+pRFyrMAztlYizj0lBu4RId9ASTbyxs0gSTVyeEk1cnhJNPJ5///vf0bp1a5xzzjm8oPVEUo0mLmZNnePylGji8ZRo4rGUaOKylGhqwaLJTi0nJwcXX3wxHn/8cQwYMMBlL51yyim47rrr0K5dO/znP/9B9+7d8eijj/KvrBYUUaKJO5gSTTyeLNGUU1yJz9fk4NPVOaiVTEN6JuDM9BR0Smq174AlmnhjJ9HEZWnRJJq4TCWaeDwlmngsLdKUKVOQnp6O4cOHcwPXEU2iiYtZoonHU6KJx1KiictSoqmFi6aqqiq8+eabCAkJcanvlgL/3HPP4Z///Ceio6NhP58wYYKr36RWNwGJJu7VIdHE48kQTbnFlZi9PheWzbSnsMJlMh1KMtlRSzTxxk6iictSoonPU6KJx1SiicdSoonL0qI99thjrqarvZT2o0k08ShLNPFYSjRxWUo0tXDRZKdXVFSErKwspKWlubMtKCjARx99hLKyMnTu3Bmnn346/6pqYRElmrgDKtHE4xmsaKqVTFaXKbuwAjGRYRjULR7nHZe6XyZT7RFLNPHGTqKJy1Kiic9ToonHVKKJx1KiictSoonPc/z48bjiiivQp08ffvADIko0cRHbSuz33HMP2rZtyw1cRzRbdfiBBx5ASkqKL/sbN26cSzJJSEjwZX9WwmfSpEmIiYnxZX9jxozB1KlTXYmgw72FWCYQgJAaW8JN7YglINHEHXqJJh7PYESTTZGbvS7XTZczyRQdGYoBXeJxTv9U9GgddciDlGjijZ1EE5elRBOfp0QTj6lEE4+lRBOXpUQTn6dEE4/p7bffjttuuw0dO3bkBa0nkkQTF7NEU908m5VoMhe2efNm/O1vf/N8hZhIM9t+2WWXed7mSOwo0cQddYkmHs9Diaa9RRVYsCEfZZXV9e7IRNPX2wqxu6DC9YuJDEWf9jHo3TYGHZMiMbj7wW87JJp4YyfRxGUp0cTnKdHEYyrRxGMp0cRlKdHE5ynRxGMq0cRjaZGU0cTlGUy0ZiWabFW5JUuW4O677/Z8zmFhYTjxxBNdyp5a3QQkmrhXh0QTj+ehRNPaHcWY8NG3DYqmuo4iLDQEA7rE4dZRXQ7qItHEGzuJJi5LiSY+T4kmHlOJJh5LiSYuS4kmPk+JJh5TiSYeS4kmLstgozUr0WQZTbbK3OrVqz2ft2U0JSUloV+/fp63ORI7SjRxR12iicezLtH02MfforSi/owmiaaDCSxatAjz5s2DpU770RYsWIDFixfD5uj70WbPng27ZuyNlh/t888/R0ZGBq6//no/dqdV58iUJZp4QCWaeCwlmrgsJZr4PCWaeEwlmngsJZq4LION1qxE04Ena+Jp69atbsW5Ll0OzkwIFs6RtL1EE3e0JZp4POuaOvfFxnyUfU80WZG5vUWVWL6tEDa1zlpURCjS2kajT7sYuGp0/22hoSGuEPig7vEHHagymnhjZ5Ekmrg8P/nkE2zbtg3XXHMNN3Ad0T788ENkZ2fjqquu8mV/7733HgoLC3H55Zf7sj+JJh5miSYeS4kmLkuJJj5PiSYeU4kmHkuJJi7LYKM1S9FkgikzMxOvv/66W4rcRFPfvn1x3nnnKXOpkVeERFMjwdWxmUQTj6eXYuDVNTWuDtPMtbmYl5HnRFNsZBiO7xqHHxyd7GoyfbfuQcNNoqlhRoH0kGgKhFbDfSWaGmYUSA+JpkBo1d9XoonHUqKJy1Kiic9ToonHVKKJx1Kiicsy2GjNUjRVVlbisccew1//+lf07NkTJp527tyJ9PR0PPPMM0hOTg6WyxG3vUQTd8glmng8GxJNVdU1yMwrx2erc/DFxjwUlFYhISocJ/aIx4i+yeiWeujV5eo6Qokm3thZJIkmLk+JJi5PiSYeT4kmHkuJJi5LiSY+T4kmHlOJJh5LiSYuy2CjNTvRVCuVTj/9dJfKP2LECCearEbGpEmTcO+99+LCCy8MlssRt71EE3fIJZp4POsTTZVVNdiytxSffJODxVsKUFpRheSYCJyclojT+iSiQ2KrgA9EoilgZPVuINHE5SnRxOUp0cTjKdHEYynRxGUp0cTnKdHEYyrRxGMp0cRlGWy0ZieabOU5Kyx77bXXYs6cOa7QtzXLcnrqqaewfv16TJkyJVguR9z2Ek3cIZdo4vGsSzSVV1YjY1cJpn+zF19vLYRlNrWJj8RpfZJwSloiUuMiGnUQEk2NwlbnRhJNXJ4STVyeEk08nhJNPJYSTVyWEk18nhJNPKYSTTyWEk1clsFGa5aiyVYVmjhxIt599919528CatasWU42vfPOO8FyOeK2l2jiDrlEE4/noUSTrTa3OqsI01fl4JusItTUAB0SIzGyXzKG9EhAQnR4ow9AoqnR6A65oUQTl6dEE5enRBOPp0QTj6VEE5elRBOfp0QTj6lEE4+lRBOXZbDRmqVoMqFkU+QeeeSR/UTTsmXL8MYbb+Dhhx/e9+9WKLx9+/ZIS0sLllWL3l6iiTu8Ek08ngeKpuLyKiz7thCfrs7B+l3FCLNVJ1Na4cz0FAzqFo/oyLCgdi7RFBS+gzaWaOLylGji8pRo4vGUaOKxlGjispRo4vOUaOIxlWjisZRo4rIMNlqzFE0zZ87EpZdeiuOOO26/88/JyYE94H//38PCwjB8+HDcd999wbJq0dtLNHGHV6KJx/P7oim/tBKLNhXgszU52LKnFBFhIejVJtpJpgFd493/B9skmoIluP/2Ek1cnhJNXJ4STTyeEk08lhJNXJYSTXyeEk08phJNPJYSTVyWwUZrdqLJCn9v3rwZTz/9NAoLCxs8fxNNAwYMwA033NBg3yO5g0QTd/Qlmng8a0XTLb+5G3PX52L2ulxk5ZWjVXgo+naIwVnpKUjvGIuw0OAlkx21RBNv7CySRBOXp0QTl6dEE4+nRBOPpUQTl6VEE5+nRBOPqUQTj6VEE5dlsNGanWiyEzbZlJub60k02dS5uLi4fUXDgwXWUreXaOKOrEQTj+c3q1fj+ZffwEkXjsPcjDzsKaxAdGQojusch5H9UnBUuxiEcByTO2iJJt7YSTRxWVo0iSYuU4kmHk+JJh5LiSYuS4kmPk+JJh5TiSYeS4kmLstgozVL0RTsSWv7gwlINHGvCokmDs/qmhosX78NT74xBzHdByG/pBJxrcJwYo8EjOibhB6tozk7+l4UiSYuUmU0cXlKNHF5SjTxeEo08VhKNHFZSjTxeUo08ZhKNPFYSjRxWQYbTaIpWIItZHuJJu5ASjQFz7OqugZb95bhg+W7MX9dNhDeCkkx4RiWlohT+ySjY1Jk8Ds5RASJJi5WiSYuT4kmLk+JJh5PiSYeS4kmLkuJJj5PiSYeU4kmHktXzuxfAAAgAElEQVSJJi7LYKNJNAVLsIVsL9HEHUiJpuB4VlTVYOPuEny8ai+WfluAyuoapMZG4PSjkjC8dxJS4yKC20E9W0s0cdFKNHF5SjRxeUo08XhKNPFYSjRxWUo08XlKNPGYSjTxWEo0cVkGG02iKViCLWR7iSbuQEo0NZ5nWWU11mQVO8m0KrMIVVVVSIkJxXnHt8fQnglIiA5vfHAPW0o0eYAUQBeJpgBgeegq0eQBUgBdJJoCgNVAV4kmHkuJJi5LiSY+T4kmHlOJJh5LiSYuy2CjtRjRZAXCs7KysHXrVpSXl6Nbt27o2rVrsHyOmO0lmrhDLdHUOJ4l5dX4elshPv1mL9buLEZoSAhaVeajU00W7rjmAsREhjYucABbSTQFAMtDV4kmD5AC6CLRFAAsD10lmjxA8thFoskjKI/dpkyZgvT0dAwfPtzjFsF1mzx5MgYOHIihQ4cGF8jj1hMnTsSwYcMwePBgj1sE1+2xxx7DyJEj3UrUfrSHH34Yo0ePRv/+/f3YHf74xz/ioosuQr9+/XzZn0QTD7NEE4+lRBOXZbDRWoRoys/Px0svvYSlS5c62WSiqXPnzujbty8uvvhi9O7dO1hOLX57iSbuEEs0Bc6zsKwKizbl47M1udiUXYKIsBD0aBONrqG7sHXZZ7jvnrsCD9qILSSaGgGtnk0kmrg8JZq4PCWaeDwlmngsLZJEE5enRBOXp0QTj6dEE4+lRBOXZbDRmr1oqqysxDPPPIPnn38exxxzDBITEx2T6upqrF+/Hp06dcKkSZOQnJwcLKsWvb1EE3d4JZoC45lXUom5GXn4/+ydCXgUVfa3f9k3shII+74jIAIqCgrK4o6MMogIooIyM6jIpzPi6IyDigo4KuKGisso/hXFDRVFFBAQZZcdwiY7BLLvneR7zp0JCiTpW90nJQm/+zw+zphTp7rfqu6ueuvccxdtScO+tHyEBQeiTd1I9GmbgKCM3fjko9l46KGHnCX1MZqiyUdw5WxG0aTLk6JJlydFkx5PiiY9lhRNuiwlG0WTLlOKJj2eFE16LCmadFn6m61Ki6bS6XKXX345brvtNvTt2xfR0dHHRdPPP/+MSZMm4e677zblpBzlE6Bo0j07KJrseJaUAMeyC/HdljQs3paGlKxCRIQEomODGujTLgGtkiKwZfMmfPjhhxRNdki9Ri1fvhxLlizB2LFjvcZqBFA0aVD8NQdFky5PiiY9nhRNeiwpmnRZUjTp86Ro0mNK0aTHkqJJl6W/2aq0aJKqpRUrVuDOO+/EwoULER4efgKPwsJCvPrqq1izZg1efvllf1lVyvbS6Hjr1q14++23zVz8G2+80ewnJycHzz33HFJTUxEcHIwLL7wQItTy8/Px6aefYuXKlahRowYefPBBEy+VXfI+pYpryJAhjl8rRZNjZBVuQNHknWdxSQkOZxTim02pWLo9HRm5HkSFBaFrk2hc2iYeTRMjEBAAbNy4kaLJO07rCIoma1RWgd999x2Sk5MxatQoq3h/gyia/CV44vYUTXo8KZr0WFI06bKkaNLnSdGkx5SiSY8lRZMuS3+zVXnRJE/L77//fnz//fensBCJ8/XXX2P69OmQi8nTcWRlZeG+++4zokwaBr733nvIy8vDjBkz8NVXX+GCCy4wcunbb7814knk0pgxY0yzxrVr12LcuHE477zzsHv3bowfPx5Dhw7F1Vdf7fitUjQ5RkbR9PDDPkMrKi7B3tR8zNt4DMt3ZSI7vwixEcHo3jwWvVrHoUF82PHcFE0+Yy5zQ4omXZ4UTbo8P/vsM8jvoi8PTHx5JRRNvlArexuKJj2WFE26LCma9HlSNOkxpWjSY0nRpMvS32xVWjTJ1DlZZe7iiy/GW2+9dcLKHPK3Q4cO4cknn0RERAQmTpzoLyv17aUK6ccff8QTTzxhmpeL7BHRdPToUfTq1cusIHHttdciLS0NN998sxFR/fr1g6xkIVOJ5KJOcgwfPhyPPfYYAgICzN98GRRNvlArfxtWNJXPprCoBDuO5BrJtHpPFgo8xUiICsHFreLQo2UsakeHnrAxRZPuuUnRpMuTokmXJ0WTHs93333XPJzy5eGTL6+CoskXauVvw2bgujzZo0mXJ0WTHk+KJj2WFE26LP3NVqVFk7x5WWFOejDJ9LP+/fujZs2aholUM/30009mJboXXnjBVP2cbkNWy5PeUgMHDsTOnTshPaVmzpxppsDJNDmZjhETE4Pc3FxTlSVT5v71r38ZASVPYWWlPal+ktX1PvnkE/zzn/9E3bp1fXqbFE0+YSt3I4qmstHke4qx5WAOvt5wDBv2Z6OoGKgdHYJL2sbjguaxiIsMPmVDiibdc5OiSZcnRZMuT4omPZ4UTXosJdMrr7yCFi1aoHfv3rqJy8lG0aSLmaJJlydFkx5PiiY9lhRNuiz9zVblRZNULolkevrpp7F582ZTci99jWS1OenZNGDAACNzTu7f5C84f7cXQSZVSSKInnnmGbNqnogm6dU0d+5cjBw50lRkyRCZJP9dZNOsWbNMT6qWLVvi4MGDuOyyy7Bs2TKz4t6uXbsQFRVl/u50lT2KJn+P6Inbn2miSRp6L9qahrzC4gpBFhSV4Jdjedh2KBcyfS4wAKaaSZp/t64TiQtb/HfVyN8Oiibdc5OiSZcnRZMuT4omPZ4UTXosKZp0WUo2uW7v0aMHunXrpp+8jIwUTbqYKZr0eFI06bGkaNJl6W+2Ki+aBIDIpr1795rqJZEz6enpprKnadOmOOecc047ySSvV3oq3XXXXZAvaqlIkh9cb6JJGpsvWrQI8+fPNw2SRZ5JU3B5uvbxxx+ja9euphm4TK+74YYbHJ0bIprki65Pnz6OtvM1WJqdiyC75JJLfE3haDsRkNI4XqYkujGkWk0q0y666CI3dmemV65bt+6E6aOVtWMRuXL+SYP60pFeEoUVha0hFUu+jMCAACSFZqNz0NZTNpeppCKTpS+ZG+PIkSPYsWOHa1WQ8p0lYtKti20R1Pv27UOXLl3cwIn9+/cbKS7fxW4M+S1ISUnB2Wef7cbuzLGTz1/Hjh1d2Z88UJDvM3m44MaQz4JU1cpiFW6M7du3m0rltm3burE785spC4u0bt260ve3ZcsWBAYGmgdFboxNmzYhNDQUzZs3d2N32LBhg2lV0KxZM1f2t379ejM1sEmTJq7sT67R4uLi0KhRI1f2J9cQiYmJprWCG2PVqlWoU6cO6tWr58buzDWZvDfZpxtDHrLIsUtKSnJjd6Y1hnwWatWq5cr+pGdtq1atjs/sqOydyuq17dq1c/xg25fXJX14pX2IfP7cGHKvJdcQMqvEjbFgwQJzDyffZ24M6ft7/vnnIzIy0o3d4ZtvvjFS2a2iD1k0Re6/wsJ+7fdamW9UeirL/WxISEhl7uZ47i+//NIUqMjv++k+qoVoOt0hn/z6ZDU8qVq6/fbbMWzYMMj/lx9cucEdNGgQLr30UvNvubmWyqTSqXPyoyVT62TIf3vjjTdMFdOtt95qpt+JaPv8889NA3QpuXYyRDT99a9/NT2h3BhyoyRfdNdcc40bu4OIH/nhuOqqq1zZn9x4Ll26FFdccYUr+5PjJ1NFpcKtsofcxMsFqQjN0nHME4FF6fW9VjSV99qCAgNQPyIfF0TvPSXk8OHDRqLJ58KNceDAAVMd6db0CJE+Mk1Wes25MaSvnXxv9OzZ043dGaku8ue3YrIydyzTkEVsuSUmRYyIDD333HMr820dzy2/C/J9Jhelbgz5LMiDAbdEoUhsEU1uiUKRFSKa3BCFIipENLklCUVUyIWo3Ay6MeR3QW5c5OGZG0Oum+RGUG6u3RjyGyvtGdwSdyIORMLIQ1M3hogDET+NGzd2Y3dmER+RhA0bNnRlf7Lojkx9lBkPbgypdpXPgq8tLZy+RnkILTKmdu3aTjf1KV7uNeR3QWRoZQ+5Z5Lf2ISEhMrelcn/xRdfmMWY3BJbc+bMMWLELbElrVhEjLgltqQYQu4Z3BJbs2fPNvdfbomtDz74wNzPuiV+3n//fUjxiVv78+dDV6VEk1QCyQ2ZTCGzHdIgWy6yRowYYbtJpcdJ/yh58idf0jJENIkEkRtcWSJbPhzXXXedWY1OVt6RCpLBgwcbCfTnP//ZXISLHZYvin/84x/mJuDKK680FVEy7UB+3J5//nlH74NT5xzh8hp8pk2dS8/1YMWuzBMqmkpKAJlSt2J3Jo5mFRpm4SGBZopc27pRZtpc6TAVTTEh6Nwo+hS2nDrn9XRzFMCpc45weQ3m1DmviBwFcOqcI1wVBnPqnB5LycQeTbo8OXVOl6f0b5V7B7fEMqfO6R0/Tp3TYymZRo8ejUmTJrkm7qTdzdSpU10TaeI0xIVQNOmeN+apo1TtSNPr0lE6bU6eSkoZYGlvIomVp11Sfi+yRk6603WIKCqdOierzuXn55vV56ZNm2aqHGRlOXlCLz8i8mRLbrxlNT2piBIDLiLqlltuMX+T6oibbrrJcaUQRZPu2XGmiaaT6RWXlOBwRiHmb0rFDzvSkZbjQWRoELo0iUafNvFoVisCAb8RTRXRp2jSPTcpmnR5UjTp8qRo0uNJ0aTHkqJJl6Vko2jSZUrRpMfz/vvvNw/23ZomS9Gkd+womnRZ+putylU0yZQkqWoqHVINJFZdSmFFsJSWHYpokqlLixcvxvjx412bZuDLARGRJL2WZOpc6dQukU8vvviiSSfGUqa5yFQCeV8yFUVKqm+88Ubzd2EgJd3S80jKEocOHerY4lI0+XLkyt/mTBZN0uR7b2o+5m1MxfJdGcjOL0JMRDC6N4tBrzZxaBgf7gg2RZMjXF6DKZq8InIUQNHkCJfXYIomr4isAyiarFFZBbKiyQqTdRBFkzUqq0CKJitMVkEUTVaYrIPGjBmDCRMmuDb1kRVN1oem0gOrlGg6mYZUM0mvERFMr7/++inz9KWPhawyIVVO48aNq3SYVXkHFE26R+9MFU2FRSXYeSQXX288hjV7ssxUuoTIEPRsFYeeLWORFOO8cR1Fk+65SdGky5OiSZcnRZMeT4omPZaSiaJJlydFky5PiiY9nhRNeiwlE0WTLk9OndPlWW620qqlsWPHmmlyJw/phSQN1qSBtkxF4yifAEWT7tlxJoqmAk8xNh/MwdcbjmHD/mwUFQO1okNwSZt4XNA8FvFRwT5BpmjyCVu5G1E06fKkaNLlSdGkx5OiSY8lRZMuS8lG0aTLlKJJjydFkx5LiiZdlpKNokmfaZkZpaJJll6WzvmPP/64WXGrdEWC0h5N0pxLVu2YMmWKS6+qau6Gokn3uJ1poim3sBjr9maZ6XJbD+UYmPXiwtC3XTy6NYlBdHiQz4ApmnxGV+aGFE26PCmadHlSNOnxpGjSY0nRpMuSokmfJ0WTHlOKJj2WFE26LCma9HlWmFH6E/3tb3+DLFvauXNnxMbGmngRTVu2bIEs5S29jnr06OHyK6tau6No0j1eZ5Jokh5M0ovp201p2Hk0F0GBAWhSMxz92yfg7EbRiAgJ9AsuRZNf+E7ZmKJJlydFky5PiiY9nhRNeiwpmnRZUjTp86Ro0mNK0aTHkqJJlyVFkz7PCjNKVZPIJJkat27dOkizcBkBAQGoV68eevfubVZgCw931oDY5bfxu++Ookn3EJwpoikj14PFyelYuDUN+1LzERociFa1I9D/rJo4q34UQoIsl5arAD9Fk+65SdGky5OiSZcnRZMeT4omPZYUTbosKZr0eVI06TGlaNJjSdGky5KiSZ+nVUZZpU2EU2Zm5nHRlJiYiMaNG1ttf6YHUTTpngHVXTS98847uOu+B7FgSxoWJ6fhSGYhwkMCjVzq1y4BretEmsomjUHRpEHx1xwUTbo8KZp0eVI06fGkaNJjSdGky5KiSZ8nRZMeU4omPZYUTbosKZr0eTKjCwQomnQhV2fRtG1bMqa99ja6DvgTlu1IR3quB5GhQejaJBp92sajaWIEAnQckzkoFE265yZFky5PiiZdnhRNejwpmvRYUjTpsqRo0udJ0aTHlKJJjyVFky5LiiZ9nszoAgGKJl3I1VU0FRWX4OftB/DMrMUIb9gJ0p8pJiIY3ZvFoHebeDSID9MFSdGkzpOiSRcpRZMuT4omPZ4UTXosKZp0WVI06fOkaNJjStGkx5KiSZclRZM+T2Z0gQBFky7k6iiaCotKsONILuauS8HyHccQEByK+MgQXNwqDj1axiIpJlQX4v+ysaJJFytFky5PiiZdnhRNejwpmvRYUjTpsqRo0udJ0aTHlKJJjyVFky5LiiZ9nszoAgGKJl3I1U00FXiKsflgDr7acAwb92ejqBioHR2CS9rGo3vzWMRHBusC/E02iiZdtBRNujwpmnR5UjTp8aRo0mNJ0aTLkqJJnydFkx5TiiY9lhRNuiwpmvR5WmWU1ef27duH3bt3o6CgAE2aNEHTpk2ttmUQQNGkexZUJ9GUV1iMtXuzMG/jMWw7lIuioiLUjCjBtV0boGuTGESHB+nCOykbRZMuXoomXZ4UTbo8KZr0eFI06bGkaNJlSdGkz5OiSY8pRZMeS4omXZYUTfo8vWZMT0/Hyy+/jNWrV+PQoUMoLCxE3bp10bp1awwdOhRt2rTxmuNMD6Bo0j0Dqotoyi4owvKdGZi/KRW7juaZleQiizKRmLcD4+/4IyJCAnXBlZGNokkXMUWTLk+KJl2eFE16PCma9FhSNOmypGjS50nRpMeUokmPJUWTLkuKJn2eFWb0eDx4+umn8dZbb6Fr166IjY018cXFxdi0aRPi4+Px0ksvISEhweVXVrV2R9Gke7yqg2jKyPVgcXI6Fm5Jw760fIQGB6JVUgSah6Viw+I5ePgfD+pCKycbRZMuZoomXZ4UTbo8KZr0eFI06bGkaNJlSdGkz5OiSY8pRZMeS4omXZYUTfo8y80o0+X279+Pyy67DHfeeSd69+6NqKgoEy9/27BhA5544gnccccdGDx4sIuvrOrtiqJJ95hVZdFUUgIcyy7Ed1tSsSQ5HUcyCxEeEogO9WugX/t4BGTsw/+9OxMPP/ywLjSKJld4UjTpYqZo0uVJ0aTHk6JJjyVFky5LiiZ9nhRNekwpmvRYUjTpsqRo0udZbkapWpKbprFjx0Iu9sPDw0+IlSl0b7zxBn766Se88sorLr6yqrcriibdY1ZVRVNxSQkOZxSafkzLdmQgPdeDyNAgdGsSjUvbxqNpYgS2bduKmTMpmrTOGJnyO3/+fNx7771aKSvMQ9Gki5miSZcnRZMeT4omPZYUTbosKZr0eVI06TGlaNJjSdGky5KiSZ9nhaJp2bJluO+++7BkyZJT4qRp8ddff43p06fjo48+cvGVVb1dUTTpHrOqKJqKikuwNzUfX284hhW7M5GdX4SY8GBc0CIGvVrHo0F8mIG0dStFk+bZQtGkSRNYtGgRZLrl6NGjdROXk42iSRczRZMeT4omPZYUTbosKZr0eVI06TGlaNJjSdGky5KiSZ9nuRlLV5rr0aMHZsyYgUsuueR4rPztwIEDmDhxounTJF/AHOUToGjSPTuqmmgqLCrBjiO5+GrDMfy8Nwv5nmLER4agV+s49GgZi9rRoccBUTTpnisUTbo8KZp0eX755ZdISUnBsGHDdBOXk42iSQ8zRZMeS4omXZYUTfo8KZr0mFI06bGkaNJlSdGkz7PCjAUFBaaiSW7W+vTpg8TERBMv1Uw//vijaQguK9JJo3AOiqYpU6a4chpUJdFU4CnG5oM5mLv+GDYdyIZUNolYkqly5zePRXxk8AnMKJp0TyGKJl2eFE26PCma9HjOmjULwcHBGDhwoF7SCjJRNOlilhYMLVq0MP1A3RiykE379u3Rs2dPN3aHadOmoUuXLujevbsr+5OFfORBcbdu3VzZ3+TJk819QufOnV3Z3+OPP46rrroKHTp0cGV/FE16mCma9FhSNOmypGjS51lhRqlc2rFjh/mBXLt2LdLS0iDVOQ0bNjQr0MkF3dChQ0/p3+Tyyzztd8eKJt1DdDqIptRsj+m1lFtYXOGbKywqxv60Amw/kmskU0AAEBcRjLb1otC2TiR6t4mnaNI9PU7IRtGkC5eiSZcnRZMeT4omPZaS6fXXX0eDBg3Qt29f3cTlZKNo0sVM0aTLk6JJjydFkx5LiiZdlhRN+jy9ZixdfW79+vU4fPgwMjMzUbt2bTRu3Ng8STi5SbjXhGdgAEWT7kE/HUTTrpQ8PDJnl5kG58sIDADa1o3C+CsaUzT5AtByG4omS1CWYRRNlqAswyiaLEFZhFE0WUByEELR5ACWRSgrmiwgOQhhRZMDWF5CH3zwQdx6661o1qyZXtIKMlE06WIeM2YMJkyYgISEBN3E5WSTHp2TJk1CTEyMK/sbOXIkpk6disjISFf2N2LECNN/OjT017YmruzYh50EBEj5AhBQIramCo+srCwcOnSozHcQERGBevXqVeF3V/kvnaJJl/FpIZqO5uGxz3cht8A30RQUGID29aLw18sanQCHU+d0zxWKJl2eFE26PCma9HhSNOmxlEwUTbo8KZp0eVI06fGkaNJjKZlktfYHHnjAFGW4MSiadClTNOnyPJ5NXNiePXsgzUJr1Khh5j5Lo++ffvrJmD2ZNnfyCAwMNHPOx48fX0mvqnqkpWjSPY6ng2jKyivC6j2ZyPf86pA9RcXYcywfy3dlIOd/Aio8JNBULnVsEIX/iWcDQyqaEmuEoGODGhRNuqfHCdkomnThUjTp8qRo0uNJ0aTHkqJJl6Vko2jSZUrRpMeTokmPJUWTLkvJxoqm8plWqYomEU07d+7Ee++9h3Xr1pmGhdJ/afDgwUhPTzcNv0WYLF++HAMGDMDevXvxzTffQObVX3fddfpnVjXKSNGkezBPB9F08jvKKyzGhv3Z+HZzKjYfyDFT6qLDg9C9eSx6toxFk5oRpj+Tt8GKJm+EnP2doskZL2/RFE3eCDn7O0WTM14VRVM06bGkaNJlSdGkz5OiSY8pRZMeS4omXZYUTRXzrFKiSd5Kbm4u9u/fj4kTJ5rVW+644w7ccMMNePHFF9G8eXOsXLnSVDe98cYbZirdU089ZRqC/+EPf9A/s6pRRoom3YN5uommjFwPlm5Px5LkdOw+miezZVErOgSXtI1HtybRZpU520HRZEvKLo6iyY6TbRRFky0puziKJjtONlEUTTaU7GM4dc6elU0kK5psKNnHUDTZs/IWSdHkjZCzv3PqnDNe3qJZ0VQ+oSonmjweD2SJUpFNV155JcLCwvDkk09i7ty5KCoqwsKFCyFf7vPmzYPEfvDBB5g/f76pauIonwBFk+7ZcbqIpuKSEhzKKMC3m9KwYncGjmQWIiQoAM1qReDStvFmWlyNsCBHb56iyREur8EUTV4ROQqgaHKEy2swRZNXRNYBFE3WqKwCKZqsMFkHUTRZo7IKpGiywmQVRNFkhck6iKLJGpVVIEVTNRFNMnVu06ZNuPHGG/H888+b3ksHDx7EtddeiyVLlphu77t27UKvXr2wdOlS0+RMqpvkbzNnzrQ6Wc7UIIom3SN/OoimwqISJB/OxbebjuHnvdnILihCRGggOjeMRq/WcWiZFGmkk9NB0eSUWMXxFE26PCmadHlSNOnxpGjSYymZKJp0eVI06fKkaNLjSdGkx1IyUTTp8qRoqoai6cILL0S3bt0wZMgQ3HbbbWZ6nPRhysvLM9PkpFl4XFwc1q5di+HDh+Mvf/mL7llVzbJRNOke0N9bNMlKc6t+ycSCLWlIPpwDT3EJ4iKCcWGLWFzQIhYN48Ot+jGVRYWiSfdcoWjS5UnRpMuTokmPJ0WTHkuKJl2Wko2iSZcpRZMeT4omPZYUTbosJRtFUzURTfI2cnJy8MUXX5iG3x06dDDVTSKTDh8+jP79+6O4uBjLli0zFU/5+flo3Lgx7rnnHjRo0ED/zKpGGSmadA/m7yWaHnnkUaTleLBoWxqW7UjH3tR8BAYEoF5sKC5tl4DOjWqgZlSIX2+WoskvfKdsTNGky5OiSZcnRZMeT4omPZYUTbosKZr0eVI06TGlaNJjSdGky5KiqWKeVa5Hk7wdmUInjb5DQ0ORkJCArKwsHDlyBE2bNjXvVmTT5s2bUVBQYGTTeeedp39WVbOMFE26B/T3EE2vvPoa/nTvQ/h2UypW/pKJ1GwPQoMD0SopEn3axqN9/ShEhAT6/UYpmvxGeEICiiZdnhRNujwpmvR4UjTpsaRo0mVJ0aTPk6JJjylFkx5LiiZdlhRN1VA0/fYtFRYW4plnnkH9+vVNddNvh8iTv/3tbxg/fjyaNWumf2ZVo4wUTboH03XRtHsPnnxpJlpfciM27c9GbmGxafLdtUk0Lm4Vj2a1whEU6LwfU1lUKJp0zxWKJl2eFE26PCma9HhSNOmxpGjSZUnRpM+TokmPKUWTHkuKJl2WFE3VWDRJZdO+fftw+eWXm6lyF1100QnvNj09Hffee6+ZYnfDDTdAbpA7d+6MqKgo/bOsimekaNI9gG6Kpqz8IizadAgzv92AoLgGkJXmZHpcrzbxOLdJNOrFham+OYomVZygaNLlSdGky5OiSY8nRZMeS4omXZYUTfo8KZr0mFI06bGkaNJlSdFUjUWTTJH76aefMG7cOHz33XcICzvxhtrj8eCTTz7BpEmTzLQ66eN0yy23YNiwYfpnWRXPSNGkewDdEE3FJcDRrEIs2JKKn3Zl4EBaAYIDA9AwIRx928WjU8MaiI0I1n1jgBG2sorjww8/rJ67rIQbN27Ehx9+iIceesiV/a1btw5z5swxlZBuDIomXcoUTbo8KZr0eFI06bGkaNJlSdGkz5OiSY8pRZMeS4omXZYUTdVcNMlN2q233oqlS5eeUqkkokmWv3322WfNtLrU1FTT2+mtt97SP8uqeEaKJt0DWNmiSVaR2/p4KWwAACAASURBVH00D99sTMXaPZnIyCtCeEggzqofhd6t49GmbiTCgv3vx1QWFYom3XOFokmXJ0WTLk+KJj2eFE16LCmadFlSNOnzpGjSY0rRpMeSokmXJUVTNRZNMnUuJSUFV155pfnniiuuQHx8vHnHpQ3Bn3jiCfTr1w9jx441U1SkEuOVV17RP8uqeEaKJt0DWJmiKb+wGOv2ZWP+5mPYejAX+Z5iBHjyUCcgBX++7iI0SghT68dE0aR7XpSVjaJJlzFFky5PiiY9nhRNeiwpmnRZUjTp86Ro0mNK0aTHkqJJlyVFUzUWTfLWioqKIBdvL7/8MgIDAxEZGWnesUgoWYlOmoQ/9dRTaNKkCQ4ePIjdu3fj/PPP1z/LHGaU171hwwY899xzZsvw8HBTmSU9pGTISnqPPvoojh49ipCQEFx66aW47rrrkJeXh3fffddUcMXExJj3JkOaoss0QplmNGrUKIevBqBocoyswg0qSzRl5HmweFs6lm5Pxy9H88xrqBUdijbR2di9ch4effBe3TdSRjZWNOkipmjS5UnRpMuTokmPJ0WTHkvJJBXrDRo0QN++fXUTl5NNHlK2aNECvXv3dmV/L730Etq3b4+ePXu6sr9p06ahS5cu6N69uyv7e/rpp9GjRw9069bNlf1NnjwZffr0OX6dXdk7pWjSI0zRpMdSMknxxQMPPIDatWvrJi4n25gxYzBhwgSzUrwbY/To0aZtjtwnuzFGjhyJqVOnHncQlb3PESNGYPr06QgNDa3sXfmdPyAgwKxEFVAiZqaKjpycHCxYsADLli3Dzp07jYypWbMmmjdvbgTNOeecc9q9s+zsbDz22GOIjY01/6xYscLIntmzZ0Pej/zgL1++HP3790dubi7eeecd0/BcYuUDe80115j3Kz2nLr74Ymzfvh3/7//9P9xzzz0+XQRRNOmeItqiSRp8H8ooMFPlVu7OREpWIUKCAtC8VgQubZeAGvmH8N47bxo5WdmDokmXMEWTLk+KJl2eFE16PCma9FhSNOmylGwUTbpMKZr0eFI06bGkaNJlKdkomspnWi1Ek7w98WQiS6SKqaCgANHR0UhMTDT/Ph2HvMbvv/8e5513nmli/u2332Lo0KHYsmWLeS/yBEue9lx22WWQ1fNuv/12NG7c2EwRlKcycsH69ttvm/cqzc3lSzgpKQl///vffXq7FE0+YSt3I03RVFhUguTDuZi/6Rh+3puNnIIiRIQEonOjaPRuE48WtSOwZ/dOzJgxg6JJ4TCyGbgCxN+k+OGHH7By5UojyN0YFE26lCma9HhSNOmxpGjSZUnRpM+TokmPKUWTHkuKJl2WFE0V86zSokmEjKwkJxUBFY1atWqZcuDTdeTn55vpcK+99ppZ7WrTpk2mYmnHjh2oUaOGqWh69dVXzcpbUgX1z3/+E59++qkpG5dtmzVrZlbdky9iea++DIomX6iVv42WaMotLDYVTAs2p2L7kVxIE/C4iGD0aBmHC1rEokFcGKQoUc4ViiadY0jRpMOxNAtFky7PefPmYe/evaaa1Y1B0aRHmaJJjyVFky5LiiZ9nhRNekwpmvRYUjTpsqRoqsaiSRp+S1+iu+66q8x3KdMCpcpH5mSXF6N/utlllNe+Z88ePPLII5DV8aR31D/+8Q8zX33u3LmmDE9WyJMhUwGlekn6A4hsuvPOOxEXF2f6OA0cOBALFy7E2WefbaoGpIJLvpBl6qCTQdHkhJb3WH9Fk0xkTcv1YOHWNCzbno59afkIDAhAvdhQ9GmXgM6NaiAhKuT4C6Fo8n5MbCMommxJ2cVRNNlxso2iaLIlZRf30Ucfmd/gQYMG2W3gRxRFkx/wytiUPZp0eXLqnC5PiiY9nhRNeiwpmnRZUjRVY9EkFU0HDhwwYubkISJH+jZJtZM0CheBczoNee3S6Fsqk6QxeHJyMqRvk0gk6YFTlmiSqiaZbie9maQnU1BQED777DPccMMNpuJpwIABWL9+Pbp27Yqbb77Z0dulaHKEy2uwP6KpqLjEiCXpx7T6l0yk5ngQGhyI1kmR6NsuHm3rRZmpc78dFE1eD4l1AEWTNSqrQIomK0zWQRRN1qisAimarDBZBf3nP/8xLQsuv/xyq3h/gyia/CV44vYUTbo8KZr0eFI06bGkaNJlSdFUjUVTRW9NRJOs6iY/nFdffTWuuuoq/TNLKaO8VhFNN910k6m8atSokVlhbvPmzaYySabOyeoja9aswZtvvmn2KlLqxRdfNNVOEitPY6Wi6YsvvoBMdZBu9E6GiCZpJu7WaiPyntauXevaCoDSYF0k3LnnnusEi8+xUm0mUyBPWE0ltAYCGnUHgsMqzFss1Uw5haYvk0ydkxEcGICk6GA0ichE0P4Vp2yfmZlpBKUbU0SlZ5iITrea7KelpWHXrl2mas+NIZ8FqTbs1KmTG7szwnn//v3o0KGDK/uTPnYy5VhWM3JjyL5SUlLQrl07N3ZnVheVc6ZNmzau7E+OnXz+Wrdu7cr+9u3bZxaMaNmypSv7k8+CTNGW1bbcGCLppcJIpoS7MaSaWH6DmzZtWum7k8VKZHVc6bfoxpAHEMHBweaawo0h1zHSc7Jhw4Zu7A7btm0zq/zI6sJuDOmhKVXj9erVc2N35hpQqtfr1Knjyv5k1WIRhW6tRCXXZDLrwNeWD06hyEMkOXZOK/6d7qc0Xq5x5bPg1kpbco8gK2zLOePGWLVqlVl0SRYpquwh9zetWrVyre+uLMbUtm1b077EjSGzc8466yzXVi2TggW5xo2IiHDj7UEeOMo9g/w+uDGWLFli7r/cWpVt8eLF5n5Wfm/dGNKLVNqluPX+/HlPVbpHk7c3LhersoqbNNoWUXM6DRFFTz31lJkuVyqapC/TlClT0LFjR1x//fX405/+ZPpwpKammp5Nw4cPx6hRo8xF/+eff45vvvkGDz/8sJlCJ6vTyY+oVEhJ1dNzzz3n6O3KzfXf/vY3I7vcGBkZGeY9DBkyxI3dmRvPr776CoMHD3Zlf8JTzjs5jqXjWH4QPtwVDQT+OuXN0YspKUFiaB4GNsk6ZTORB3Lc//CHPzhK6UuwTOmUH41rr73Wl80dbyM38nKRIcLYjSH9b+QCURrvuzHkRlekpDT+d2PIza7coPXr18+N3RkpKaJQVgB1Y4hwFRnj1hLkcuzk83fRRRe58fbMAxT5TXCrSld+V+Q3xq2HEHKzJL9xslCGG0NulqSq2I0l1uXmRSqR3ZL0P/74o7mwd0vSy++C3Ji5Jc3l4j4+Pt41aS4X9yJF5AbUjSG9N0WiyQ22G2P+/PlGVIg8cGN8/fXXRpi7IXnl/cjsBzl2boleucaVm/kGDRq4gdPMcJCHjW6J0I8//tj8LogsrOwh93KySJJbUvKDDz7AJZdc4pokfO+998x9nFuSUPoCyzVuTExMZR86k1/av0irl6ioKFf299Zbb5kCDLdEmlTXyoJebokf6eksM5nc2p8/B63aiiaZmiY3qM8884y56Zg5c6Y/nNS3FdEi09vkIkleq4gnefJx//33m6cD0hRcJJJMg5O/S78p+f9y0SE3wU888QT++te/mr+LRLnjjjvMBaVUR9x9992ObyI5dU73EJc1dW5vaj4mfLbLrBrny5AeTW3rRmL8Fac+DefUOV+Ilr0Np87psZRMnDqny5NT53R5cuqcHk9OndNjKZnkAalUnsoNthuDU+d0KXPqnB5PTp3TYymZxo4diwceeMC16kVZdXjChAmuibvRo0dj0qRJrok0aXczdepU1yrSRowYYWYuUTTpfi5OySYCRp7OP/roo2X+TWSOlDrLF5T0MTqdhlRbSemiVBbIkJNFnlCXPmmRKXFinGWEhISYpxTyJEaqn0SgyVPf0umAkuvnn382Akrsrfx3p+WeFE26Z0dZokkE0897s1Hg+e90uNIhjb8PZxXg6w2pyC0oMv2YWiZF4LymMWbKXOmQ1eXiI0NwVv1TnwhQNOkdP4omPZYUTbosJRtFky5TiiY9nhRNeiwlE0WTLs/JkyebxYE6d+6sm7icbBRNepgpmvRYSiaKJl2eFE3l86zSFU0iXWSOt5Sr/XZIDwTpzyH/lidBMj1LKoc4yidA0aR7djhpBp6R58HnPx81okkagTdMCMOw8+ugVVIEAn8jmip6hRRNesePokmPJUWTLkuKJn2eFE16TCma9FhSNOmylGwUTbpMZZbFjTfe6MrUToom3WNH0aTLk6KpmoomeVvSmFiaqP12yDQzaZ4o/5YKIafVPbqnX9XIRtGke5xsRVO+pxirdmfinR8PIS3Hg7jIYAzsXAu9WschyFIyySunaNI7fhRNeiwpmnRZUjTp86Ro0mNK0aTHkqJJlyVFkz5PiiY9pvfeey/GjRvnWn8tiia9YyeZKJqqsWiS6XOyKo4Ip982oJT/LisByRQzt5q06p627majaNLlbSOaiotLsPtYPt5aehDbDucgIiQQ5zePwR+7JiE6PMjRC6JocoSrwmCKJj2WFE26LCma9HlSNOkxpWjSY0nRpMuSokmfJ0WTHlOKJj2Wkok9mnR5+pOtSk+dkzdeUFCAO++8E7169TplBTPp0SR/kyZkbqwo48+B+L23pWjSPQI2oulYdiE+WpWCRdvSzM6b14rAiAvroFFCuOMXQ9HkGFm5G1A06bGkaNJlSdGkz5OiSY8pRZMeS4omXZYUTfo8KZr0mFI06bGkaNJl6W+2Ki2apGopOTnZLLP+ySefoEWLFifwEAn1yCOPmFXbymoY7i+86rQ9RZPu0fQmmnILi7E0OR2zVhxGVn4REmuEYHC32ji/WSyk6bfTQdHklFj58RRNeiwpmnRZUjTp86Ro0mNK0aTHkqJJlyVFkz5PiiY9phRNeiwpmnRZ+putSosmaQa+ZMkS/POf/8S33357CouioiLMnTsXb775Jt5//31/WVXr7SmadA9vRaLJU1yC5MO5eGPJAexNzUdUWBB6t4nHgE6JiAgN9OmFUDT5hK3MjSia9FhSNOmypGjS50nRpMeUokmPJUWTLkuKJn2eFE16TCma9FhSNOmy9DdblRZNUqm0adMmXH311ViwYAEaNmx4Ag+paJJKpgMHDuCVV17xl1W13p6iSffwlieaSgCkZBbi3Z8OYfmuDAQHBqBdvSgM614HdWJCfX4RFE0+oztlQ4omPZYUTbosKZr0eVI06TGlaNJjSdGky5KiSZ8nRZMeU4omPZYUTbos/c1WpUWTvHnpwzRs2DBERUWhf//+SExMNEyk2kluGKWa6V//+hduuOEGf1lV6+0pmnQPb3miKTu/CPM3p+LTNSmQFefqxIThpvOT0LFBDZ+mzJW+aoomveNH0aTHkqJJlyVFkz5PiiY9phRNeiwpmnRZUjTp86Ro0mNK0aTHkqJJl6W/2aq8aBKhtHLlSkydOhUbNmxAwG8a3Mj/7tevH+655x7UqlXLX1bVenuKJt3DW5ZoKiwqwYb92Xhz6QEcySw0K8td0aEm+revidBgHxoz/eYlUzTpHT+KJj2WFE26LCma9HlSNOkxpWjSY0nRpMuSokmfJ0WTHlOKJj2WFE26LP3NVuVFkwAQ2bRx40YjmrZv3478/HzUq1fP/NO1a1fUrVvXX07VfnuKJt1DfLJoKikBDmbk462lh7BuXxZCgwPRuWEN3HR+HcRHBfu9c4omvxEeT0DRpMeSokmXJUWTPk+KJj2mFE16LCmadFlSNOnzpGjSY0rRpMeSokmXpb/ZqoVoEgjSr0lu7g8ePIjo6Gg0b94cYWFh/vI5Y7anaNI91CeLpoy8Inz+cwq+3nAMRcVAo4Qw3HxBHbRMilTZMUWTCkaThKJJjyVFky5LiiZ9nhRNekwpmvRYUjTpsqRo0udJ0aTHlKJJjyVFky5Lf7NVedEkgmnnzp147bXXsGbNGlPddMEFF+DBBx/E/v37MWPGDDN1rkaNGv6yqtbbUzTpHt7fiibpxbRydyZm/ngIaTkexEUG4w/n1MLFreIQFOjflLnSV03RpHf8KJr0WFI06bKkaNLnSdGkx5SiSY8lRZMuS4omfZ4UTXpMKZr0WFI06bL0N1uVF02ystzYsWNNn6Zu3bohJycHIk3k4lH+fffdd2P48OGmVxNH+QQomnTPjlLRNHHi49h9LN/0ZUo+nIuIkEB0bx6LQV1rmx5NWoOiSYskK5r0SP430w8//GC+n8eMGaOdusx8ixYtMlOpR48e7cr+vvvuOyQnJ2PUqFGu7G/evHnYu3cvbrnlFlf29+WXXyIlJcUsuuHG+Oyzz5CVlYUhQ4a4sTtzreDxeDBo0KBK39+sWbMQHByMgQMHVvq+ZAfvvvuuecgmK/O6MSiadCm/9NJLaN++PXr27KmbuJxs06ZNQ5cuXdC9e3dX9vf000+jR48e5trdjTF58mT06dMHnTt3dmN3ePzxx3HVVVehQ4cOruzvkUcewXXXXYd27dq5sj+KJj3MFE16LCWTXP9NmjQJMTExuonLyTZy5EjTKzoyUmeWircXPWLECEyfPh2hob6vVu5tH1p/r9KiSaqZtm3bhiuuuMKcUPLjsXbtWrzxxhv4+OOPzcXjzJkzsX79evN3jvIJUDTpnh0imp5/4QX87aFHMHtVCr7flmZ20LxWBG65sC4aJuhO6/QmmoqP7UXOty9av8mgmo0Q0fuOMuO3bt1qPldykeHGEGnw4Ycf4qGHHnJjd5w6p0yZokkXKEWTLk+KJj2eFE16LCUTRZMuT4omXZ4UTXo8KZr0WFI06bL0N1uVFk0yTW7JkiV44IEHMH/+fAQFBUGeZj/77LNGNBUVFWHhwoXmx/r999/3l1W13p6iSffwimh66plpuHrUeHyw4jCy8otQs0YIhpybhPOaxuA3iyOq7NibaPLs24CMl+0rEoIbdkTMqDcomlSOTsVJVq9ebb6/5ELDjbF8+XLzvSmVoG4MiiZdyhRNujwpmvR4UjTpsaRo0mUp2SiadJlSNOnxpGjSY0nRpMvS32xVXjRJX6abb77ZTM+IiIg4QTQVFhbixRdfNBVNUmLGUT4Biibds+OXvfvwjykvI6nnzdiXmo+osCD0bhOPAWcnmulz2oOiSY8oezTpsZRMFE26PCmadHlSNOnxpGjSY0nRpMuSokmfJ0WTHlOKJj2WFE26LP3NVqVFk7z5o0eP4vrrrzdzoAcPHgy54X799dfx/PPPmz4djz76KO6//37zNw6KpilTplT6aVACYPfBVPx9xrcITGqL4MAAtKsXheHd6yAppnLm01I06R1WiiY9lhRNuiwlG0WTLlOKJj2eFE16LCmadFlSNOnzpGjSY0rRpMeSokmXpb/Zqrxokulxc+fOxTPPPGMagefn52P37t3o1KkTpFH4ueeea0RTYmKiv6yq9fasaNI7vNn5RZi34Sg+WL4fAcGhqBMThmHdk9Chfg31KXOlr5qiSe/4UTTpsaRo0mVJ0aTPk6JJjylFkx5LiiZdlhRN+jwpmvSYUjTpsaRo0mXpb7YqL5oEQG5urlnVSP5JS/tv0+WAgAA0b94cF110ERo2bOgvp2q/PUWTziEuLCrB+n3ZZpW5lKxCs7LclR0T0a9dAkKDA3R2UkYWiiY9tBRNeiwpmnRZUjTp86Ro0mNK0aTHkqJJlyVFkz5PiiY9phRNeiwpmnRZ+putSosmWXVOqpd27tyJ3r17myWRRTqViiZZ1lduwDdt2mSW/OQonwBFk/9nR0kJcDAjH28uOYj1+7MRGhyIzo1q4Kbz6yA+Mtj/HVSQgaJJDy9Fkx5LiiZdlhRN+jwpmvSYUjTpsaRo0mVJ0aTPk6JJjylFkx5LiiZdlv5mq9KiSVadkyqmO++8E/3798dtt92GRo0aQQSUVDZJryaZVteyZUvTs4mDoqkyezRl5BVhztoUzNt4DIWeItSKBP7Stzla1I6o9FOPokkPMUWTHkuKJl2WFE36PCma9JhSNOmxpGjSZUnRpM+TokmPKUWTHkuKJl2W/mar0qJJhJI0A3/llVcgF4u1a9fGsGHDEBsbi7feesusdnTxxRdj+PDhuOSSS/xlVa23Z0WTf4c331OMlbsz8c6yQ0jP9QAFWWhQuAOP3TkYQYGVN2Wu9FVTNPl3/H67NUWTHkuKJl2WFE36PCma9JhSNOmxpGjSZUnRpM+TokmPKUWTHkuKJl2W/mar0qJJ3rzIptTUVPz000+YNWsWli1bhsjISISEhOCmm27CpZdeiqZNmyI0tHJW+/L3AJwu21M0+X4kiotLsPtYPt5YcgDbj+QiIiQQjcIzkb3+CzzxyD99T+xgS4omB7C8hFI06bGkaNJlSdGkz5OiSY8pRZMeS4omXZYUTfo8KZr0mFI06bGkaNJl6W+2Ki+aSmVTcnKyWV1u9uzZCAwMRNeuXfHSSy+hc+fO/jI6I7anaPL9MKdme/DBysNYnJxukrSoFYFLGxXi03dfwxNPPOF7YgdbUjQ5gEXRhCVLlmDs2LF60CrItHTpUqxatQpjxoxxZX+LFi3Cxo0bMXr0aFf2991330F+f0aNGuXK/ubNm4e9e/filltucWV/X375JVJSUky1sBvjs88+M/0WhwwZ4sbuTDW0x+PBoEGDKn1/8jAsODgYAwcOrPR9yQ7effddSK/Kq6++2pX9UTTpYpZr2Pbt26Nnz566icvJNm3aNHTp0gXdu3d3ZX9PP/00evTogW7durmyv8mTJ6NPnz6u3Rc8/vjjuOqqq9ChQwdX3t8jjzxi+tG2a9fOlf1RNOlhpmjSYymZ5Ppv0qRJiImJ0U1cTraRI0di6tSpptDFjTFixAhMnz69ShTRVHnRJL2Y5syZY6bKHThwwFxQyRS6Dz74wBzwAQMGmAtI+W8c5ROgaPLt7MgtLMaS5HTMWnEY2flFqFkjBDeel4Q6gWl48cUXKJp8w3rCViINPvzwQzz00EMK2bynYEWTd0ZOIiianNDyHkvR5J2RkwiKJie0Ko6laNJjKZkomnR5UjTp8qRo0uNJ0aTHkqJJl6W/2aq0aCptBi5mT576DB48GBdeeCGioqKwYsUKU920YMECY/jlC5GDokmzGbinuATJh3IxY8kB7E/LR1RYEC5pG48BnRJx+MBevPACRZPGZ46iSYPirzmWL1/uakWT9MqTRRtY0aRzHCmadDiWZqFo0uNJ0aTHkqJJl6Vko2jSZUrRpMeTokmPJUWTLkt/s1V50bR+/XrMnz8f/fr1M6vLlfZikt5Nu3fvxvfff48jR45g3Lhx/rKq1tuzosnZ4S0BkJJZiHd+PGiagAcHBqBdvSjcfEEd1I4OxS+//ELR5AxpudEUTUog/5eGokmXJ6fO6fLk1Dk9npw6p8dSMsnCMy1atEDv3r11E5eTjRVNupgpmnR5UjTp8aRo0mNJ0aTL0t9sVVI0ZWZmmgbgjRo1QnZ2tumvICvNnTxENklviW3btuGCCy7wl1W13p6iydnhlWly32xKxWdrUyArztWJCcPw7nVwVv0oBASAoskZzgqjKZoUYQKgaNLlSdGky5OiSY8nRZMeS4omXZaSjT2adJmyR5MeT+n5++c//9ncZ7oxKJp0KbNHky5Pf7JVOdEk0+XWrFljejBNnDjRvHcRSocOHcLOnTtPaGIosatXrzZT6B577DF/OFX7bSma7A9xYVEJ1u/LxhtLD+BoViGiw4NwZcdE9GuXgNDgAJOIFU32PL1FUjR5I+Ts7xRNznh5i6Zo8kbI2d8pmpzxqiiaokmPJUWTLkuKJn2eFE16TCma9FhKJmmdMGHCBCQkJOgmLicbRZMrmK12UiVFk6wqJE9CPvnkE/MmRSjJzdM777xjur6XjqKiIixcuBDPPfecWVmGo3wCFE12Z0dJCXAwIx9vLDmIDfuzERociM6NamDY+XUQFxl8PAlFkx1PmyiKJhtK9jEUTfasbCIpmmwo2cdQNNmz8hZJ0eSNkLO/c+qcM17eolnR5I2Qs79TNDnjVVE0RZMeS8lE0aTLk6vO6fI8IZtIpbJEkwilZ599Fh9//DFFkw/8KZrsoGXmFeHTNSn4ZtMxFBUDDRPCcGuPumheK+KEBBRNdjxtoiiabCjZx1A02bOyiaRosqFkH0PRZM/KWyRFkzdCzv5O0eSMl7doiiZvhJz9naLJGS+KpgdcW5Gdoknv3JRMFE26PCmaKpFnaWqKJu+QpRfTyl2ZePvHQ8jI9SA2IhiDutZGz5axCAr875S50kHR5J2nbQRFky0puziKJjtOtlEUTbak7OIomuw42URRNNlQso+haLJnZRNJ0WRDyT6GosmelbdIVjR5I+Ts7xRNznh5i6Zo8kbIj79LRZNUL8lcT1k+Xob8t1WrVuH111/H888/fzy7/HdZVlumzXHqXMXQKZoq5lNcXILdx/IxY/EB7EzJRXhIIC5sEWtEU42woFM2pmjy40N+0qYUTXosJRNFky5PiiZdnhRNejwpmvRYSiaKJl2eFE26PCma9HhSNOmxlEwUTbo8KZp0eZ6QTeTRggULMGjQIJx11lnH/5aeno69e/eiffv2J8RnZWWZVQMomiia/v3vf2PKlCk+nZ2p2R7MWnEYS7anm+1lqtxtPeuiflxYmflsRFNx6n7kfPVvq9cTGN8Akf3Hlhu7Y8cOzJgxA48++miZMZ59G5Dx8jCrfUlQcMOOiBn1RpnxW7duxcyZMyFL27oxKJp0KVM06fKkaNLlSdGkx5OiSY8lRZMuS8lG0aTLlKJJjydFkx5LiiZdlpKNokmf6fGMssLc9u3bTTVTSkqK1z0FBQXhsssuw+DBg73GuhkgwkxWyfvrX/9qdhsREYE777wT5513nvn/mZmZuO+++3DkyBGEhobiiiuuwLBhw5Cbm4vXXnsNcnMTFxdn/reMgoICLF68GGvXrsU999zj+K2woql8ZLmFxVi8LQ0frDyC7Pwi1KwRofLMaQAAIABJREFUgqHnJaFbkxgEnDhj7ngSG9FUdHAL0l8YYnWsguu1Rczod8qNpWiywmgVtG7dOsyZMwfjx4+3ivc3SFbGnD9/PmR5WzeG26Jp6dKlpuJUnmi5MaSHn8hJWXXEjUHRpEuZokmPJ0WTHkvJxIomXZ4UTbo8KZr0eFI06bGUTKxo0uVJ0aTL85Rs+fn5RsCIdPE2AgICTLOzmJgYb6Gu/j07OxuPPfYYmjRpYpZ7XL9+PZYsWWIqRSIjI/Hkk09C5MF1110HqcqSahyRaxIrH9jbbrsN3377LQYOHIj+/ftDqkzkvz/++OPo1q2b4/dC0VQ2Mk9xCZIP5+K1xQdwIC0fUWFBuLRtPK7plGimz5U3KJocn4LlbsCKJj2WkomiSZcnRZMuT4omPZ4UTXosKZp0WUo2iiZdphRNejwpmvRYUjTpspRsFE36TKtdxsLCQvOUv0OHDggPD0dycjLOP/98I48aNGiA7t27Y/r06ejduzcyMjJMtVN8fDwGDBhgfpzfe+89I6Xy8vJw0003Ydy4cejUqRPuuusun1idiaIpLceDWSsPmyql8kZxCZCe48GOlFyUlAAhQQGoHx+GxBohCAwIQMP4MAw8p9Ypm1M0+XQalrkRRZMey99DNP3www+mVx4rmnSO47x588w08VtuuUUnoZcsX375pakelopaNwZFkx5liiY9lhRNuiwpmvR5UjTpMaVo0mNJ0aTLkqJJn2e1zyjT6DZv3owePXqY6W8iff7whz9g165dprpJZJJMkRO5JJVOf//7383UnldffRUirOrXr2+klUz1ERnlyzgTRdOB9AI8MHs7CotKfEFmps01TYzAhAFNKZp8Imi3EUWTHSfbKLcrmiiabI+MXRxFkx0n2yjp3+jxeEzfx8oes2bNQnBwsKlEdmNQNOlS5tQ5XZ6saNLlSdGkx5OiSY8lRZMuS4omfZ7VPqNMAZw6daqRRVLFJD1GRo4ciUOHDpn3LqLp7bffNv0BPv74Y1PdJIJJ+lVJNdNXX32Frl274uuvv0ZsbCwmT56MWrVOrbKpCOSZKJoOphfg4U93IquCiqaKmElFU6ukCDx4VROKpkr8lFI06cKlaNLlyalzujxZ0aTHk6JJj6VkomjS5UnRpMuTokmPJ0WTHkuKJl2WFE36PKt1RhFG0ghYejA988wzaNmyJebOnVumaJIKJql4kmbFe/bsgVRCiZi6++67TW+mv/zlL1ixYgWaNWuGO+64wxG3M1E05XuKsfVgDgp+U9Ek0+MOZxZg7vpjOJZdaBiGBQeiY4Ma6NEy9gSmUtEUHR6MlrUjKJocnW3OgimanPHyFk3R5I2Qs79TNDnj5S2aoskbIfu/UzTZs7KJpGiyoWQfQ9Fkz8omkqLJhpJdDEWTHSfbKDYDtyVlF8ceTXaczvgokUzffPONmQ43YcIEXHTRRSgqKoJMNZHSernBlsokqXh68cUXzf8X2SRDGoQ/9dRTZuW5Pn364MYbb8RPP/1kJNWnn356fDU6W8gimqTPk/SMcmNIQ/dt27bhrLPOcmN3pipMVits3759+fsLDAKikpBT+xzsTi9BXmEx4MlHYMpmJObvRP24MOvXKsdMVhVs165dudskFKViQNYXVjmPBiXg0xqXlxubk5OD3bt3o23btmXG1Co6iquy5lrtS4IOByXi8xr9y4yXRvbSI6Z169bW+fwJlBUYDxw4gFatWvmTxnpb6Ykm1YQifd0Y6enpZnGDFi1auLE7pKWlmem5IqTdGKmpqWafTZueOsW0MvZ/9OhRs2qnLLTgxpD+RfKZaNy4sRu7O74QRqNGjVzZ3+HDh82qptI70I1x8OBB8zsoU8LdGPLdItXB9erVq/Td7d+/H7JASd26dSt9X7KDffv2QVberVOnjiv7k98FWSVXFmBxY0gvRFmx12kFt6+vTX5jo6KikJiY6GsKR9tJ+4To6GjUrFnT0Xa+Bss1i1xT+tqCwel+5ZpM3pvs040hvVDlXJHKfzeGXOMmJSW5thiRLAok3y1yzrgxtmzZYn4X5DNR2WPTpk3mN1baibgx5H5Lrlnk+8WNsWHDBjRv3tz07HVjyAJUco0bFmZ/X+PP65ICiTZt2iAkJMSfNNbbygrscr8nU9XdGGvWrDH3z/J768aQ1apnzJhhfm9P9xEgFz0AAkrkSovDNQKllUxSiSS9lS677DKzbzkMcjEq/SKGDx9uluiWm0JZWe5Pf/oTbr31VoikmT17NmTZ8H/961+mWfill14K+aL65JNPzH9/9tlnHb0X2Ye8jttvv93Rdr4Gy8219KuQKYJuDHl/wqa8BroFnmJsPpiLhbsK4IlIAgKDTLVSr5bRaBGdC+SmOnqZIg6kia4cw/JGaPoe1F8wwSpvflxj7L/4wXJj5eZMpKVMpSxrhKXuRL1FE632JUH5Cc2wv+f4MuPl/Fy4cCGGDBlinc+fQKneE/n6xz/+0Z801tvKxb1UBl5//fXW2/gTKKtL/vzzz7j22mv9SWO9rVz8ykXbNddcY72NP4HSf05uKK688kp/0lhvK9+Dcs6Ufqdab+hjoBw7+fz169fPxwzONpMLGpFp8p3vxpBG7iLuevXq5cbuzAMTeTAgD17cGMuWLTNi68ILL6z03cnKsnIhKgt/uDFkGr7cuJx77rlu7A4LFiwwN7ldunRxZX9SDS6i4uyzz3Zlf9KeQKRdx44dXdmfPDgUoVzRAyvNF/L555+bm125IXRjyENReTjm1kMd6ccmi+a49ZDlgw8+MG0t3Hro8f7775uFhBo2bOjG4YNUTF588cWuSHppHyIP1d2S5m+99RYuv/xy1yT266+/bhZ7kpXF3RhStCD3mW5JV5l9I/cMbklQKc64+eabXROT06ZNw6hRo1wTd3KPL8eQosmNT0sV3YfIIbmRlRv20hsiOWHkZmzo0KGQ6RgyFU4uMEQGylODBx980DxJkwv/J554AhMnTjQ/0iJtZLU5ufmQJ+sPP/yw+fJ3Ms7EqXOlfKRyafmuDDNdbs+xfJSgBAlRIbiyY02c2yQGcZHOjThXnXNy9lUcy6lzeiwlE6fO6fLk1Dldnpw6p8eTU+f0WEomTp3T5cmpc7o8OXVOjyenzumxlEycOqfLk1PndHlWy2xS0SSSSaY8lQ550imlmiKXpGpJmnzLkNI/EUryN+nLJNUyUiLbs2dP83d5GitVCvLfpAxSngQ7Lfc8U0VTVl4RvtuSioVb03AoowABCEC9uFAMODvR9GWKCvOtDJKiSe9jS9Gkx5KiSZelZKNo0mVK0aTHk6JJjyVFky5LyUbRpMuUokmPJ0WTHkuKJl2Wko2iSZ8pM1YygTNNNMlE0dQcD75cdxTLdmYgNbsQwUEBaF4rwkim1nUiTRNwXwdFk6/kTt2OokmPJUWTLkuKJn2eFE16TCma9FhSNOmypGjS50nRpMeUokmPJUWTLkuKJn2ezOgCgTNJNBXLynIZBfh4zRGs2ZMFqWoKDQ5Eh/pRZrpcs1oRCA40vct8HhRNPqM7ZUOKJj2Wv4dokp5xq1atMqXTbgzpSyPnjPS3c2OwokmXMkWTHk+KJj2WFE26LCma9HlSNOkxpWjSY0nRpMuSokmfJzO6QOBMEU1PTpqMnSl5+Gj1EWw5mGNWlosICcQFLWLRt10C6sWFwU/HZI4WRZPeSUvRpMeSokmXpWSjaNJlStGkx5OiSY8lRZMuS4omfZ4UTXpMKZr0WFI06bKkaNLnyYwuEDgTRNOTk5/CLeP+hc/WpmD74Vx4ikvMynJ92sWjZ8s41I7WW3aToknvpKVo0mP5e4gmWTFQFjBgRZPOcZw3bx5kGfnyVtDU2cuvWWT1zJSUFAwbNkw7dZn5KJr0MFM06bGkaNJlSdGkz5OiSY8pRZMeS4omXZYUTfo8mdEFAtVeNB1Kwd+ffgv1zrsWe47loQRAfGQIru6UiG5Non1aWa6iw0LRpHfSUjTpsaRo0mUp2VjRpMuUokmPJ0WTHkuKJl2WFE36PCma9JhSNOmxpGjSZUnRpM+TGV0gUJ1Fk/Rg+nr9Ecz+IRkBEQkICPjvynLXdk5Eh/q+ryxH0fSwC2cmTL+dDz/8EA899JAr+1u3bh3mzJmD8ePHu7K/1atXY/78+bj33ntd2d/y5cuxZMkSjB071pX9saJJFzMrmnR5fvTRR/B4PBg0aJBu4jKyzZo1y6wiO3DgwErfl+yAokkX8yuvvIIWLVqgd+/euonLyfbSSy+hffv2x1cYruydTps2DV26dEH37t0re1cmP1ed08VM0aTHk6JJjyVFky5LiiZ9nszoAoHqKJpKV5b7Yt1R/Lgj3awyJ02+m9eOwLX/W1lOmoBXxmBFkx5ViiY9lpKJokmXJyuadHmyokmPJ0WTHkvJRNGky5OiSZcnRZMeT4omPZYUTbosKZr0eTKjCwSqm2gyK8tlFuCjVUewVlaWy/91ZbmrOiWiaWL4KSvLFacfRPZnE61oB8bWRdTV5Ve8UDRZYbQKomiywmQdRNFkjcoqkKLJCpN1EEWTNSqvgRRNXhE5CqBocoTLazBFk1dEjgIomhzhqjCYokmPJUWTLkuKJn2ezOgCgeokmoqKS7ArJQ+zf7OyHIoKkFh0EPcN6Y265awsV3RkB9Kfu96KdlDt5ogdM6vcWIomK4xWQRRNVpisgyiarFFZBVI0WWGyDqJoskblNZCiySsiRwEUTY5weQ2maPKKyFEARZMjXBRNDzyA2rVr60GrIJMsBjNhwgQkJCS4sr/Ro0dj0qRJiImJcWV/I0eOxNSpUxEZGenK/kaMGIHp06cjNDTUlf35s5MA6VcDIKCkRCYacZypBKqLaCosKsGG/Vn4dM1R7Djy68pynRILkbz4I0x59MFyDzFF069oght2RMyoN8pktXXrVsycORMPP8weTRrfF+zRpEHx1xyLFi0yfb3kQsONQdGkS5miSY8nRZMeS8lE0aTLk6JJlydFkx5PVjTpsZRMFE26PCmadHkymwsEqoNoyissxvJdGfhy3THsTf11ZblrOiWiflgmXntxKqZMmULRZHE+UTSxGbjFaWIVwmbgVpisg9gM3BqVVSCbgVthsgr6z3/+g8TERFx++eVW8f4Gvf7662jQoAH69u3rbyqr7SmarDBZB1E0WaOyCqRossJkFUTRZIXJOoiiyRqVVSBFkxUmBp1OBKq6aJIeTN9uSsXCrWk4nFFwfGW5gZ1r4awGUUhPOYR///vfFE2WJx1FE0WT5aniNYyiySsiRwEUTY5weQ2maPKKyDqAoskalVUgV52zwmQdNHnyZPTp0wedO3e23safwMcffxxXXXUVOnTo4E8a620pmqxReQ2kaPKKyFEARZMjXF6DKZq8ImLA6UagqoommfCZluPBnP+tLCf/u3RluYGdE9EqKRKystz+/fspml4eZn3aUTRRNFmfLF4Cly5dilWrVpnSaTcGp87pUv7yyy+RkpKCYcPsvz/8eQWcOucPvRO35dQ5PZaSiRVNujxZ0aTLk6JJjydFkx5LyUTRpMuTokmXJ7O5QKAqiqbSleVmrzqCn3+zslzH+lGQleWa/GZlOYqmDcigaLL6JK1btw5z5lA0WcGyCKJosoDkIIQVTQ5gWYSyoskCkmUIK5osQVmGsaLJEpRlGCuaLEFZhkmfzhtvvBGtWrWy3ML3sAcffBC33normjVr5nsSB1tSNDmAZRFK0WQByUEIRZMDWAw9PQhUNdEkK8vtlJXlVh3BloM5yPcUIzwkED1axKJf+wTUiQ1DoOlz/99B0UTRZPtJo2iyJWUXx6lzdpxsoyiabEnZxVE02XGyiaJosqFkH0PRZM/KJpKiyYaSfQxFkz0rb5H33nsvxo0bh3r16nkLVfn72LFj8QBXnVNhKUm46lz5KLnqnNppVrUTVSXRVLqy3CdrUrDzSB48xSWIDg9Cv3YJ6NkqDok1Qk45GBRNFE22n1CKJltSdnEUTXacbKMommxJ2cVRNNlxsomiaLKhZB9D0WTPyiaSosmGkn0MRZM9K2+RFE3eCDn7u6w6PGnSJMTExDjb0MdoiiaKJh9PnTNns9NBNGXkevCfZYeQleepELxMmUvL9eBAWj7kf8sICQpA/fgwtK8XhSHnJlE0nUTAs4+iyfbTTNFkS8oujqLJjpNtFEWTLSm7OIomO042URRNNpTsYyia7FnZRFI02VCyj6FosmflLZKiyRshZ3+naHLGqzKjWdFUmXSrUO7TQTQdzizA3z7YDqlY8mXITLmGCeGY+IdT53CzoomiyfacomiyJWUXR9Fkx8k2iqLJlpRdHEWTHSebKIomG0r2MRRN9qxsIimabCjZx1A02bPyFknR5I2Qs79TNDnjVZnRFE2VSbcK5T4dRFNKViEe+ngHMvOKfCIXGBCA5rXD8c+rm56yPUUTRZPtSUXRZEvKLo6iyY6TbRRFky0puziKJjtONlEUTTaU7GMomuxZ2URSNNlQso+haLJn5S2SoskbIWd/p2hyxqsyoymaKpNuFcp9OogmqWTafiQXnpMqmvIKi7E4OR0rdmUYoqFBATirQQ30bh2HkKDA45QDAoDI0CA0TQynaDqJAKfO2X8YKZrsWdlEUjTZULKPoWiyZ2UTSdFkQ8kuhqLJjpNtFEWTLSm7OIomO062URRNtqS8x1E0eWfkJIKiyQmtyo2laKpcvlUm++kgmsqClV9YjKXbM/DxmiM4mlVoJFOnhtG4rkst1Is7cWW5imCzookVTbYfRoomW1J2cRRNdpxsoyiabEnZxVE02XGyiaJosqFkH0PRZM/KJpKiyYaSfQxFkz0rb5EUTd4IOfs7RZMzXpUZTdFUmXSrUO7TUTSVSqZP1x7BkcxCBAcFoG2dKNx0fhLqxYdBejLZDoomiibbc0VE0+eff47777/fdhO/4lavXo358+dDLjTcGMuXL8eSJUsgy9u6MSiadClTNOnypGjS40nRpMdSMlE06fKkaNLlSdGkx5OiSY+lZKJo0uXpTzaKJn/oVaNtTzfRVJZkap0UiRvOTUKTxHBHkkkOE0UTRZPtx5WiyZaUXRxFkx0n2yiKJltSdnEUTXacbKIommwo2cdQNNmzsomkaLKhZB9D0WTPylskRZM3Qs7+TtHkjFdlRlM0VSbdKpT7dBJN0qtp9S+ZeG/5YRzKKEBwYABa1xHJVBuNa0Yg0Ekp0/+OAUUTRZPtx5GiyZaUXdzSpUuxatUqjBkzxm4DP6MWLVqEjRs3midabozvvvsOycnJGDVqlBu7A0WTLmaKJj2eFE16LCUTRZMuT4omXZ4UTXo8KZr0WEomiiZdnv5ko2jyh1412vZ0EU0imdbsycQHK45gf1o+ggID0KpOJIb4IZnkMFE0UTTZflwpmmxJ2cVRNNlxso2iaLIlZRdH0WTHySaKosmGkn0MRZM9K5tIiiYbSvYxFE32rLxFUjR5I+Ts7xRNznhVZjRFU2XSrUK5TwfRdLJkCgwMQKOEcAzrnoQWtSN9qmQqPQQUTRRNth9HNgO3JWUXx6lzdpxsoyiabEnZxVE02XGyiaJosqFkH0PRZM/KJpKiyYaSfQxFkz0rb5EUTd4IOfs7RZMzXpUZTdFUmXSrUO7fWzSJZNqwPxvv/njIVDKVSqYbz0tCq6QIU9nkz6BoomiyPX8ommxJ2cVRNNlxso2iaLIlZRdH0WTHySaKosmGkn0MRZM9K5tIiiYbSvYxFE32rLxFUjR5I+Ts7xRNznhVZjRFU2XSrUK5f0/R5CkuwdaDOXjnx0P45WieumSSw0DRRNFk+3GkaLIlZRdH0WTHyTaKosmWlF0cRZMdJ5soiiYbSvYxFE32rGwiKZpsKNnHUDTZs/IWSdHkjZCzv1M0OeNVmdEUTZVJtwrl/r1E05R/P20k07s/HcLuo3kAAlAvLhQjLqyL5uFZyPvoQSuKgTFJiLrukXJjKZoomqxOJAAUTbak7OIomuw42UZRNNmSsoujaLLjZBNF0WRDyT6GosmelU0kRZMNJfsYiiZ7Vt4iKZq8EXL2d4omZ7wqM5qiqTLpVqHcv4domvDoY/jz/RN/I5mA2jGhGHpeEjo2qAGk7UX6MwOsKAbVbIzYuz+iaHr00TIZePZRNFmdSBRNtpis4yiarFFZBVI0WWGyDqJoskblNZCiySsiRwEUTY5weQ2maPKKyFEARZMjXBUGUzTpsZRMFE26PP3JRtHkD71qtK3roulICu771xQ07nsHdqXkGpIimW48NwlnNYhCaFAgio7toWj63zkWXK8tYka/U+4Zt2PHDsyYMQOPUjT5/alkRZPfCE9IQNGky5OiSZcnRZMeT4omPZaSiaJJlydFky5PiiY9nhRNeiwpmnRZ+puNoslfgtVkezdFU1FxCZIPZmDCzB8QFN8YQMkpkkmwUjT9enJRNH2Ihx56yJVPG0WTLmaKJl2eFE26PCma9HhSNOmxpGjSZSnZKJp0mVI06fGkaNJjSdGky9LfbBRN/hKsJtu7JZpEMv1yLA/vLDuEzfszERAYhIQaIWa63NmNaphKptJB0UTRJAQ2btyIDz90VzR9/vnnuP/++135dK9evRrz58+HXGi4MZYvX44lS5Zg7NixbuwOFE26mCmadHlSNOnxpGjSY0nRpMuSokmfJ0WTHlOKJj2WFE26LP3NRtHkL8Fqsr0boqm4pAR7juXjPz8cxLbDuSguLkF8VAj+2K02ujWJRljwr5JJsFI0UTRRNOl/wVA06TL97rvvkJycjFGjRukmLicbRZMuZoomPZ4UTXosKZp0WVI06fOkaNJjStGkx5KiSZelv9komvwlWE22r2zRVFICHMoowNvLDmLdvmwUFRcjOhQY2r0BujaJRnjIiZKJounEE4tT59ytaJozZw7Gjx/vyqebFU26mBctWmSq4KQZpBuDokmX8meffYasrCwMGTJEN3E52Sia9DBTNOmxpGjSZUnRpM+TokmPKUWTHkuKJl2W/majaPKXoB/bFxcXY+vWrfjLX/6Cnj17Qr60S0dGRoZ5Qn7w4EGEhYXhuuuuwx133IGcnBw8++yzmDt3LhISEiAXyTIKCgrwzTffYMWKFfjHP/7h+FVVpmgykimzwEyXW78vC56iEgQW5SLu6Go8ed+tZUomiiaKplICv8fUOYomx18h5W7AqXN6LCUTK5p0eVI06fGkaNJjSdGky5KiSZ8nRZMeU4omPZYUTbos/c1G0eQvQR+3z8/Px7vvvgt5eluzZk2kp6fjvffeM9nkaa7IorS0NIwYMQIine677z6zAkmtWrUwZswY0z9G+sj06tULAwYMwKZNm4yYkpXH2rRp4/hVVZZoOlkyFRaVIDo8GD0alGD5Z6/hmacmlftaOXXuVzSsaGJFk+MPdTkbcOqcFsn/5mFFky5PVjTp8ZRrjBo1auDqq6/WS1pBJoomXcxcdU6XJ5uB6/KkaNLjSdGkx5KiSZelv9komvwl6OP2Us20d+9e84/cqPz888/HRVNKSgq6detmRNT555+PzMxMI5oCAgIwaNAgPPfcc5g5cyb+7//+z1Q4DR061FQ7XX755UZM+TIqQzSVADiWVYg3fziIdXuzUCqZru2ciFYx+Xj2qSfxzDPPUDRZHDCKJoomi9PEKoSiyQqTdRBFkzUqq0CKJitMVkEUTVaYrINeeeUVtGjRAr1797bexp9AiiZ/6J26LUWTLk+KJj2eFE16LCmadFn6m42iyV+Cfm4voujpp58+Lpo8Hg8WL16MP/7xj9izZ4+ZNpeXl2cqlUQuTZkyxVQzffHFF5g+fTqKioqQmJiI7du3GxkVHR3t0yvSFk0imdKyPfi/5YewfFcGCjxSyRSEazvXQo8WschOP4qJEydSNL1g14eEosld0cRV53z6GilzI06d02MpmTh1Tpcnp87p8WRFkx5LyUTRpMuTokmXJ0WTHk+KJj2WFE26LP3NRtHkL0E/tz9ZNBUWFpr+SyNHjsShQ4dMdhFNb7/9NuRpmjztvfPOO3HgwAFERkaa6XKffvopunfvbkRUXFyciUtKSnL0yjRFU6lkem/FIazYlYm8wmJEhgbhmk410btNPKLCgnD48GGKpoNbkE7R5PU8ZY8mr4gcBbCiyREur8GsaPKKyFEAK5oc4aowmBVNeiwlEyuadHnKQ9YePXqYCn43BkWTLmWKJj2eFE16LCmadFn6m42iyV+Cfm7vRDS9+uqrWLJkCXbs2GFEjfR5ki/6xx9/HOPGjTP//v77741suvvuux29MhFNY8eORfPmzR1tV2ZwWDQ8jXriQGG0kUzw5CPwwCrULthtqppkiFCTiq1mzZqVu7/YkmwML/7G6vWkoQb+E3RpubHSLH3fvn1o2rRpuTEJJZkYWvyt1f6OIgYzg8ovn5djIzKwSZMm5eZLLEnHkOIFVvs7HBCH9wIvLjdWZKSIycaNG5cZk1SSij8WL7LalwQdDEjArMCeZcbn5ubiyJEjaNSokXU+fwLlM3L06FE0bNjQnzTW22ZnZyM1NRUNGjSw3safQOnJJj3a6tev708a621lKq78U69ePett/AmUfcl7rFu3rj9prLcVlnLOuLk/+UzUqVPH+jX6Eyi9++T7xenDBF/3KZ8F+b6uXbu2rykcbSe/RVKpK/0I3Rjy3VJSUmIqgyt7yLR4mQIvfRndGPI9HRQUZBYOcWPIdUlISAji4+Pd2J35zZOqb7nmcWPI4iwRERGIjY11Y3fmGiIqKgoxMTGu7U96evlaGe/0Rco1mbw3N/cnx07eoxtDWmPIZ0GOoRtDrqnlu0UeQrsxfvnlF/M9LZ+Jyh67d+82v3nh4eGVvSuTf9euXeYaQr5f3Bg7d+4014ChoaFu7M7cR8o1tXxfuzFk1o3cnwQHB7uxOyQnJ5v7Pfn9c2Ns27bN3M+6uT+Z6eTW+eIPQ4omf+gpbHuyaJIL7GXcwcpcAAAgAElEQVTLluHaa6/FunXrzM2LxLzwwgtmetyLL75o9io3b4888ohp/C1Pg4YPH262+/rrrzF79my8/vrrjl6dXNw/8MADuOeeexxtd3JwZl4RPv05DTtyIoGgUESEBqJvmzh0quUBCrKPh8vNi5TZ33XXXeXuLyjzEBI+HWv1eopi6uLY1f8uN1Yu8KXZuqzwV94ITt+H+Dn3Wu3PE9cQqVeW38hcLoBlSkZFS6wHp+5G/Bf32+0voSlSL59Ybuz+/ftNc3ipcCtrhBzdjri5D1rtS4IKE1sirf+EMuPlYkam79x6663W+fwJlB/8hQsX4uabb/YnjfW28jmT6V433XST9Tb+BMrKkytXrnRtOXdZOEC+W2R6rhtj/fr12LJli1k5042xdu1ayEWbfIe6MVatWmUktlsNl6UiTQTCFVdc4cbbM78rIu/69+/vyv7kYYqIuz59+riyv0WLFhmx5UbfHal+kwvRiy66yJX3JivRyk3ghRde6Mr+vvrqKyNhpLekG0NaCMiNrlsVMVJtJzeD55xzjhtvDx9//LG5WerUqZMr+/vwww/RunVrnHXWWa7s7/3330eHDh3Qtm1bV/YnFX5dunRBq1atXNmfzESQ2QYqD3AtXvGbb76Jiy++uMIHnBZprEPkRrdv376uPASUasIrr7zStQdkMm114MCBrj3Qef755zF48GBXHnjIAZ46dSqGDRvm2kMBqV687bbbXJPm0mbmT3/6k2uS98knnzQFHm6JUGk9I58Jiibrr6szN/Bk0SRPVkVSyE2gfMmJ+JEnrnJhKr2Z5ItBqlfkB1NuqEQ2ibSRv2/evNnIDbkR+fe/y5cuZdHWmDonkumj1UeweFs6cgqKEBESiMvOqom+7eIRE3GixebUOaCIU+esPvicOmeFyTqIU+esUVkFcuqcFSbrIE6ds0blNZBT57wichTAqXOOcHkN5tQ5r4gcBcj9gDzQadeunaPtfA3m1DlfyZ26HafO6bGUTPKQf9KkSa6JLWl3I/LOrWpCWfhL+jRTNOmeN9UqmzyxlR/ZOXPmmKfhIpzkyc7111+P22+/HT/++KOx2zL1SkoNzz33XCOapMxYnjDLNDmpcpJSxIyMDMiXlFQOyJNZOdnPO+88R7z8FU1ZeUWYvfoIliSnIzu/CGHBgbioVRwGdk48RTLJC6NoomiyPUF/D9HEZuC2R8d7HJuBe2fkJILNwJ3Q8h7LZuDeGdlGsBm4LSm7ODYDt+NkG8UeTbak7OIomuw42URRNNlQso+haLJnVdmRnDpX2YTLyS9CSKZ3iHApHYGBgWZOsMgj6YkhlQcypNRe/ptMo5OKJ+nRIXO/RUzJkFwiq+S/yXzbjh07Op5X7I9okuql2auO4Pttv0qmHi1jMeDsRCRElT3/l6KJosn2o0fRZEvKLo4VTXacbKNY0WRLyi6OFU12nGyiWNFkQ8k+hhVN9qxsIlnRZEPJPoYVTfasvEXKg/0///nPrvUipWjydkSc/Z2iyRmvyoymaKpMulUod1miSabCvfr9fmTkFVX4ToqKS3Aoo8BUMskIDAhAfFQwEmuEoEF8GG658NQmwBRNFE22H4/fQzRJpeH48eNtX6JfcatXr8b8+fNNVaIbg6JJlzJFky5PiiY9nhRNeiwlE0WTLk+KJl2eFE16PCma9FhKpjFjxmDChAmuLUxB0aR7/PzJRtHkD71qtG1ZoulYdiHGvZcMT3GJT+80AECd2FBMHtTilO0pmiiabE8qiiZbUnZxFE12nGyjKJpsSdnFUTTZcbKJomiyoWQfQ9Fkz8omkqLJhpJ9DEWTPStvkRRN3gg5+ztFkzNe3qLZo8kbIf79tCNQlmhKzfHg/7N3H+D3XEX9+DchdAgdJIIoICKIiojCj2ILVVCKqJQgJSAKht4CwYSWkFADhIgCCoIivSgooDQBQUBpKlgQ6UV6T8j/ea3/gXW9937uPWfuDflkzvN8n/Dlu3dnz+yZmfe8Z87ZB73w3/bsaFo2mQMPGIYfuPA5h2N++QeKaFqgpDoMfD0zKKJpPT2te1URTetqar3rimhaT0/rXlVE07qa2vu6Ipr21tEmVxTRtIm29r62iKa9dbTJFUU0baKt1dcW0ZSnS3cqoilXn0U05eqz7rYDDSwimnQy/dd/f31pR9PXv/mt4U3/9vnhHf/5xeHK33ee4Wd/6ALDgdil/3/4X+c464Hj9rn5qI6m6mhad1kX0bSupta7roim9fS07lVFNK2rqfWuK6JpPT2tc1URTetoaf1rimhaX1frXFlE0zpaWv+aIprW19VeVxbRtJeGNvv3Ipo209deVxfRtJeG6t+/6zTQchj4t047bdD19IWvnjocfM6zjAd/f4dmWj3FIpqKaFrXCE4Poqm+Orfu29n7uje96U3DO97xjrGitYvx+te/frBm7NHfxSiiKVfLRTTl6bOIpjxdulMRTbn6LKIpV59FNOXps4imPF26UxFNufosoilXn3W3HWighWjqeawimopoWnf9nB5EUx0Gvu7b2fu6N7/5zcPb3/72Ipr2VtVaV7zqVa8avzB6+9vffq3rey96xSteMXz6058eDjvssN5brfX7IprWUtNaFxXRtJaa1r6oiKa1VbXWhUU0raWmtS8qomltVe15YRFNe6poowuKaNpIXXteXETTniqqC77bNFBE0zCc+ql/Hz7/xF9Z69Wc5aKXGc53t+ctvfZDH/rQcNJJJw3HHXfc0mvqjKa1VD12p7zgBS8YjjrqqPV+0HnVu9/97qGIpk4lTn5eRFOeLt2piKZcfb7oRS8aTjnllOEWt7hF7o0X3O15z3vecNBBBw03velNty6LgCKactVcRFOuPotoytVnEU15+iyiKU+X7lREU64+i2jK1WfdbQcaKKKpiKbpMjvokj86HHynP1y48t7//vcPz3nOc4ajjz56BytzKKIpWct1RlOuQmvrXK4+q6MpT59FNOXp0p2KaMrVZxFNufosoilPn0U05emyiKZcXbpbEU35Oq07blkDRTQV0VRE0/9ooDqacp1NdTTl6rM6mnL1WR1Nefp81rOeNVz4whcebnCDG+TddMWdnvGMZwyXuMQlhutc5zo7kVdEU66ai2jK1WcRTXn6LKIpT5dFNOXqsoimfH3WHXeggXWIpm996TPDl559j7We5sDzXmQ4z60eu/TaOqOpzmhaayENp09HUx0Gvu7b2fu6Ipr21tEmVxTRtIm29r62iKa9dbTuFUU0raup9a47+eSThyte8YrDta51rfV+0HnVk570pOEqV7nKcPWrX73zTuv9vIim9fS07lVFNK2rqb2vK6Jpbx1tckVtndtEW3tfWx1Ne+uorvgu08BaRNPnPz587jE3XOvJDzz/IcP57/XyIprqjKa11suqi06PM5qKaOp+bd++QX11Lk+X7lREU64+i2jK02cRTXm6dKcimnL1ecIJJwyHHnrocOUrXzn3xkvuduyxxw43utGNhitd6Uo7kVdEU56ai2jK06U7FdGUq88imnL1WXfbgQaKaKqtc9NlVmc0vXx44AMfuAPLG4Z3vvOdw2te85rhPve5z07k1RlNuWquM5py9VlnNOXps85oytOlO9XWuVx9VkdTrj6LaMrTZxFNebosoilXl+5WRFO+TuuOW9ZAEU1FNBXR9D8aqDOacp1NbZ3L1Wd1NOXqszqa8vRZHU15unSn6mjK1Wd1NOXq0wdhbnWrWw2Xu9zlcm+84G4PfvCDhzvc4Q7DpS996a3LIqCIplw1V0dTrj6LaMrVZ91tBxoooqmIpiKaimjahqspoilXq0U05eqziKY8fRbRlKfLIppydeluRTTl6rSIpjx96mi/173uNRxyyCF5N11xp3vc4x7DkUceOVz0ohfdibwimnLVXERTrj7rbjvQQBFNRTQV0fQdoqnOaMpzOkU05enSnYpoytVnEU15+iyiKU+XRTTl6rKIpnx9FtGUp9MimvJ06U53uctdhuOPP344+OCDc2+85G6HH374cOKJJw7nOte5diKviKadqLmEZGqgiKYimopoKqIp06fEveow8FytFtGUq88imvL0WURTni6LaMrVZRFN+fosoilPp0U05emyiKZcXfbe7YADDjjAPQ447bTTTuu9Wf3+jKuBIpqKaCqi6TtE08tfXoeBZ3mz6mjK0uT/3KeIplx9FtGUp88imvJ0WURTri6LaMrXZxFNeTotoilPl0U05eqy925FNPVqcJ/8voimIpqKaCqiaRvurIimXK0W0ZSrzyKa8vRZRFOeLotoytVlEU35+iyiKU+nRTTl6bKIplxd9t6tiKZeDe6T3xfRVERTEU1FNG3DnRXRlKvVIppy9VlEU54+i2jK02URTbm6LKIpX59FNOXptIimPF0W0ZSry967FdHUq8F98vsimopoKqKpiKZtuLMimnK1WkRTrj6LaMrTZxFNebosoilXl0U05euziKY8nRbRlKfLIppyddl7tyKaejW4T35fRFMRTUU0fYdoqq/O5Tm2IprydOlORTTl6rOIpjx9FtGUp8simnJ1WURTvj6LaMrTaRFNebosoilXl713K6KpV4P75PdFNBXRVERTEU3bcGf11blcrRbRlKvPIpry9FlEU54ui2jK1WURTfn6LKIpT6dFNOXpsoimXF323q2Ipl4N7pPfF9FURFMRTd8hmuqrc3mOrTqa8nTpTkU05eqziKY8fRbRlKfLIppydVlEU74+i2jK02kRTXm6LKIpV5e9dyuiqVeD++T3RTQV0VREUxFN23BnRTTlarWIplx9FtGUp88imvJ0WURTri6LaMrXZxFNeTotoilPl0U05eqy925FNPVqcJ/8voimIpqKaCqiaRvurIimXK0W0ZSrzyKa8vRZRFOeLotoytVlEU35+iyiKU+nRTTl6bKIplxd9t6tiKZeDe6T3xfRVERTEU3fIZrqMPA8x1ZEU54u3amIplx9FtGUp88imvJ0WURTri6LaMrXZxFNeTotoilPl0U05eqy925FNPVqcJ/8voimIpqKaCqiaRvurA4Dz9VqEU25+iyiKU+fRTTl6bKIplxdFtGUr88imvJ0WkRTni6LaMrVZe/dimjq1eA++X0RTUU0FdH0HaKpDgPPc2zV0ZSnS3cqoilXn0U05emziKY8XRbRlKvLIpry9VlEU55Oi2jK02URTbm67L1bEU29Gtwnvy+iqYimIpqKaNqGOyuiKVerRTTl6rOIpjx9FtGUp8simnJ1WURTvj6LaMrTaRFNebosoilXl713K6KpV4P75PdFNBXRVERTEU3bcGdFNOVqtYimXH0W0ZSnzyKa8nRZRFOuLotoytdnEU15Oi2iKU+XRTTl6rL3bkU09Wpwn/y+iKYimopoKqJpG+6siKZcrRbRlKvPIpry9FlEU54ui2jK1WURTfn6LKIpT6dFNOXpsoimXF323q2Ipl4N7pPfF9FURFMRTd8hmuqrc3mOrYimPF26UxFNufosoilPn0U05emyiKZcXRbRlK/PIprydFpEU54ui2jK1WXv3Ypo6tXgPvl9EU1FNBXRVETTNtxZfXUuV6tFNOXqs4imPH0W0ZSnyyKacnVZRFO+PotoytNpEU15uiyiKVeXvXcroqlXg/vk90U0FdFURNN3iKb66lyeY6uOpjxdulMRTbn6LKIpT59FNOXpsoimXF0W0ZSvzyKa8nRaRFOeLotoytVl792KaOrV4JZ+/8UvfnG4+93vPrz1rW8dznrWsw6HHnrocMIJJwxf/epXh6c97WnDySefPFzgAhcYnvvc5w6HHHLI8M1vfnPQOfDUpz51ePazn73xUxXRVERTEU1FNG3sONb4QRFNayhpg0uKaNpAWWtcWkTTGkpa85IimtZU1JqXwXlXvOIVh2td61pr/qLvsic96UnDVa5yleHqV796343W/PXjHve44ZrXvOZw1atedc1f9F0GQ8PSV77ylftutOavjz322OFGN7rRcKUrXWnNX/Rd9rCHPWy4+c1vPlzhClfou9Gavy6iaU1FrXFZEU1rKGmDS+5yl7sMxx9//HDwwQdv8Kv2Sw8//PDhxBNPHM51rnO132SDX97udrcb8/2zne1sG/zq9Lm0iKbTR+8rpX75y18eHvWoRw3ve9/7hmOOOWb4/Oc/PxxxxBHDve997zFIXvva1x7JpNe85jXDaaedNtzvfvcbPvWpTw3Xve51B0DhGte4xsazKqKpiKbpojnokj86HHynP1y4jt7//vcPz3nOcwYgYxeDHbzgBS8YjjrqqF2IG9797ncP1dGUp+oimvJ06U5FNOXqs4imPH0W0ZSnS3cqoilXn0U05eqziKY8fRbRlKdLdyqiKVefPXcroqlHe1v6LdLnxje+8fCgBz1ouOENbzh2MWFKX/3qVw+PecxjBkzmW97ylpFoet3rXjcceeSRwwMe8ICxaoJV1QG16SiiqYimIpr+RwOIpjoMfFMPsvz6IprydFlEU64u3a2IpjydFtGUp8simnJ16W5FNOXqtIimPH0W0ZSnyyKacnXZe7cimno1mPz7b33rW2Oie/3rX3944xvfOFzmMpcZvvGNb4yJr64mBNPVrna14QMf+MDwwhe+cHjb2942dji94Q1vGLufznve8zY9URFNRTQV0VREU5Pz2ONHdRh4rlaroylXn0U05emziKY8XRbRlKvLIpry9VlEU55Oi2jK02URTbm67L1bEU29Gkz+/amnnjq84x3vGG5wgxsMb3/724dLXepS4/lLr3jFK4Y73/nOI8Gkg0l300EHHTQ8/vGPH4477rjhjne842B/9vnPf/6x3XrTPeFFNBXRVERTEU3J7my8XRFNuVotoilXn0U05emziKY8XRbRlKvLIpry9VlEU55Oi2jK02URTbm67L1bEU29Gkz+/V5E00c/+tHhM5/5zPDpT396+MIXvjA84hGPGAmoJz/5yePh4f4dUeWspk3G1772teG1r33tcPnLX375z751ynDqZ/5rrdsecJaDhgMveMml15qnOVzsYhdbfr9Tvzmc+t8fXlPeWYcDL3iJpdeecsopAzLtohe9aI68g842HHiB7116L+TgZz/72dXyTvnGcOpnP7Le/A46+3DgBQ5ZKe9zn/vccJGLXGThNaed8vXhW5/96FqyXHTAWc8+HHj+xfJ02Fl7F77whde+X8+FX//61weH4+9S3pe+9KXhQhe6UM9jr/1btudctl3K+8pXvjJc8IIXXPsZey609dccfbxgF8PcrJldymMTSP5dDGuFPzvf+c63C3EDW+CvdylPZ++uDvHkW5x1uAt5/OYBBxzQ3Hm86Qsn78ADDxzOc57zbPrTpuudJ3mWs5xlp/IU3M597nM3Pe+mPxJjHb66qwNfYYizn/3sO5V3jnOcYzjnOc+5qWqarofJ6JLMXQzY2VrZpTy25x3uYsDUdjXsUh6/uYsDiZ1DK8a2HA3SovtPfvKTI4bYpTyYjD/bxfjEJz4xYmr+ehfj4x//+Jif7FKefE/828X42Mc+Nuazu5L33ve+d9z5tCt99uiwiKYe7W3ptx/5yEfGjiSVa18AkTT5utzzn//84aUvfekoFfjXzXTxi198uN71rjd+JcQhze9617vGw8Gd3bTJALQlg2eERbvJvOra0kBpoDRQGigNlAZKA6WB0kBpoDRQGigNnNE1oPi3q4JAr66KaOrV4BZ+rwrpxHzs/UknnTR2xtzkJjcZP5N63/vedySeXvaylw0veclLhqc85SnjYeG+OPfiF794JJt88vB5z3veFp6sblkaKA2UBkoDpYHSQGmgNFAaKA2UBkoDpYHSQGlguQaKaPouXB22DSCMbnazm40t/Vo3HfjtDCZtqu95z3uGww47bHjlK185HHLIIYOtIk984hNHgklb8PHHHz+21NUoDZQGSgOlgdJAaaA0UBooDZQGSgOlgdJAaaA0sEsNFNG0S21vIEtb3Ac/+MHxIHB7Pu0VjvN3bHH78Ic/PFz2spcd74iMcjaCPbC2vl3ykpfc2R70DaZUl5YGSgOlgdJAaaA0UBooDZQGSgOlgdJAaaA0sM81UETTPn/BNb3SQGmgNFAaKA2UBkoDpYHSQGmgNFAaKA2UBkoDu9JAEU270nTJKQ2UBkoDpYHSQGmgNFAaKA2UBkoDpYHSQGmgNLDPNVBE0z5/wTW90kBpoDRQGigNlAZKA6WB0kBpoDRQGigNlAZKA7vSQBFNu9J0ySkNlAZKA6WB0kBpoDRQGigNlAZKA6WB0kBpoDSwzzVQRNM+f8E1vdJAaaA0UBooDZQGSgOlgdJAaaA0UBooDZQGSgO70kARTbvSdMkpDZQGSgOlgdJAaaA0UBooDZQGSgOlgdJAaaA0sM81UETTPn/BNb3SQGmgNFAaKA2UBkoDpYHSQGmgNFAaKA2UBkoDu9JAEU270vQ+kXPqqacO//qv/zq86EUvGt71rncNb3vb28aZHXjggcMFL3jB4Sd+4ieG6173usPP/dzPDQcffPA+mfX2pvGVr3xleMtb3jK88pWvHN797nePujXOdrazDT/wAz8wXPnKVx71ea1rXSvlIb785S8Pb37zm4e//Mu/HOX927/927flXfrSl/72+7vGNa6RIu+///u/h7/4i78YXve61w3/9E//NHziE58Y73vuc597uNKVrjRc9apXHa53vesNP/RDP5Qibz/f5Jvf/Obw7//+7+O7e/3rXz984AMfGKwf40IXutBwtatdbfxz6KGHDhe+8IW7VUGe9WFtkud/hzz3J+v//b//N/z8z//8KL93fOMb3xjXf8yPvK9+9avjbS960YsOP/3TPz1Ylz/7sz+bIq/3ebf1+/e9730Du7nmNa+5LRFnmvt+4QtfGN7//vcP5z3veXfiYz760Y8O/nzv937vcPGLX3zrev7IRz4yfOxjHxsucYlLDN/zPd+zdXn7XYCYCONc9rKXHc5znvNsfbr/+I//OMogT0zc9vjrv/7r4fu+7/tGeftxiB2Xv/zlh0td6lL7cXo7ndMnP/nJ4b3vfe/wYz/2YyO23/aAD+HTH/7hH96JLYiz8MwVrnCF4VznOte2p7fv7/+a17xmzFnY3lnOcpatz/dVr3rV6Mf4s13Ie+Yznzn82q/92nD2s59963PbbwKKaNpvb3SL85F4/t3f/d3wm7/5m8OnP/3p0akgRGIccMABY6D4+Mc/Piagf/AHf9BNNp1yyiljQv3iF794JLb+/u//fhSH2JLcBrEl+cwgtr72ta+NxM8rXvGKkYgh2zjrWc86zvfHf/zHR+LnZ37mZ7o1LQl6znOeMzz0oQ8d7yXgSbYNujzttNMGwd5c73CHOwz3uc99umR+7nOfG/74j/94eOQjHzneX0Cfy0MEmevhhx8+3OMe9+iS96EPfWh4xCMeMbz0pS8dQfslL3nJwfuM9+d/u+b7v//7h9/93d8dfuEXfqFLnh9bl4gtxAjgQn8G+Yitn/qpnxrf3+Uud7luWW7g/tZKyPvUpz413ldiG/IQab3Anu294Q1vGPX0H//xHyORdP7zn3/41re+NcoTaIGmD3/4w+P8HvzgBw+XucxlmudI3t/8zd+Ma/M///M/R3nnO9/5/pc8ti6pvv71rz8ceeSRA6KydViHgMrDH/7wcU3M5R100EHDF7/4xdG3/OIv/uJw//vff7THnuH53/GOdwx/9Vd/Nf4XIRG2jihApNHlVa5ylZ0C0Wc84xkDEHzCCSf0TG+t39Ipco8fv+IVr7jWb3ouIo9PPec5zzn6n20PRMzzn//84WIXu9jw67/+69sWN8ZHf6wdvmbb401vetMYExGw1um2B//CBvlyOt32kOjyDT/4gz+4E+Ln937v98bYeJOb3GQkt7c9nvzkJw/nOMc5hl/6pV8aLnKRi2xb3Ijd+LSb3/zmW5dFwKtf/eoxDvX66pe85CUDv/gv//IvI4kL7930pjcd4zi8EuM2t7nN4I+YtO0h1vPTcNsu3h2sQd6P/MiPdBWSvvSlLw2///u/P/zpn/7pWND40R/90XH93fjGN/5fhBLbc91d7nKXkbxrHR/84AeHxz3uccNrX/va0bb4qVvc4hZj8XRKrj73uc8dC5GS+R7fAh895jGPGTEZXESee/KRU0LpT/7kTwbv8Ja3vOVO3h99Kpx5f2x+2wN+46fha/ipdSCnn/jEJw7//M//PPrEq1/96sNv/MZvjD55et/f+q3fGm52s5uNudE0L9xULp9x4oknjnhM8YS8293udiOGnhJKd7rTncaYfu1rX/t/+YBN5T3lKU8ZnvWsZ425g3UOr//Kr/zKOFfrNYb5aqyAu3cx+LvDDjus693t4jnXkVFE0zpaqmtGDXzmM58Z7na3u43GLvgAD0iQ6fj6178+Jm2PfexjR7DWQ44AmID0b//2b4+yJbIBKsIBCJqCE2dz8sknd5FN7iX4SOYl8ALClIgxT7IQQLe//e2HBzzgAc0rQ9X07W9/+6hPzvmGN7zh/wl25Hz+858fiQzJ0qMe9ajmzibyEGj3vve9R3mA2BwckYeMevnLXz7+OfbYY8fg3DLoUtfbSSedNNz1rncdn3sefOhY4vKHf/iHI3miYtAD7t0DsfXnf/7nI9Gjyj8ltpAnSAwB6yEPecjYddczJOjk6fhBcgLAU3nWzn/913+NwQvx00NOAmuSIP9FOrrnHDwgSQVCgA0A9/5ah84p8iTqgjx586oR0CSpft7znjeSFA972MNaxY3kw1Of+tTRvoAYHW5zeYg03XgveMELxk4/77B1sCsk76Mf/eixg+GQQw75tj75FmsTCLdmbnvb2w73ute9dkY2AT5Ibraz7YE0eOELXzgSP3zatgdi0vsD1oCobQ/29+xnP3vsLrKutj3+9m//dvBHN5piy7aHZIpf51t0/G17ILvf+c53jv6cDW57PIjvGAIAACAASURBVP3pTx9gCqTCLjq2nvCEJ4yYRiK8C3kSYkmnxKYnuV73Pdz61rceifpb3epW6/6k6zo+xbtDZLQOJJNY9tnPfnYsLvLN/IhOhnve854jcSbeG7/8y7883PGOd+ySB7vAJOIDckdsQ8KYwxSfKGRZn3SqANk6yHva0542Yk/JrgJVyJt2JiOZXEensGnreOADHzgWHOE/BTiYT6yDoRVwzBe2UNhFMCg4thYhxHP4T9yGjxA9MB+s4j35t9CpZF93prjQ2g0qnslN4CD4T1wTA/iQO9/5zmMuETr1jr1f+KYHd8JKxx9//PDGN75x1JsufQQI/09+DDqnZ0RoT4cYAulJT3rS2G3muRU1YJQ5Jvyd3/mdMa+Ac1uJLbEFoaMo553o5nnPe94z6lBRkC+JDh/PYN4Kxq1dP9YJfAs7hzxdn3wjHyBviTwCQejd6aifks2b2AWMBcPzKwqp1gmM/ZM/+ZPj/HTzBQ51Dcx/gQtcYBMR/+daNhVrQbHNnMQbOp0SW/wbcm8/dNsV0dS1ZM5cP+awVZJ0AGiPXMSSIyskhNoajzrqqDFhah2ClCDHiajEYeanxBZZHIOKLuNFoLR24Ug2BVZOFTC60Y1u9H+CD3m6kLRnS150HLSSB3SEQAIugBUBf07a0VuAKkEYIEA2tQyBAnmkM0xCr5K0TB4gwBH6DSfcMgBBz8xJAxPTgDu9H70LJLrfAEbkZMvQKYGMA8SACQTZImIL0aRSANDQe2slElHxZ3/2Z6OeABvy5sHOuxO0yAMwEDet8gAnwEglWhK7qGIU9uA9S+YFytauJgEf0CZv0dy8I/IARokAcu+YY45p7mqSMHtm8lSwFgGHkOc9q7Ihmlor5bZy6iagH0EekJn7Fvb2spe9bCS7ARp+oXWwc/5wncHHSDx3QTSxU5VtYMY63vZAXFpXwJquyZYhmfDu6HSvgfglS1xoJZoUBFRYEUh7Dfaggi5hayWa2Dp5bHCvgexFMJG3C6JJkuP5JC8Sqm0PNiDp0JHQmnwqYOjM4PP3Gvw6DHDEEUc0E038vThkne41+BjxUcxqJZoU88T1dQZMJQ7timjiW707/qx1wH5iKYIFBhQHkDwwnwIFv2U+ErUMokkXL2yADFdAsibEb3Hpvve970gqiU8SfevTc0lMW4e48Ed/9EdjsoswI09hVZy/3/3uN3YcwdqwNL+nc0QC3DJ0J0vQxTJYC+7kIxXL4ELyzRGulVT3Ek0wLoLAGo+4bm5iuDjAhyC+JNz+3ks0wSE69hWG3Nt7Ig9Wc38+mTyFOPi0l2hi4wgz5DtiAKEDY/JZ3hO7DmKCT/Asrm89auCtb33rmAtZI4hw8qxDxJV1K28JrI2w8Z6vc53rNBNNiuls7eijjx79EyIEsSb30VCAzDJP6yiDaLL2dDLBrnREniMU5D3/8A//MBLL7B1eySCa7IhBxrFh95SP0DFdsgsEoryE/WUQTexJTkWXiC3xW46g+9m6RTIHDqVT/noXW6pbfMkmvymiaRNtncmv5UBVMnWOLCIpQj2AAOfAwbm2dbgHxtxWKE58GbGFEBEojzvuuG9vrdtUJoNHIEnmAdNlxI+5CS6uEaRUJFuGZxaEtYnqxFo1VLyQBxIdjqplIGLoUdVlr3tIdCXYCDwtzy0DWSWw6xRRwVk1rCvEHRApeLSMIMcEXoF4GbEleAiQgJ0W2dZKK8BmfoCZhHlZxYg8gUtSTB4g0DJUlsgzt72qi94x8gC4a92e5B6IH1XAve6hJV73GsDR2mIvgbXGJXl73QOJzXYAjtYtkEAme2C/gv6iPf6Sm0jMVJpVEVsHYI3skLw4Q2tVhRFoRYC1Ek38kqRBwrvXsD4BHoC4lWiio2g/X0ce4K2Ts5VokvR5b5IuXTWrCBa+jL+WgLYSTaqKSFTkpuRPC/2yoRgDsAKurUQTYI9E1T0k3q4ii/lOsUry0ko08S06efipvYY4iXiWALcSTfyYmId03Gt4f3QpwWglmnTsSRzYs+r/qm4CJJokm99r7WiS1EqUYCTvZFUFXEconOT9tRJNti2zP2QHUmJVdV9cf9CDHtRFNCHhJPTrDL4BpuohmhQfEFbuERhQIi/mI83MCdEkdnhvPR1N7Nd6swZ+9Vd/dfSNfCScRpYCj7XonUkQe4km9quDR1eDeSK2yINF+XA4Rhe6rg0Jfi/RpBsFSYAgkGQHjlf4lMjbiSDR5+9gNwXAno4muA4ZSKcwfHQLw7S2ysPs/JeEXqHXVraejiZxHUFmLehoMtg9/OsdIr3EYPEDvkX89HQ0ORYCQcAGxSK2ByvAX/wc/83e+HB20Es06Yz3Dv1Xh1gQPzGfILesowyiyXuDW8XPwNTWpxiMvLdGFfgRUdZUb0eTdx/bOAMjhTwxg0zENXnecW9HE5/LB2uciG4izQvWkA59OZeud3MUD3o7mnQisnN61fVlbYq/5uN/sz/4EB4tommdCFPX7DsNqDYI+FhnjmfZQKJI5AWZdarAy+7DqG9wgxuM+/L3IraAc85AUtAyBFrBHYASXFeNTUiiZfeJM3eACEB4VWcGMAK4CtQCTMsgT6KkegYII3WWDYAGALBVsXV7oIDq/QvmwFG0ts9lCiI6RjhzgQqAaxl0hMyho73IKuQnICD4A5Mtwz3o0Xvb6x7Wse1lSJHWszHivAT3QAosGwBVkChAALDYMoA+VV0kE3Jr2ZAIAlCIIqC7NRlErriPREmisGyo5LFP4EDXR2syiITRRaXKuMq3CP6uIW8vv7BKz5Jqa5w9sMFV5/fQuzXTSjTpkkCKkQfYrDpUHODn19ldK9FkS8vjH//4kazw/lYRLHHOFr/eSjR5J3xGVAYB+WWdgvSOMAUkW4kmvpNvMUcVYn5q2QAaEdk6f1uJJvLYsPXNl62yP3qQINqu0Eo08S3iimeXGK06a01yLVFjo61Ekw5IxA9Ar8thVXVfNxk9WputvkXiJ3GWoCEJbBFaNiQzEirJTKtvkSwjCuEW3Uar1gE7pc/oqmzx1d4fMkDi6b+rYnt0bPd0NMF/Ej7rjX9ZRWzptIJdeogmhSr+SZydFpD4AfHHO9NZrPMAxrG2WgtIcKTimu4M721KxIiJbNI60hXDThQcezqavDskAYJMTJjK0+nN53gmMQO2Ebd6OpqQPkhiPnPehRVHCyBNbNPjU3S8Okpir+LWsnUL24qdnnm+LnV/sm824r2yb/iGLlptXUEHYY4MDaIpno088ZcPQMSwb1v0+ZbWrXNx7MPUPwWxZecHEkqnnffIV4uVPR1N7Fc3qfwrOl2CiIEbkKHWvndGr70dTYqV1iX7nXfWsD24lm9ln7G2/O/WrXNiHbxC3rxYTJ5jIZAyupDketYqYqZ165wcQJGUH5viQO9QDsNOFCTpUoxERPdsnfNb/gMuD2LLuoT36FEXs7Wi21BcqI6mlohYvzlDa0A1U4Iu6AGkDJzBAPnxRSwgC2HD6TDO1uSFoqLa4z72rK9Krjl8DgPQaBmcNSMXEFUpVoFtwZezA+w49NahIhesuc4th0oiLlTEEV9AiCSQPlXwBJLWczF0YgVhJfBz1OQJ/uQhz4ALiZkA6XqJdWuLNkct4dLCrAoJtJgbIKE9VUWEcxUsbGMS8AHG1q1l1h1iS3u5hHfZF4O8Zx04AL6EsfUAcl0jkkHrXEK/TB67ULkDzHVxtJ4LZT0AUZJrlUjB2EGP7E+g0rUhCfRuAVOVJWC49Wsc1gNbV/0kTxcDoAsAkmddkic5VQF1ToUEpFUewsP7E2RtPQLyyQMG+Z2Qx0Z1OkoEAMZWeRIg+rQGViXoZCFKrWFV19YRZ6TpPGB3ANKy0XtGE9sDqK0VVUGJ17JuCeuG3wSAWn01edYdeToA+MRlwN17lHx4nlaiid74Q/bHthBIqq6LRtYZTUCn9n2kBfJ9WSdd1hlN5EhS2CG7WvYxgYwzmvgoCax1Tpcq4cuGLis+VjLRSjTRpbUiyUSMrPKJSF6AHOHWmnyKZcg46xLJZJ0v89cZZzSxB8Q5sgn5YZ0v2/6QcUaTmCbh4z8lhkjcZSPjjCbvn9+UpN397ncf/fSyoeMAUdRDNHknCGrPvqggJwFV2BRjkXt00Uo0KbJJLuHAOSFJz/wJ7Afb6HqylhULW7fOwUDiNJyEdJ0OdkkevI3kYidwh+tbcZl76hqBNyWz8wJgbPdnn3Angl7BqpVook/2JkkX0+e7EjyPLkK2yR+I67YBt9q6eM3e+E4EyRwfxAeN2CYbjbNWW4kmxIdY6/3NnxlOQnqxEWR6EFsKha1b59zL1k32NH93cXyEeK/QQfcwkm651jOaFFN1mvNTi7A5XKoIAwPr8ueD5BatRJN7KfbbdbGI0BEPdYrBpfIn+je/VqKJvxTLEVyLdMS+dcGZF9LH33uIJphdfiXfWURswRa69eFDeS95tXWuFXXX786QGojDoiVpiB3MrMDBmfs3ThwoFJw4UxWonk8Eh1PhOBFbSIEgtiQaHKnAa9ucpFelpid5kXRhlRERtjgJrggnRIxk13xdQ55nU82ShLcOySfyhy45WOQLhxlfnFPxxeqbuyqI4NHqUD0jeXFmkACySJ65AliSDUCqRx6dARH0xHmaT5wt5FmsF6y9dQKMSsBXdZes0jOAJKhbA55Zq3kQWwAihw2EINMkS/ZCI5umh21u8h49P9ID6BOgvBvAW0JInkSRPGSh5BNBiERplce+zAH4k2CbK9vzx7/FIeSeQbKo4tXazUQP7hmkMXnA1CJ5gjRwCNi3gsOQF7ZMHiDvPYZvMT92IUCbH/ts7TgIEtv7B2q8O1tq6AtRomsKiJEEaLdng9ZV75eMAEGknDmtOjzWuvEMPb6Ff0Sk6R7RvbCsAzXrjCbyEJOqf5HILLKnjDOa4r5BPlp3y7o4EJh8HrDWep5XrE/rgQ2y8WV2DIxax4i01uQl5CGx+ehV8sQjdsoWWkl68txDnOXXJM7LtutlnNHEt0icyUMqIy2WdbxmnNFkfmKNxFICxGct21qNqPB8yJOeQ1jJkzi7B3nLEj2FFn6NvGXPtE5cEm/EGnhFMrNsIITZyypyaC95fHFsDYptZMt+k3FGk+5hMYHPX+YT2bkt1chgpMUqsm3V/MxNRw3SJ7bOTa+HM5A/ig627IkZ4kgr0UQesgNeia1zc3kwomSXb/VuFSJaiSb3lujyZWKCYul8mGN0qcY2ur22sy/TKX+CqOKfzFF8nQ+2EvhdXETytfpO+lSw1M0kX1jkV8izpvg5ZBR5rbiMHr0/W56szUXElmIc8jLOgEUmtBJNYrp1Z8fBIryF+IHtET/yI7kFbNZKNLkfwiOObFh0fIlr+BXdVvw1PNX61Tn3UnzQkaabflEh0TV0KkdRfJevtH5VD2nOfhFpy3JVHeLRSaWI2/PVudCjNbcotxLvNR8g08RkmLGIpr0iUv37vtMAEIZAEIgkDVjsGJyCgAL0M8YeoBZgm+EhtlSsAKk5sYWYIA8zvai9c5MXECAivjgiqZgTP4CqbhLEj0DWQ8R4tmizBRQFW/ONQRbgGAfHtTrvOXDhvDgx724qTzCSjHmHWot75QUBouIo+RKUVXliAAHIJbL879bulLhfBDygNLrA4v0EseV8DtsiJN8CWSuxRSayUcAjD3gDYKbyJN+SP/JU5IG1HnlxGDYSQpJNn1PbA86sF2BO0tIjK+zP+yIPIYEAicEOQ573lyGPLZBnvfAtgNJUHjuwPjPkWQ/uD0DosAHmzYnOPAfAav0DoiqywFMrWIs5TAnBVX7Ds3mGXt+C9ACorcFlxIE1zA+QtersoXX8aHTVxXta9Bvy+Dm6bD2oPu5LR3TlnS3zHXTuGsl8r3+J9+I+y2zLM/nj33vtb5fy6AnJwtYRW8sSIX5HrJLktCZn3h/70mVEl/ziMpIF2eZaxatePME/G+x8+nWf6ToNwt5zLbtmHVtwTRTeVt0rS174LLJWrXPPtMpe1p0b/ACP8RmLyIq4j2IMcmS+jWldOa5jBzCLNbKqU0LsgEthzx7STlc8W0BWLSKw6VryKalWfEQc9Hx1TjEDoaNrfxFJGPJ0eUh0dQf1fHVOwc8f9rQqQecLYBj67IlFSEC2tAojxFYlcnqx4Lry+DExHp5o9dXsVycoXIJIW0RWxG4PBIqiMZKhtSsGxtXxhdyKQ+LntuQaBV6kBsKpZyube8uDzIuulvlEc4Q3xA2xvcd3kmcNrMo/Qp4YxCe0yvP+2LK8YNUagFvkSnxd61qhy/iSI1tehic9j8YDXXewWW/c28TXbuvaOgx8W5o9E9w3kveYaoD5VnZ5kcrmxJaEcJpcT4mtHnAxTV4EKs5OQuS/MTg+iXwWETOdbyShdDrVp8Db49iWLcNF8siJZDt7+UbHG0ARg7xeMmuuQwEIKEVsIUamxBZAgdgSxATO3sQz5kSeIIu4mMpD+CCzsuRN50qPQOA2be/0lLcL30IGUAZwqlJbMzGAAMkRYGHdtLaCZ9vRJvfbNRGza3mb6KKu3VsDuyS2PA2Qz4euIn48k2syiJ+9NVBXrKuBTYitVcTsuvJ2eR0SRmyFJ1dhWXHftb1FuXXlKcB4Lriih/jZpS7PDLLkC7AszLCqAAFnwBHwYA+mR3joctmL+EEGI7R6iZ8zwzvc1RyD2Iov6i2TC5fKPWHQVhJtV3NaR04RTetoqa7ZWAOCcHwNZOMfL/nBquRT9cX2LGfTZIxVxI/n0Cmgumt72bYHcEEeMmPVQaZZzwH4kCcwrjpIOEuetWILgQDc2qI9f5YAwouILYBNxRJga/1q2TryAGyA0NpUsVQZ7O0aWUfnOkvIQ6r1dB2sI8s10e2EVNuFPNvakMDktbagT+cWXS/RXeDfourvHVqbbG8Xtk627Z1Ahurntgfb0zUCtPZUydd9TrZHniTO+tz2II8tIJazfMuqZ2YLuvEQlD1bV9fVC1sQhwDSnq2r68pDyPIvtl61fiVtXVmu0zEi/vGby7bXbXK/va5VcRbfyevZ9r+XnPh3XV0SCV1ku9gi4Uwz3WHLzvxa97nXvc52Np2Lq868XPde61znWANxwRy3PaKrix9r3eq1yTMqhOgis+1/F3FWzCNPt9aqLzVuModV1+rWQtrQ5y5swdwk9I7I2EXXCF9mN4j319sdvY7Odebx07ryMov/y2TrzNPZRV5vEXed+dlFwI+x9V3Is9PFzoRdFR2dT+iYiF28u3X03XNNEU092jsT/hZwtx/Zl3x0b9iXbO+8fcDT/dc6j7QC+3JGz9BGSJ4DaxEg5LmvPypJMXSvcALrfKJ52fMAmO7jIEHnNAk+2mFtybN1JobgBLA5r8KztQ7yJEH23zvUFbCNvfrTpFbbJsDmqxU9BxJLpCXN9nf7fD3gbvuf+U0JJcHe1jNnTNBF66AnB31r30UMSLwcjurchmnSJzGz91xy1nNoKD0Jrr4aY/25H3nu6WyfGP7NehKEfZWjddCT4OqwUgmYZC8+UzwllJB2DpgXhFsPKfWMEjwttfZvkw1QO3jRWQvT81nslzc/7dXTeW86T0kzWc7j8C7Jc4ioOUyBrjOonB8hKPYQd9aBrwc5zBUgAzj5Fn+mhJI1xf6cDdWTMAF+9ue7H+DnXA4HpLKFKfD0TPyKLw71DL5Qm70zwhAtDkclz3+n8pw7EF8japXHV/JP5meebMHatN6nhFIczu15Vh0CvddziAVswXYSRBlbsPWEvCmhZE2xdaSr99c6yOOjnFfCp7Fl8/Pl0blvsZ6QInt9jXLVsyDd2Z61ICaxK3bA/qaEkq207M+ZX61fgfMckliyyBRzyWPndDollNie89Mc1t96Tgx5klhn6dlKinykQ2uTTqdnoVm7zk9T8Gj9MAV51iQgbc0A0u7FTyNXp4SSa6zl+Lx063pBIPm4hfiAVCXPGTz0NiWUnO+C+DH3HiKNrTubhm+RmMAt5LH1aRLNPvmeuQ/fdJ78L3n8hvcFrzjzh+1Nu4ado+Lg/J4469nEM/pEDliPDqomz7qZynMYuHfXE/fIc3wCeQpE7C1wEruYdvfYEu+MuNYzmsgSW/lg9scu+Evvx58poWTu1qfzJXu2zpHnIHMHDvMztkSFvGmc5Vdd59iGnqIA+/Z1MrFdd4zznqx3MqeEEhslz1avHpIe9oMB2Z4CjnPZFIT5kKktwBnILf/WY3vwlrO62B4CwkcL3JNvmcbZOAfHmuk5304nOwzPN/JlttuLNXDEdJeFIxbo2/rsIe7oMb5+aD3CLewMPpuSEj4+A6+xzR5iKzCu9e698GGwJaw3leeIAbbec0YT+5PrwPBsnW8hDzaBqaeEkvN46dk66unw44PFPjGXDvkOvppup91EyHKxr+eMJvOTL1gLion8M3mO12DrU3kwlPxwFyTopvFm0+uLaNpUY2fi6wFep/0D91hkQSI+V42w8DWOSPwEFw6O028dAD1iBYAKeXHej33H9rDGOR8MEpiRdLQOBIRk2QFxqhyIIIFPx4P/3xcfkFuSbkmOP4Bp6xCgOGwAgsNBBAE2nI3AEYekAiK6tZBR9va2DjrinDlwwME2M/IEC8/hAHcg3zt1SLKEicNvGZIDAdGhfuSockgO6VhS6BDtOKAYSSOhcj5BazLo3iocvv7hvVkvyAr3RvCQh7AwrE0HJnomAaVlkAfcOyRa15Q5WRc6DNiAcxskoQbyEjFrrQLjLQMA9WUo7wNIAYzYAnlAt69UqJQZCEkJo8AvcLYMQRewt96QPIKgzixkEPLO/OJLNACdQ6cdotoKSNkZO+dbyCLTeRvINckuPQdhgWRSuZY0tRJbQDTCFaEscQFU6Di+cOXeQSBIJpw1Qh+tQ+IZBK/7sjnyAG9fU5I8BIHQ+9U5z6ib1NeKrBF2ZW16pwgndo4AAmCyDgNHbPL/fBWAFPLIdn4eWwe6sw4DRx45TJqNmxOS2fzYNIDN1snL+OqcdY8gtD7FPLYnYfD+gFxfhZM8GRlfnRP3JBLWHX/MHoBSf8RUh7MGyZPx1bko5jgHUXwjjy7JE2cdmhuHD2ccBq6jzSfv3QuYJ9N7EjMkFGJUnOmTcRh4HGgsEQx54pC4RBbbC1vP+OocDOJAaj5DYuYdijnihHNTxPaw9YyvzolDEl2+0tqEV9gZGeIvW4giYMZX5/gWBSjrw1oxr+jicw6NuBdFwIzDwJFM5Fmn5ie+k2eNWJuIsyAn+Rnvs4fY4scQTeIsvZHL1pHHzsdhe+IFUs/6hJ16SF4HRbM9a9M8xL3oJieP7YkXcCk/hPjpOQzcPZFoCEkka8jjy8R1JBZ5cZ6Md9r61Tlx3fMi4L0v/pPtiQ9sD8YN8k7yrfCBiGntzmQDYrciqdgjxjnnRpxge2JDkHc6VOBf9tjakeZ5+SydiTCnmMPW4UNxlrw4j4k/ZzPWZ2sndhy6Lc7SEQLJuiDDIdIK8EFueS5xng9vJZr4MM9rPnwk0hyW8fxsEpEV91Y4QujJBVu7fmBX70MuJK4jremW3SMPkTJBZMsVXAv/thJNSCZfWHR/BJJ5ysvEc/NDIAe5Zc7ORW09XytIJvdle+RZl/IDZCh8iGSObZVsk/3soruvFdeu+7simtbVVF03JiWcFoctQZeUMRSMN0KIs0ZEYdgziCb34DjJU4EjT4BCKOgkYqzkqhz3Ek1ArnkgkySUklqALRJ8iRSmHiggt5do4tAkywK76hJCgDyBD6GgYshh+3dOsJdo8p58plRyBhypBJInMANVwKp3K6HnUHuJJvMwLwADmAbabIFAqtEvEANoeLdx+F0P0WQeSD9BSUASDMhDKJBHLgDij3faSzQBuuSp8ghU5FlD5gVQWI+IF8FesOglmsyLHoEZibvgB2wgXehZMEI2Ad0ZRBOghtRCmnlH5CEgVZtUOQFw5J01k0E0AVBILevSuiAPScLO6NOaJA+oyCCaEBXmYT2odPIt1pCqqsPBdTqwBcRZBtGkWg3ck6dCRx5/imBF0ulgRCAgznqJJiSILxxa+/wVu5IMSozM2ZoFCK1NSZs5A+SIyZYBPFubAJMkRkJBXnSRIBZUjZH1knuVZPbS+oVQ9svG6Y/OAFLy2Ij5KW7oMpCw8LN0D5ST3zIAawQE0sD7AwDZnnUvWTHEDQk2u0E2qWZ7zy3D19G8P7YuiWXb5CFmyJMESv7Yuk47Ptb6ae2gClu39ugsCkgKBeRJXMg79NBDR/LEQbMIL+C4ZVjzyAMECP8BWIsX3pP/X0KPQJDwZhBN7E48jWo7eXyyxNb/710pUIj5GUQTnYmnSBa+hTy+BZkgBsMR5PF1GUSTL7+JoeyJvxbXxR9JFBtk59a+9ZtBNIk/Yp0EVJWfPOQa/83HsBHrCB7MIJrcj78kD5FMHh/mXZGLyDAvBEIv0YTwjOQ1vjrHR4p7/DLb8+6sWwRGL9GEdOGrJOzx1TnyYEP4QhLPFmBBCXAv0eSZJehkISH4Mkk9fGl+/o44Z9+Sau+0h2hiBxJohKe8ACEgXoi/7A9BJ0aJs/xCL9HEvpCu5sA/hTyFN/L4Foep83X+3ks08R+IA/fUtRgFpOh+5VsUfBQZ+YVeoomuYFlFdsQPuxDv5F0wFFtgn/BZBtEknitMyxv4D/KsQ/FXHEAUkmfdZBBN1nrsKolzjPzdOxWn+DoEHrySQTQhkpDSdOWecAQ9KhTwcfQqzlpHGUQTwpZfEdfZNnliqvfJDmFuvgX+LaKpBV3Ub87wGhAUASeOLlhWQR/5A+SrUgpkqrEAT29Hk0CHwQb0o32QPNVrLYwSfMkGwCG56eloCgJLkimxDIacI5DYILc4Ac4GOPRsPR1N5iC4+4MoiBZU8lSTAQ165Nw5dYCqp6NJooI8kjwAKyEPqBFsAQL/Pz16j95xT0dTbIOiL04c2I5zr6wjQV7CKdkAJFVJQi8G3QAAIABJREFUe4gm93Q/+gKqQ57E1prUGotcAkQFRPPt6WgS3IEXwR5QnMrzb5IKa0lyI6n3Pns6mrwLOqPL+MRzfIWO7VkrAIFArYOrt6PJ1kr6EhCjeyIO5pcIkwdwSPQRr70dTTqL3APIj2ptyLM1iDxJAACJpOjtaAL62IIulajIsQUkDZsE8pETQCKA09vRRA5SgI1FtS/kAcd8gK44gBVRoUopiWkZwDpbsCYB/KjIxWek/RviHHGAAIptwq1EEx9sbYoJgO5UHluQ6Hu30ZKOKOwhmnTxsWfkNd8R8uIsO/9Gp4oU7I/v7iGaELdIHkkKohPYDtuTyEvo+UuA2zsUm3qIJraHxEJ2IpCm8ti65A+RAOSbl/+vh2giS7ePe3jukKc4MbV1CSedW5s9RJO1rouCX4yveol7YhS7pk/VXsQ5XXqvtha0djmwOfGWPO/HCHliInlIEfK8a3aDIJluGdzEDpGEbNszR2dWfF3WuiRP3JA0Wlf8j0Ja63Yh8Q4u4zsjrrN1fgCWsVXV1ii2KXFEarD71iHBQ6r671QeP4DoVVShP/L4H3ro2aqHFJGc+e9UHoxhLfFl5qOwoyjS09GEwILzYAREcXQXsAXEvXcLj1or4jlf09PRhJhTNPXstlzF1hny2Jl/I1ciinhWhOzpaHIv29j4DjhiKs+8YFu+THeMNWr99BBNyGNYmY6mtscerX0YHpHtmcwX9u3paPI+xByka3wNke2RJ+7AtrrGvGNxHfHT09EERyiIi53hL0IecpIe+Uw5CgzB7/V0NIl3YpBcJ3IwvgbR7F3BDOKerjxYqbejyXsTt6edUggRXb5snW8VY4855pjR1ns7mmBpvoq8wElxgDZMhgzlTxBfdNHb0cTnwmXWZthCnFFrTmIjm+C/vN/ejia4h32511QeLI3cEodhXe9NDKyOptYoVb87w2oAwMe26vyZf9KWM2AswBPgywHoJOnZOud+nA7wOT9YFZBi9BIzwRroUUVo3ToXZ4xwZsDgdAS5JVBIrAVGQFvQaN06B0ggqhASgNIieZyOjiYBRVuzYNm6dQ6RhlxBHvgzlwfkSzjpUyAGsui4desckOt9AGqAynQEmeY5ADeVa+/XHFu3zgGdOjMEJ+3Kc3kctn8XGEOeynLr1jmkBzInkuupvNhyCWQhGFQx2EucK9HiAJAtEnYAXgI6HWwPyWRuAqMqjTWKdGrdOqdLwvshTyVyOqwLdiZhkpjZsmfNqDa1bp2TXOtmIG/emUEeGyePHsxJwLauWrfOeTeAIBAxbWMPAgEIVs3Spi0Jta56ts5JEBBIOjCn5zOEPM8iqUCoAxj+tBJNwDrQaV2w57ktANfm7xrJEtvTst1KNCGqrXPkvER2kTyAXBLgnAX6VMlu7WhiywCn7Tm6C+a2Z37mhlDTNeL98metHU3WHPJRO31shw2ZdKziyk8ig+kTeQJ8t3Y0Ab5iHmLLNtW57Yl71i0SJuQBwq0dTeIaMg7JpHNiLk9HmnUrEdTBgshmp60dTdYCUsI95h9HEIf5ArbHj7IH/k7i30o0sVvFIr5+fig1eQo45hdfQRUXJDytRBNMoBuTvCDSQqfiPh+teMSnIEmD8G0lmpAryHnre7rNgm8R19kC/2M9Sq75zR6iSbFDTNBFND0/hDxdrxJQ75ge+TykTA/R5F3QkQRzeuZNkIX0DUfBpvy25L5161xgWGTO/MMrbB3OkBDq5kDMwoDibOvWOb4DxuPH5nE25MHUCF+Yk2+nz9atc2xZp657zp+ZPBhf5zDSic514plv69Y5xbbotJnbgoTevOAGcRZG4q+Rbq22jlTlPxFpCpfTQZ71r/tUtwgZ8Iq417p1DgYUH7y/+TOT599i+1zI05HTunXOs8N37Gn+cQS2Tt9ISWtXgZVuHT3QunVO8QQBSt58Cxd5OtPIs1bEJfGfHbZunePLxCHy5l8R51tgUsU/5BfMax2T3bp1TvyUf8kJpl8C5FuQd2xN1xrSjly4v2frnDUp77Pu5vL4EvqTf5JLZnxhsCVn+G76TW2d+256G9/lzwLAC0IACyJpPhgn5ybQq2pJqHqIJgkM4+Z4VDnmI77+Rh5nIWFqJZqi/VvQCTJiLg9IBMo5N1UM3TGtRBN5gLtAgMFeFMiRQ4AaHejYUdFrJZrIk5hwYJKiRV98isO7VUMAKolAK9HkXqrFkksJ3zwoxrZEwEBrtSBmnq1EExJO14R1B3TOvxhEHpAmUEliJKnktRJNEdSRdxKZuTy2YP0itxAIbIG81jOavH/kgCoIYLrIFoBICbjrAFHETCvRZH17bwAgcnWRPLaGDDFHoFXVrpVoAvDJo8c5MUk2EKzazDaBG6CcXluJJiRudNnMk2vygEQJr0qrRNS67CGakLjsAVEhYZgP8qJ65tn411aiydpjA0CupGL+BSa2ANQAyfRJt3TeSjSRRzfIQGtlDvDJA5i8X/7S9ZKzVqKJ33cfa4b/jK6R0Cl5YhViVscDmwHgWokmfoMf5KM89xy0e57Y1sIWEFJiRCvRxG/wUbZMqxIvkgfUs2+2IBEgr5VoQtzxwaq6EuxF8vgW9i2RMS9xpJVoknh6bnagu2Y+dDCxPUUINqFyTe+tyaeYTZ6Ea07ckU0eG/eO2Z7kSkLXSjR5dnEN2aG4sGh+/AF54jtZktFWognJq7Cjm2DRxx/ERrbHn7BRJFAP0eQ+iDv3WPQxBvJ0OIpFfDbZPUQTzCPpQ2wt+nqdWMzf8QmSz9B9C5zmCxEd4ktsnZveJ86jQhSKH8gRdthKNJGna4Qt0NH0Azfkkof8sXUour7Ns5VoIg9xJw7pmpjjMvIk0zp/ous7imUt+oT/6VPBA2E8/4KW50H++HfxCqEM37TaOj+MCLWdjT+cf42MPCQhfwkPu5a8VqIJUSiusGUdYovkIb7IQN7Rhf/dSjTBt9Ydf73oq6ZylMDUdI9glqe0Ek38Jnmw1iIdkQdHeB65H1u3tlqJJvdC7LD5RQemk6eAzR7YBTzPr7cSTQhJPmVR3LPe+R1riX+Jcwt7iKY4WN9/px9NCNsiTz4rb4JhkGt1RlOL56nfnGE1AJABicDmMgJCoAJ6ODhOwNaC1iH50lkhwEr4Fo0I/M4ZwgQLIq1DOyinKjFZRGy5b3RzqIAChsuea51nkOyZm+C7DPjFuUYq2EANh946OC46EnRUBxcN8rwzIF8FCuBoGZI9gU5gBKIWAbGogOqQUwWV6MYB4ZvKdC/JlyBFXmwvm97HNSrNugU4cs4+DghvkQfU6nQgb9FXZ6xN8hAMsZVt3hGxrlzJLFugKxWxRV9JcQ3bExRdi8DUfdAy3EvC5I8q06LPKcehrGxdFyOfMK9arisbAJRUsl+J5SIgFhXe+PqQZLz1M9axRQ4hSt4yW4gDWAX7VpLXvdke4B6JxTJ5wKjExfx7vmhpbXp3KnbTL2aG3NiWyBbYqCrkouLBuu9PQilplujaxjMfscWaDhQF2IGEp3VImBEIiNR5h597hjz+gI+V9EvEWwY71inBnyEOFiW7bAEQlZQhhfmy1uSTPHYeB/0vsqnY8iyZ13XAl7V+BY48VVb3Mb9FNhXy2IC4ZX6tya4Yw0fphvFe5smud+Qa2wNtrUEmSwhaP+nuXvCBBAGxNS8KhDw2Y7uEefV0HZBnHSCqJEHL5CHqdQPoXJOAtn6JKraN62JYRm7yc8gtBAld9hA/EkpEEp+xjNyML/OSpzLfGte9G0UP8dq7i0P353ZMnq5Q+IhOe746R0/8mXsssr2I6wg3WAlx0PPVOVu4rQVYJLaXTecX8sRz226QMj1fnaMnxLF3Mt+ZQG7Iiy9/KTy2FpD4DdgOSaGgM/0ydcxRTLSGFSnYHl/WSvxEEcK8yFvkW8iLbh8kPV/W6lvIU6zhM8lbZOvkWcMIZbHK/FrJCh2YikfIrTgkfm4LyBjknUKOvEHHTyvx415Ifv4pDolfJA9uQ9qxCXi4lfghj54UWMT2OXFHtmuQd3TAr/N7cwJz3TgPR7Arelr07twHho9OKn6h56tz8KSCTXxtdNFzkodMU5i2buqrc+u+zbruDK0BzhQI5bwRLSpWq4wttpq5rrVKF8kCeUDEOvJc1xqgQh5HLtCuYpHpgzPQ+rgocO71sgFRiSfdINPoa5UzyZAnsaabdeQJjJh0Tn5eYdtrbvFbjt+cBAXM/SL2PnROH+Rx9JtWXlrk0YG16R1vKs96VEEVSP3Wetlrfj3y6I88xBI9kee5FwXgAInsgExrc9MA7Lf+AF4hz3uZtvnOQXDIY6PLnmvZuvEezJE8z0ym+a2S5zfeg/ltKi+eI7as7WXr1hf9Gy0Aw2/NKb5oQu4q3xLykN0tviXmx2fQJ/2sApmu8f5c0wNoPLd57iXP+vW+W+Xxu96ZNbmJPLY6b8Xfy5fFs/qteVlznnuZTUXcc513vMznLZNLL2R6Tu/fO3SPVfKsL9eRtym437U8BJW5SP6sOYNul9l6xL04GHXZdcv0KebRn7XCZ9DpXvIUm+hxlQ9aJk9Mtz5Cnuclb/rJ6ulvza9XXqxr8zPXVbbOXtiPuW1qC3OfTx5Zq9Y4eeZHHy3yELeelRzyzHWVPL7M/KyvTeP6dH6e2x/3WBU/w7eTt6ntLZJHR6viWa88nYvikPVofnvJg8n4MhhwUxzht2IC3ZBFpve4Kq7r5iBnFd5YZnveO3vyrNbBuvJabX0qj8/ey9bFLP7P+m3xLbYaw+/0Q09itWdf5lvonj+CIeh92XXL9LlI3irbs07Is75a5NlBgZi3/unJGlhlUyEPYddCoini6AiL4nPYxarYTO9ytk3j0PSe3ou147lXvROxmbzpWU574ZXv5n+vrXPfzW/nu+TZOB2txKpXtlOpmi2qhGQ9LmO0fWBRa2iWjOl9OC2t4K3tups8E4Ctwm7fu/OnVAVtQdiU0FlXJoDm7BuVYRUsWwdU2hdVeta956rrdNTEWUEO9FNNWdRdlCHLPQQM8pwVRJ6qUmtlf51nUnkjT0VFBdL8Wiv768hTmdJKC2CYn46D+dakde6z7jU6FrUKAxW6DVSn5luT1r3XOtfpglH1BnrJ032zTd/CHgDD1tb1deY0vcb2LfOLAzytzdbOhXVkB8BvrZiuI2N6zS7l8S06La1RtsfWVdpbkth15qlKy9YBQx1Y5LV2CK4jz7xUOoFM8qyZ1g7BdeTxmeYn/uneML9FHRXr3Guda3QxqdSaE18GU2zTFpxNZOuHDjTydA5t0y5s09Tt7dwp8uClFnJ6HV26RmeS7UY6fXwZyXb4bW6zgJEkuD2E9Lpzc50OCV1mdGl+27R18hBbraTYJvOKa2FcuK+HFFtXro4p68X651vEWXF9UwJpXXm6ZPkWHa4wJ9+yLYzrmXScxJEX5PGd28K45NkizVeL5zC8+W3T9pwBZauf7h32AHNuWshY9925TkeRbj3rhDxnOPaQqXvJ1uWlW48exXbytrU2PYujSqx/22PNUVzvIZD2mp/tqHDtNmXs9Qyn578X0XR6av8MIlslRSu4Fl/bFQRjIIqRAovZiaF2QcYPGMZhxNsinYB62zmcPYX4EaS0024rKCLRbAnQem67AgekW0WSvQ3SSRIBrEl4yUPMYOVDXjbphEizRsxPImPtAN6RGGaTTogDcsizXczfbbUAvrdBOpmPLUn0KTE0X2Aq5pdNOgGjiElkoYMzVW+Am22RTjoXybOF1HY4INg7I28bpBMSO+TF1yVtjyBvG6STLYyIO3NBvNLlNkkn4Mm5Bb54Y2unCtW2SKc4JNu2qyBdJZ/bSgytFWDb+Tax/snbFvETtg7ks0EVP+312yKd4uufyIrYAm5tBimTTTrF1z+dseHrUCqe/HPIa90mugxmWC+29UoKyQOCxT7bvbZBOrEFfsX2bdsQkUzOX9wW6WRbBL9pjjAFO7etc1ukk20RIU9BQpdmJIbbIJ3YOXlwGRLINllxz/tjF9mJry1G7IC9IX7I2JZvsWZtS7f1le/UGRU4YhukE0xmi5DkPYgYpOu2kmuYzLl43pF3JtYpIG0rudbdR5d8i7iu+8fa5Fu2QTo5K4mfZutsD+kj7m2LdHJWEhI7bB1+VwTcFukkljsLU+7A1nUOwe8hL9v2xFh+GoZnC9YmO9gW6WT7aMhTaFEc4Fe2RTrxYSEPxiaPHZLnYzPZdmHLnS2k5Ip7iC3HiTjgfxukk5xEwSNkmN+ZiXQqoukMQvacno8Z53kA+pwq45Q82eesYoeg4fQQQz3bPWKOHJt93UFsCVLuHcRWJukUXw1CVETQAEij+2cbpBOZCC4BAxiWaAsg5s0ZIYEEydbDVudrJeRJzCQU5HGy5AGn5iqxaD1TZCrPWontjsBNfL1MB5C2WIl9zC+jWj+Vp3UX6RRfHgESgyShz4xEjTyt4Agm8nTkkKeyDKQGSZKVqGm5ju1N2oudqeP9eY9aqQVGh3p6d4vObdrUb0zlIUHJAxatUwQlUEqeebaeazB9JvJiixLfIrkgz174IGWsT/IyCCGV3SB+gH1zCtLJWsmQMZ3f1NbNydzo1NqROLEFa8X5B71JmzXJzgBu512xPwAnOu+ySSfy2Dd5DlEmT9fBtkinqa0jZRC9kidzto7iq3D0ya/1jrntRWIvKRX3dPYCwsiSbNtTEOCjEQnxSWXne5Dnv1m2F76FrfvyHCKIPCRQkDLmmWEXbCFsnT+RFIq5CEvgXtIruWALGd0IU3n8JdvjXxBs4qwEn0zV7WXnc2yyhkIeu0A6hTyEpUOzgwRihxnyxCE4gi9RhECIin90DLewQ76NbjO6H2J9IH7Yujltk3SK+dGfbg5FAjbv/2cD8WEFcb2XEIKNrEc6JGsqQ8zLJp1sD7I+yPPuYCb2Zj16Z9mk09SXibPOnHNWnrOarEU+E4ZHBmV04SGyrE1/+Euy2DpC1NyQMnyZmJtRmJjKE9d1FrJ18qwPBBB58GdGB1nIY+vkIUnIYxdwbZBAzu5q2do19zvWB13GB4L4afbovSJinLnm3Yl7GaRM2B6ZYrs4K0cxkDIaAKxTfjRbHlIt5qfYongr9wtf1npcwlSnsW1clzQMr9sWNjQXPg2pBluLs5tuO1wUM5wrCj/wnZ7fujgzkU5FNG2CJOrasRICyCBJONj4mpIKpbZcSSEjFUhax5TYUg1BOElmBEgAODqPkE8ZnUfmxIEjXgDgSAaBDyAtiJHWr/os04N5AqdkAx62SQnGqvWehWxzBVBbPy87J4FCnoCIHCGPo7UFJkgn8hZ9lW7T92l+kcgA95ysdykx5NAFrJhfz1le8VxTeQJIyLMFBtAWsJAkwFzPWV6L5OnMCXlBOgE15AEdGfKAiiAoAURkApmSKImuCmV0AGYkMlNbBxbZuvfHRoLkIo8dZlTwQh6741tifgAAefFlHklUq7wAiCGDrbMByZr1H7YOvPUSP4tsz/tDkugMABTNkWxJGyDM9thFywgiJmRYhwCiDkN2D9xEp1/r1/qWkcrmxM7IQz5Zq9Z/yFv0daqWOcZv3D8IXwQsn4nA0xVHDxIYsQjBnLH1MwjRSCzYAdtjF4orOnuBfQlwRrElbIE86z/kIYGC5CIPCZQVA8V18hCiIU+ngLhuXuRlxdwgYCWCbIFvoU9+W6LGR/Od4lBmosbWdHSEPHFJnI2vcCFKM+WZ31Qe0oQ8dmF+umF7SaBp8YMtsENJrzjLF/CX5Emgemwhkk9zQsYgSfgWMd66CGJLYt87p7mfIVuhEwFrXkgheMn/z/ai+6H1S4FT7IB0tT6QvGxPHEA2ieMImQzSNeSZU8hDxvAn5CENQl72ds84v49sOEICLBbpQoIbxFm4DIGeRfgGSYIo5FvItI7shkACIRJg3Ix1Exg3vhKNVEPaw7zWP3mSfB15mfL4TkQveeYH0yPVvEfy+JZeQpRdsDdzQ9CzP/L4TvNG0vPTsISCfEbXTMjjm8mL2CAmwiohj+1lyaNL85ObxPymJJf5wYS98oKA1UVl/ZOH5NJ9K0eJ4gBc2LNWpsQWrOLLnzCu9eDecmb4nW/JILZ6sNU2fltE0za0eia5Z1TwkBRRrZe4cbDARiRtrZ95psY5scXpRHss0kkyEVsLetUexE8cxBbED4Y9SCfyACqJaOaYJolkCcgqeBx7tHbSpyC56KtHmz5LgFPJhfcVnUf+i3FHysT2uowtIuHQyRNAVEckpQCrqgFQc/Ob33wExRmkUySGIU8SSh7Qj5RRPbzZzW42yssigcjyB+kUnUcSX/cXRMjTedQrz7sLsIiQBBaRJeYncQrbQ/Z6j72kU8gzN/KAYfJ0ViEYrA+BP+S1kkBTAi/snjwBmc3zLcBpnLmCRAB0WuSFrZuT5E+yC4zyL/6OdArip+eLQovscmrr5oMQAm6AVD7VO5M4md+iz5WvY+th33yZ9QhAWZPsLWTEGXEZnX7sLToZQ55kV7Xev9FhyMs+Yyx8S8wV6FbRtm6CBOLL+Jhe26N7+gvwzRasTX8UQqJ6HudMZJBOEWetVYlvyEMqkCeRCYIyg3Sayou4zt6919hCQZ6kplde2IK5SQT5S+8OASsRRhjSpcQbWdlLAs3liQc6UlXtrR9dceYW3QGZ8oLkQtBINsxZ13LI49d6khlrMwhYc7E+zAthosNKJwfCMPBSa5ydE1uIH+sDwWVOCnLmFMnuOv5q3Wum80M6BSEkMUTQiLOx9bO162/aZYvY5U/gFXGWDJ0OfBlZGfYdsVxyTR6SgjwkL3lB/MAsvfY21/PUl5lfbP0U15EyYhDfyQ4zCi/xgRHrBNaEWcQl/hSpDCMh8xRCem3BXKfyYGlxljzzJg/mJI9vyZTH/sRz8rxL7xiRhpSJjtte0ilsgS7hvjiygq3LGeQKbN16zSCBpvKC5NIJpPAoZ2B3IS+LBIr3F6QTeUECwUjReQTT95JOUztEOsEvYhE/ypeIQ3EeV2sXV2AVsY19iwNsTpy1HsigQzbXKmNdX7rL64po2qW297Gs6RYRyQzgAQQAj9qOMfo+c9s65skuw5TokoOYAYCD2FJd6x3TZFD3FjCF+JGwYZwRTeQB+RnbNBZV8AAPSW90yghcnKmg75PzHG3GmAJHAAPQUbUI0gk54vOmnHrGCCCHoORso3PFukEecuY+cdr6Sd35M4Y8pAV5Uc2WZKggeIcOymxN6pfJs24Ax5ifJErA8t58PjurqyS6dCQyupu8P38EZ7Z329vedrj1rW+dsr0n7BCQQpIANdESDOywQ/JudatbpWzvmcubEkJBcvnMrU/Xt1aap8mnOSGYAUQgAHmCzIrOHFXQzDElhFQM2TiA4xn4VLLZXs/nwackLxnINAAKQFSxlhjyZRKn1o6AqU6mxA95fAl5fLZEiX8mT+LUmuwuewfTziOJU1TPETRxjsYd73jHrs+RT2UHKSPOsb2oviKdEGrswJ+scwwjzpLH9sKX6Ypg67e5zW2GW97ylmkftpjKY3sxvyC52LrYnrFuplsjrRs2wBYkUCrOOuScEyT5zei0mMpDoiF8yYuz/pBO5C37bPmmfmAqj/6iozjO+kM6ORQXsdBCni+KQ9FRrOPcu5NkI2Al1Uin+KT8pnOJ6+fEj6KcxIlvQWyx8SB+MkjeRX4GThLXp4QQ2fyZT8H3+OwoeIh3ZCBGFDzEVh+PsTYQajBSb0FnTmLDDnGmmdjKh5DHd1qbGWtk7stiuxu8y3cqvsCgumP4ldvd7nYpOCJIIPLMLeR5h/4/78wZVsiSrHlGRx55086qILkcuM23ZBBq0/lZK3xKdAJ5DiQ922PrGVsHww4RGHaByFOsVTFCvkKPziBDdmUQGFN5fEt0AsVZf2ze/LzHjK1uIU8cIA82YxtBcsHU8kuYOkNe2D19kiEu6PoL0gkedNZnz7ubElt8Cxm2YMYX/6J4q+iRMadWH5/xuyKaMrRY9/i2BqZJGyIBmELQSOAYataQAMYWPoBUlVdCH91UEk+ONWNMAaJkPogYzo4TV61H/HAMrQNYwqILQNNBtnkKhgK+6oh5qsYcc8wxreKW/m6alMZhuKqiiLWHPOQh6fLC2Vor5g8II4AyibQ5mKJLAQuQI09wJC+LSAt5084j8yNPMAH0yevZXrroRUy7dCSiukmADTp+6EMfmnJG1XxtskP6jHNCBH9B0VcVW79ghaDz/BKTKcic+hbyEJPkCfYPfvCDU77GNyWYAcQgflTrAUR2gPhRec0e84qhxFBSg5g56qijUsRNSaBIzvgzYCrO6jj88MNTzmvzwNOzQaz/IH5UJZEFgD15PR8JAMzImW8LCrDIfyKdxAj/td1TJTtzTG1P4SMOhgbq73SnO6V/CXMqT8wjD5nHFqzP1u2Xy3QSdsHW2SbSiTzEofnN41avbqNDLraISGRsLVKd9zWyVlJ52XNN5SG5xHby+GhEdvbX8aa2bv2KseRJYJCFrdul2LStlXP9RJxlCxI1fkVS/4AHPCCtYDX1LWI5Ww9iS2cY0kkymL1WvNOYn/VCtrhHvq/t2vaWMabnAMGc9IeIsV4QrQhXREzWGaJTeeJPED9BcsG45PWQvMh/fnNO3Ip1bN16ibPwYFRx3dmCmWPaXa94hHTysRW2Lja0dqbtZevmRh4SiDwkHnnbsPXIV5Bc5DkTFt5U9Mg4E2s6V+smSDW2Lu9CYBx77LGjTjM6txbJsz7Ik6OIDY9+9KPHLuLezq35e4z5hbzoPDrxxBPHbbStRBo8uehrd/OzBR3jovghRmR1GE63ystHYBXvTWyw/uWWfFn2u8u041X3KqJpV5o+E8qZEjQMqQccCgq2KcwB9DT51LEiIPvUqf/NWFsHwCIxmm+RmxI/kl1OVUKISecIWgaHyalwmD6RvArsB+kkmc+o6q563gCOAMcu5EUbtyApYco4tHGjPgmNAAAgAElEQVSVLsO5AwGqWL3bJEKWRBPg184bZMu0I69XnmRZ4gUYLdqGhKhTWZaweG9kWyutVRHdIMCfysqiMz6QycCozg0dd73yJF2IFXpydgMyYn5G2ZQQonckSev8VgHSaN0GEHWP6KJEiiDutjmmhC/g1GrrQVC7xzwhmSaf1qvuUIkHUKMDrnVIhOhtTjROiR++lTykq7NqJGktAxCTJIgtQPuyEWDRf/mVbfuW6ASyTvmWbLA9nWeQTuKIsQt5cTitQgt5reB+Og/PbzuUdTJNfqddM/RIXus2idjGIiFZROb4kpRE03Z/zyEmiEWt8qxxv0UWL0oobQXRGaOrMEOejihz5DNt03Hf+fauqR3ym1lxb558xvZSySe/iShRrMousCxKROE38vnN1uRMMYrf13U571YK4gAeQzohthRIEHc9xyqItYiqeQI7lRdn4SleKbC0dmzx9Y95zGPG7vFVzxwxkB3SQ4atr8JlcR6X99Zj6+vEkyCYda7sSl6cLZgpz9pDsLJ1cTfe0bRrJmyh9QygpzzlKeNWX1v7F8WzI488cozBCoRT22uV54u2/PAi8se7vf/97z92gCJi2Lu5t9q6+8nh+GqdezrI2cQcU8b5X+aXdVD4fJ0GduBbkE4+XoOchMF7OqjWsYdtXVNE07Y0eya4L2MT9CS2qpyCZAwG6/yIVvJlrj5OFDi0NUcCbR/r/IDZKbElgLRWJjit+MLQ0572tKVvcko6mW8ru02eyh9ZnErrfZY9qPsjsYASWx3udre7je3t2sqXDc8g+cvqmuI8faUQiaBTCmkouMeQBHuvPZ0Np6fJAYIqIo961KO+fdYOAK/z7Pa3v/3Y7p7RWm+OcX6XToJFIDO+vGfbR8b2PKSW9aLat2h7IVJLIqGTIqPaaX2oFOtW4l/4mTjfQMU/axtSrBd+S4eNZHBRNRrB5BrVY7bUQ/yEzDg8G2moHdufGMCS7ZwAT+9A+gBsukoRhWxaB+bcN05J10iuW2STJ1m31nXtLRtZ8iSCJ5100pgs3/Oe90wHYjp3JGN8vQ5ZSYK/W/PLhi07tg1kfMWTDGtOjNV1ZkuebXJsIgY5OrQyztpqeee9v7FmxD6fQ/c+DSQ9W9e9lLWF2n2tFdgACbOoE0RVnH3794ytXu4nKfN+Ft3vsY997Ni1qUMy48uFfLVuJfjFOnFPnRPIXAli1jakeOdILbYnbi/CLY9//OPHcxDJljhlEFt8priAZEZYKyrGQEwcccQRKR19fD6fQo6Ch/Uo/s2TvSBdrSv6bSWVyXvc4x43+s1VOGgqr4f4oUd+yhY13WbZBBJMe/TRR4+FC3PSiX/cccf9r1g39x2wEuIrw/bc29oQv71DRQ07K8SeGOyCfbQWcnp9X+/vrX8YXTxC1CN1xAFdmP5kzguJFF+3W0ROk6dApYOwh/AJnchV5ATL7keW+CDettrcVP/OzoM7/ZGbOHtU16D16/y81mLDsnfsy+oKATo8F92bLTzxiU/8dlf4toit3jW4zu+LaFpHS3XN/9EAp6aFEFkh8AmyyIQYDEdyCBBkDNUbQFS7MrIC8GeguijsP85qV/asABFnI0HjfLKJn7k+zEWi+YQnPGFs5c1uL5eU0Jn5YOolsLZVqbYuGyr+8ZWq3vdnXVgH9sBL6GOtmHcMpCEQ4jC8TYcqON3pbFh3CCKqjwigjGF+AC5d23cP8AI0CFIJooCpAtMz2IDqsMqGDjhbgKbJJT0DVEgfydvJJ588BsvWAaSRp5oCrEmWpl0q7J48hJAuLusLEdw7osoYBwTHuVMq4gCA8ykAAAAxI3GybpCv/NVd73rX0Uam9/WFEDqgz4zhDAUJmG4G78w6MecYQBySEGnZO/hpZ4NJPvk0wFQHhTMN4ks/WWdSeFb+S1em+YgN267AkcO3eYfWHrDb82Wtub4R4t4TX+Xe3o11yC6WDTaH1MuwBSST9YewYGuxXqay+bAHPehBYzK/6UBK2+JgK8C6Q0cKX55xSL4ClS0diGx2HUS1Cj3SBJHOb/Z0iZiX7U3+WCeSMXOYkq2xvfLpT3/6+G/O7OvpwPau+GBrx5rRfTrtoIoObZ+9lsiozLcWxqbvLTr3xCF+ht9GBiExEGtkiUU9cWEqj02IN3SGsPAOp0kmrMHPSOgzhiKLta6Llt803ymO4LcV6xD1vUNMoz9FOsSdNalwY078p1iYkeDGc+oq5TMVbPiPzHsv0gX9WZ9woHekeJtJTNhahNhFFMAqsZ1ySgzOnwtpDj9lYG5yYGnrU3eatTKNs2TDgK22Lv/huxTG1h3iOpzYujV2KoePsRb9F26OQqYYLN4j95B2vQfWIyTZgm5EmGtu43SrEAKvPPOZz+xeu2IuW9MhFQfRT22BPEVd+YLdK4imDJJ0enC8br/puUziD8yJ/Mog0bxHOSuZfCi7R65Ou7/EA8WCDIy77vrc1nVFNG1Ls/v8vogR4EIl7rDDDlvozBh/1v5qYAJ48kcA4dgESFUSCbhuBACq59DceGVkAYmSQfPMALqrlgPQKSgLWiro5M9BBgCgmvDIRz5y45U17fQCepFIgi4nt2xweN5fhlNVpX7qU586zlFgX9SFE10iLW38ziixfRF5tu7gxAGajGTJFkpdHJI173BaeZAoCvrO31CdaD23yLyQWQKSIOvd0dW8tRd41OrvsHHkSc92MvPxvtgaedbNvPJCHuKCLCCqR96idzc9G4bdsw+6BhhtX5t3Na77/qfXPeMZzxgBMaLJOlJNBj6BfUO3BV1ICjOGRIg9IMkXHT4a25EyQH9sqwoQBezHgc4IUOsRgSgBzeh+816QFwAnwkcXWM+a30vfKtS6tRAEOiatz/kaRMYiRiRTm444J8XvrH/vBsE6rYrP70k+/51hC2wdySRZAEgXFVQ8V2snBeLRetApte5gc2wj4+uBcZ6H+0liImGwjiQcOjzYiHXUM1SP+V/JvMF3TkF9bG0WD5xDIznuqWDbZvLkJz95JCTJEUcXyeNrdH3oKOmRt0g3062xSDZxCNEmYZT4Zwwdkta6Yo81JDEUC8Ivk+Ma2CVjIGEkodaDQuMcJ9GxLYotOGL+fNNjGWA0thi+U3KvG8G8rNseUjLkel/ejyMfEHM6qDIIl2V6R0SyL+uCTtnefJuTA/hd0/KhlPgKqbXvfcQW2CkxOH+2wJyt262m90MwHX/88WOcRTwuKqggZ1q358UB5tPO/L3WuDXD12UUd/gYnUx2KohxoTPrCCErb3FWUm/BA5ZUTBRrvce5zYWdICoVG3VR9rw/Nm5NwtWr5LEPuC2DoJ+/t+mXV9mJYg+cgXTLOlOLbcPzcCUboWeFztCvtSl3KqJpL6uqf9+3GgDqHSwnWek5w6BFQdODULHbOh4kg5yA/fK9A5mlmorU0Q0gQM6dK+OXoAlkvYM8h7li0OcVurg3R6Ri3XPgeO9ztv4eCEUOCEAqAhnVh+mzxGGS0466vZ4VqPdOM55FMqHzzZYuoGYeZNkIcsEWgh4iND7/jXACMBZtIxOctPkim3q7SeKrcrp5/AEk5okuMoQ81ZheecveGRDMrnVxSUytJ0DcVz8yvlqGaJJA2BKFUNKRwx7ZmqQJcZJJNCGZvEOJ7zzh3Wvd9v57JJ98DjLdIaHmbt2uOuNoXbnAIVsAngA0tjAnXBAUuh96zoGK50EyI7CRzMvsHzBEHJwRt+Xq1vLHF8IcrJpBXk3fpfWwF3E2f/eeQTzKIEbYAvtGRiw600t8JQex0GPrCCZ/rE1rErEzr/S7v4QNadDbTYLAI09ywsadNTKXp8PInDPkLbNPsQeWsY2JDxODEQc6rDKG98ZPwoKSUYSe9aSbQreFxCmTaFLYdD//XUSMZMxp2T3iwxd8J8Ke/+bvHv7wh6cc9g9T68x23hO/xs7mNoYIFafmZxa2zFsRFakVH1NYdA9FJLrusb2WZ8v4jWIHnfIdih495Mei54li7SribP47fsWfjGdhY+xYN9OcuLJW5SdIGw0BPcSr7kGExwknnDDG0UVnJumQpGM+rjcuwEbk6ZDy7IvOSoI5Q16GLhe9X00MyERFYngQ6cpeMgqA5CGaxAnxD17iOxH0Cg+IUbosoinDE9Q9zrAaYADavVXHMrpCNlWELSESJEmgyoWgyeFqBe4dqv9x8v8y4kew4ABvcpOb9IobO5h22WHkgcnj5BBA/jsfAhfwiBjqHdpuVSjoVLvrfhtAp22dAt8ifUk4nv/8549BpOdrV7FOVPoRP7aMzs8ZicQ+I/iGPNsugA2dBduUN10XSBCBPv4gvWyroT9g5zKXuczYKt4LashENEnmkdUAmtZzPkUSzE7YAlvP6mhyb34LUOytNm5qS5IkhDxyxlY689bJxI9bT72DrUtsEYNIjEUgHIDiWzLOMFqHZM4kleknzhBD9gKJ86HTQqdDSxfA/F58C5LavbK6UHrfcebvVeWtGUTnojOmdAWJx7YtSHpbh2KR9YhwsR4WHZLt//cnw3fGdliJiSRPkWHenZIpL/Siu0JxjH8x1ygEKhLY7sWP8eEZncpkIn34ZGtT14/EHlGPdPI+xT7nUGV1NPlIhCQT7srYfrTJeootO4E5JZ/mrqNEPOodCB9d+rDsso5JNmDuPbYQzxkfnJhvJ5vOwxq1fjPirPsqyilu0N2ijnoYA7GV8W5hFtvdbcGyZvbbUBiiL12Ei7peEGx0Ka73fPwiciDdQ4oddiTMifhFpGirvkMeIteuA2f0zQvCmfLiOQO7IOT5L/aIYIXpbc8Tg3VPZcQHMsUDtu7d2flgu55uWt1o5m07uWeqjqbWlVS/O8NrQMICyOj68anOjG0Xq5Qi8CK3JJ6SJLJtpZF8cgQOChdMstjmvYgfz5q1tez0WAxxuDEgSG/ep6RJ4qsFXpVVx0jGWQeSQYBXdVpl1xarbQ7rgrN2+OOywckD/xkHzapqsgEBClkxPfQbcSGht7XHeQESnN4RXQhZXQV7Pc+u5Xl3Ai6gqFJmDarcIbQBJvPO7OwIosk7MmKbrqTJVgaVJiR2FtGERHNP21kkKZnnyy16l7YWA/aIEWeN6P7RgaZaaNuHTkmdDhnJZ7TRr+ouBNSyugn3WrvZ/85H6jqwRYCPRJrpPpAYAYuSbVv0HJyfcTg320NiIwQl9QDoNgffr4prjS4bunD4zp7Pqse9Y+ucZEmH5nSwD1t3dW/oLMzYbhLJbVZXwV7vYtfyHO4sFukudZwAvwUbSZgQBtldQEE0xbZUpIUiIH+DYILT+NcsogluQTYhzpBbWXhv2XtUdGAP7A9pKDGUaFurtkBJPvmAjHgUW8v2In52Fff3Wtub/jufwi/SJTJeXII7xT/dr/Ro/er6znivYhCSCQaDvbYdZ615a0UcWDbMGwbM6P6OrXPsbE48KiaxEUUKZyplrE/z2mXc3rU8X9RTdOcrYSOdmjBnfMAgQ4fTdRFEU6x1sR6ZrVAn7smZ5DJFNG3qaer6faMBVV2n4qvuxHk+88nZIiFZzBgCkcAO6Es+OVF/BH1O+4wafEM3nIzgoK1dMsjhGIIvEOfrCllVGQ4caBKgyBOAkSFaVpFL/qsSZI83Yqh3IGLiXBrvcVHCICl74AMfmHJoqGRJm6991YsGx64rRkeJzoreIbnWYQQkWYfWpTkCOrqPdN4JXPSdsVUvnpcNCkq2kummUt3yLKogGeenhBzgGsFr696yYQ3ZjpLx5SQEoUP/bUW03UkVKZKk3ne16PfIAQnhvOMA4PdvUWHOICXJZ2s6iMxzWWVONTLjMHDvTFeItceXqEhKknQTAafbSD638Y5W3dM7ckA38s45Kv5uKH441wiJkfUVI+eV8Y3sy72BQbYvqefDdMHRszO+Ms6O8PEE89K+L/YtIgPFRb5HQtE7kJGKR/zKosHOVcnF/oziEl+FVLYtFpkcNoa88/8B+ZJF6zarkmxe0aVJfnwVTZyCJTK6KUJ31qMOo1XnuEhmIqHpfX86lOlOfEMIsu/5+VC9Mqa/tyaR//OtOfCMOUvc2EpGXCBXsUoxR4cr37loTdgylVEgU2iw9U9hU3xFysdWnjgHKjv5zHw369wL2QMnOdjafKNAIJbDR7bsZhC8nkVXu64YOmVzzg9CPulWlFA75N3h1fxATwdOzBvucs6q97doC7frbC0jM+MsWevOF+CQk4sG36YLSfdmxtlbCu9iOZwyJV0R9PC2uODM0KzYF3MSG+xOQODprhMT2Lm8rHfL8VRvjhKRL6w6D1G3lm7CDDtEYItpbDzIpcz5zNcE/L7oS3L0GsXBbWyXX8cvZF9Th4Fna/RMcj8AQ2vjoi85hAoEY4ewZgxGiRRRDRAEA9xkOJhFz8e5cXKCx6LOGPI5ARWajKGlWNVWhxGQKDgIINo3OXZJjAQng2zixLRoSyocNKsC6e86cgRmIA4IEDB1XPQOa4Wsvc5RUa23D7p3eHfmNK8sceACJDAuOCG2Mro4PC9ZAI2EXsUOsEH6CCSqvkBbxrsL3SBwHSRoi5J1ghCMT3NrudWZ1rNNb/oOkMkSWRW7RcNaBRbNMePg5+igYtvmBoxaQwBNBiBcNAeVVbZnjSJ5bTGhU0mbhInsrO0Dkk+ge9nWMs+nupZxHhu9IWF8vQTw9H74LoRn1nzm+kT08CXOGgF650PS6YytOGy9196RMBJQ6wWBBsQjDpE0CAXEiDiUAbjZAtLV2tBO7+/8s4RM54gOHQfWS3QztpSLC3yn/y7rdOBX4t326pLerHe+cjr4NzGCb1P4sDYzYi8fKUnR9eL8pOikQlyI9XyKuU27RHvnqDORrxTfyZdoIgbFBv5U8pLx7jynzjc4SRxfNCSf8aXLDIKLHzMncQ3JTC7iE6mcFevm8+AvkWlszVDwgFf4HO8NDswiCa2R+HLtsrNxJPIZRQG+yxlbOvfYtthDh9ldYVN9wmb8GZuPYuP039k6m8jolnRfJK85KtjqzjI/2IlPg7kRFciMDLIJ7mJz8WVQnXd07GNCfDM7IZ9/yYjz4ixfjUxetlbEWbgzw7+Ie97Z3E8j0WwnVQClT4RMhj2Yk6KwM7vE+Ciw6IDRycivea+ZxU05iq2PsTa9U7FO57f14kDrDBLN2lTMgCGWfbRIzFWwQ1pmzFHccx+xh+8Si7wrncsZ72uR/7c2xdT4upxzKz2DbXRylG357N4Yuunvi2jaVGN1/agBTm5Vi6hrJDIZlQn34rw5AlVHzpVTA54kLByRakx8GjnjFQmIjJ7Buy8ZgBvjFzA480c84hGjQ+8dAoQWc0EIMBUcIgk0b0BcdwOHes973rNX3BiQdIw4z8rnQf1dgiQYSiY4P0QT4I046R3fTdtpEKPam1V8BM0MQBr6ia+sWCdIC2vfu/TfzAPzBSXrBNmELLM2daiZj8AICAAeKr8Zw7zi88DT+wVBqUMH4QpwZCSfZCBIEGbApyTbGgJgotKK5M0a5iaBYX/ABVnAr+orO4nDsq9whSukiNzlttywPfqUCCLNrUWEjGTF/69ql9F9E8pxHhkAyF9L0kIGMC/x1f2jWzLjcG6kOB/F5vjG6aGv9OysBe9PxVenYe9AtvKRiEhn3vg7X+mAVLHIekE+SbYlp70jPuG+zlfutkUcRrznZ/gU/0WeZ5wTE7FdDPKH3xR/rM34oEHmNjfdZ+xcl43uAlVzSTSinJ/WVYFEzDio3txgJH5ynnzCMXy4d6arwvbArGRGXOC7xABJrvuKC+QoPmR8IS3WNRymC1rMic/WK86xhUc/+tGjz9b1kEHykolIW2ULrln0NdYWO4wzjLwrpAXfZc2LPRJA8+U3M7ZBxfMpHknakY78pXjEp4lRfN2d7nSn8eiBjG2r4qo1YVuj7WpBEETMYCfkKjJZP70Dxnzta1/77bMJ/d15hfw2XG0rmFiBiMrwLfw/7LLXV+4y/csiHZHPB/gABj3r2MpaM1FUZRe6bfkTmNa7JCMLj5kXG9ddisBSaLAuHFsi1inIiYcKaFlbFNmXWDN/fzr46ZI8xFbGNst4b3C0opW8z9qhP7EdnmH3GYRWyJJHijPRHcZPs3e5pf8fBtVdlfkOe2249fdFNLVqrn63Uw0wetVG1Zyo7iKAdCAAANoeAceMrV6ctu1r7gmw6QIA2iQRwJOKNWckyVfV7h0SMoBXwk7e3LGocmH2ESTOB+kdHDdHanuZYCGBBqSQBbaSCVIqapIz1db9Nqwf555ok83o+gHGEJ2AoQSJfgMMC0zWrjZnQUQ3R2810hlGEj7PDrRYF6qSAChiS4UEcYJ4ytjesuz9m6e5q8CyTcRrRmWQPXg/tvAAoJGwA2vAFPtkm4JwxlC9ZdfAO/+iCsrG6di2OcSJ93hGtQXEJBBviwRfIsnW4XOb29xmTGoAHsAtg2ySlOkWIfPe9773mOQCqLoa+BNbNNifD0lYq70D6FQZZ1e2F8/JFrKQynw44NY7rHdbEflo68GalGgj8cQCtoggMfdt2l7vPFp/Ly6KFZKLDKIwuoX5RERPdPnFQdkIRDbI/iTcvUkFO3A/xJK4h+wxdFF4b7qmo6siixxZpGskBuKAj1NA4st7vgwVMiQtcIk5InRjy5pt+damGI+syCKbdFnzjxJPRbfwK2xdlxPSCZGRQbq2rtme34k3un7ECHFHpxsM5sMezv1BXiuwZBAHiptiuAQaUce32TbLr/Ffust14OjYynh/SHId7Lr5nNM3JzoVdG0FRgRlFFnEBsSW+1mbcLt1b/3bJg+z6GJBXmR9Qr7n3Wf/ViFX/DDHjFiroIEA5KfEo9j2GFtK+QAdY2RZP70kCd+BdBFHvR+EoIKDWMBnWpfmZkfGNjtxxAi24Tl0wtJBRpEF7kPwyCv5q9g2xw78gV3MrVePsa7ghziuhF+BdeUIMLRc03rhP7OaNbLX8yb3K6JpE23Vtf9LA5ymRAUJs2hwgAHkelUnUQfegTOBnzPlaABVYB8TrVoiCegd7qfagp0XaAEMf/cHsFJxlVyrvvq0be8QIFRadS1pRZ23ntrCJknkcI444ohecePvvTuBSvD3GWIJqECv0wCBADwB3Rlg272RI8itZUMCAXBkAJpVClIxk/iaK0ef0ZEGIALb1iSygm5VqIP0NHey4uB1Oo7DU1tepm1Jgh5ShBzvcUo0sQPJNxIxI5lf9YzWigCtcwR5kJFcA8AAhKqmOUbAJwtwYgveI0IjYwjmiFwt6EgY95dYIJokhJ5FkibwZw1+Szfhsu2Itu9kbcs1H9uFJHzIAVs8VcwlNeal4wewyjivTPLAhwFL3p33Za0CpgoBziyLrZ1Aau/gq5EHfLQEZp7wsT1n/fAtGee2WIOKG74GZ5uvrSxIVoSB+OCwVwd5OhcqoxKJsPOOlm29oj8EjG1mWZXkZe8EISkxpXOVZElH77AuxTdbfcUJNh8HjSOZkNfWk/dr/aim95w/p0NSohIdWeFD+GO+WxcHf4OEzega2ct3IrhVsBEzGecYwSNiOmxkK1QkYDAGjKQI4d8k+hlDYsanSDD5FHo1F3/oWfLp/7N9NWvwV7oIYcJFQ1dQxhct3dtZebo1/BdGgRsQdc5DQ2Dzb+baWzwiy3lvSCz39/z+Dj/z04ggxT9xSlzIiOvmxUeL2zqF5wk0TIG4ZHcZX0flO2FqhBZ59Gk+iFG+ReFIAVein9HdF4dz81fLRhzOnbE1cNX6VriCxxAV9J2xTRamRDyKM7p/Yi7yhCDTbTOld36PDfYQoghAa917IsPfg2hCkot5iET/nkGa7+U7FQvYCtyScZYSshxmt97hl1iDCsXySjtLxIusw7ltD9XRx5cg5tgDf0I2fy0eINSy5GX535b7FNHUorX6zZjoAdeSL9UIRgGAA7yAI0eHGAK6MwYjVz0SmCSzgD6SQMLGkaooA4vLErdNnkG7pmRM4gmc+bvkHYgT7AFiyZIEX5KTMRBoEkLggl6jdRhoRHapJEvYMogfz0tncb6WoODv5hl7rzm+qbPtmaO1EId4LroPRyoAA1QZX1XirAWGRcRAnF+haojYy6gMWovHHXfcCDzjbCZVJIBe1RMZi4gCECWl1qx33fougQdrQpKLeJwSTWzRlkjJNbnO59jmEAgFX+uWzjMAKVsDSIF74Gk6ED/+TQcg4JbxWWlEErtGLEnMfH0uiCYJLl2rzmd9dY6flEBL+iTNZLC7+OKjtaNFXVW7d6iQeX5gybYg/gTBBSgCvN6fvwM5QFvvQMKrwntPCFV/tz7YnQIBW2En/BtA1zvc17tBrFr7qv9RDQfukeX+f8ln1tkREmh/AHx/ptsXJGuSlqyKrnVorVifi0ZsHzfvjG3Atl3xZcjj+TBPa1Ncl2RkAGDxE3mFSPMu2R+SFW5gE9au7hHvVJWXT5VgtA4FIp3DEiaxZko0WbM6cmAYsagnKVvn+XSGmadOOMRdRpeDLgNnWiHK5kRnEAu6SDJIXnMMEgn2Evv8N4gm7y+2gGR9dU4cRQbCS8gdxRs2wJ+Jq3CEA5kzClbuxw/zizqH/d16RaohgvgXvs7fM7r72ACyHJkq4YWbyEbEIGaQ5mKQTmXEU+9gb7YBwwn8h3UYBIH4Cu+av46VLOIgtrLFdrXYls+3kMGnZHSn0A2C+uijj154TqB/R8SatzWa0UGl2CbGLiJAYW2x3npBLGR0xYifiArbc71L97RevDPPAmOaX3xcBUnaQ9KLCzojYXm4eUo06ehnI57HtvKMIsuq9W3dwoc6363bDH0qLPDJ/Mmc6JRT6Dqiy4y1Ym7wiEJSYPQp0cRXKyDJpTPibK+v6P19EU29GjyT/l6CAhBq55W0C4pxZoVkBlnCkUsGMwYH5/4MXSDy9yCaBCkOAgiNAyl7ZdpyYW6SJZXbILI4NQSB6jXw1HJmkgqLQKBlOYZAIeEUeKfBFhttPeIAACAASURBVPj1b6o8qgVZXQ69+tnk9+YQn/6e/k7wRVAgRoBG26EyKhNAqORZ51IMgcjWCCSlhB548veMypnk2TkxOpsEefclX6efZN7aQcRKAhChCEPdFa1bv5xlYm5ADYBLdwgsXSm6AOjUOgGAM+Yn+bRHXWfFfHi3ArS1rDqaARJVrBG5QNIiQC3hBITZQ0YHFfJa9Vay54DJKdHEz0h2ka6IkoyBFJEwSSiATkSXdYEUQXADUXyrCmHvkLwAYxIx8/N3cw2iyZq1HqPDqVceX2VuyFDrL8A1GdanM1388e74802H51cA4DNi8P9sIs4EjDXPv0heJG10LQk9ow3xgO9cdDi3c/3YCkLSnwxw771JUPiTGNYKnwn4SrB1HAHJGb5F4q47RTXZeidfl48DiMUClXrkha0fCDdgnG9rJWUQn/wmHyIGWE/mgZjg58wVKanjJ2N+dKmbQCI2H9Yn/40YyfqqHgzkXmxvTnayTUk13KTTKGPAR5HgWiNTosnadBSAuEDXGUNM4Ksk2dajbmxzVoSMrc5ZHT9RPJHQWvP+bj5BNFkviIPoQOqdn1iKeJTQWv/WumSe/bM7ZLM5u6alwMK2xABdSjH4Fb6Tn5yeVaToKAF2vhZ76CEoevXS+nt4etH5aHyKmA7j2/aMyM6wdeS8Ypv8JwbcoPsMMQPzyYmySDs2IH6zQTgJjnnoQx865hbWKSwjLpAn1vJ78pfWIoiilS8vBqEMg1qXOmnhXX4HCZzRrfX/tXe3OY7jyBZA522p//V2ew3d65uHUzMxIATakqmQnVZdAoUqlzNF8ZIMRtz4IPzYjnSXKnI+rgPrkxyDd1d/IoyQuRy42/VAdvpewENXf/BiE5Av9t5INCF/OUGsqasdHqv765XfC9H0Clr52f8hQHESsigVguDymSJPeFOgED+MTxu3owmttSk9UwjoSDQ5OCgZDmIey47mgJKihFDTr8+MXwYLw8ZYKclIhVebA5A3TLTU0UbYILw6Ctrq0xwRmoxeWG4br7wxEoJXNu8hwoNxb247PJFF2o23VTg4GKJ1nXxnAUhEk4OWMsbbrh+EqIPYIU+BdHghJnlgGeKIwzPpBAwmZGcVBYejNSICiMezq+aHuUeUSRkdowWtDwSXMUshIgu6FCiKsPXg2Vsi17gpidaMiLWOKBUkOWPQ/kb+IevMKcNXtJj9TiHtuD4ent6fIU9JYqTBVlQOeSIKgCzjQeNBPNsYKRQWRobn2Rsj0STyjcykiHbccud9Ge9kJ3KVYgtfUSvGVSl11uhKtB1PH+VL7ZQjzb5HSniPjigAffIyiooReSeyd9vsQQZ3R4TRozFWBCrCzfmHOOhInbPWnU9V70P/dTU4uWa9PrpW/sh8bH/Gmvf+5CYySf9kmvGZ60rHMjb/zzD2s6vFgj2XF5ki7+yzzzXr0t53vktH6fCQe64znrE0pj4yOslOpIHoo86boRh65BcjdLv+RFCSOfSZLj2C3BK1S86IEBPR4Dwgu8lT/TjXRRV2NGemte5v6xERgvhRZJmDSTqRsSPqzzZnjbXGWEfQ0XFHogkhSj9E3nQ4PLwvOU12Wov2g7NQ/TxOHhhyaFkzK2ctOYyMeJRyuMULvvp0DnakdXq+/Ub/of/ObhMzb3SXLmN+tgbIAOSF6EXECaw7UufIJrJzLPxPdtYtheykDkdcjck6R145u8mvSi+2ZkUN+9vY6IX2vEhDhO9qzR+4WZ/WIDLL2ecsEOGD7BXp2uW8NUZ6C4fiuE7ITPvC33WxQQdJqD/7HDlHN9lixFHmfejcHTqn/jg7zJFoRfoJAlkUIUccHZGspkd0nUVn5eGZ3w/RdAa93/h3HVoMZ+GYNr3PNr56JzwEDhLKQClyZ6FC9DDmsfeEK+8ZQ9NnhrDoERuzow6Hd62CzhXS63OF+foeUXEmtaxuxDiKSyn7HRE/+lQvyeFDeaIYbpuoKoc+b+TVDYkozJmXbqV2kXlh/PEkKQzokKBMUQKfNcoaA2aFLByf6/0Z7zCjdGq8n4wZipq1a2z2BwLKoSW8+Ewh8lqPFKYx2sGhRLFY9VrN8DpifHYehowW60EEA6PPQawpEo64ZigioBgcHUoGxbCMT4a7PeH/EBTCwaUnVi2Ejr1ACTQOUWKMTp9FMomg1Cc5hpBk1Jxt1gkjpdJNpAWRyebLmmR8ImBEa53dB/WusCPfzA155XPdKub/7E9/VuauUn5HImQPo3qPjogfxifSTAoLD+esjo+IBIq3+mlXN1EjCooy8q3RVxvZRE7ChqwyVz4jK541yrZz/6zSLeIHCcMIqltjkbrWDQODl7eIJZdXkEVnb6UyRs+2JuvSBmuEzOy+qWlmfFahc5gbZ6fxiZgQgcIIREhUejYdCTmKNDhb52pcF/BD+iIBGWHO4Yoe5qRCAjEMu8ZIH2GUMQqRAyIjybTSG6TyiSLuIM3JGueQCEqRKHQFslS0m/IJHJuMQ+d4xyUYcK1bJmtd+Ozcqxuw6BirOqB17znbGxCf7XPz1rVGOU+QI9YLG2FG7ohSEaXWUdJgTxaS4faJqLEVIs3vOkuR3n6fk8hnhM+z5mftidV5rGcjIDmfrf1af4glhA8SvYgmZy1bjNxkH60STfqt7ARjtD+0OtPJzpUz/RFWpdtWP36uHMXWJXnd2R/HEczsbzKm5gfxi/By7lubXbo1HQbZhFyyJ6wfewJJL/qMfX2HaKb/rpH/+/X3v8fZ3Nuh+f63R4CQFQVQtTYY+QQcRUMkjNoSVYCyAyzLs25f40lisBN2FFFGuzx2QrTT4O1475/4DAJNugLW3J9ZWHQZZyues1fGzJvN84mU4UlYSRdCElgTIh0Y7wwunxkxe01UBUVRyPHqjUYUQdFLCnnyLnkO4w9hQfEVNUKxskZ5gEXrIEiF4682ewGZxtClZNh3vEwIDAYGHLuU3/EdGWhCqBmiVZttdQzPfs94eD6tz4q4c/Dz/lNWu72eo/FZinjtgW7jU7SnNWGdIrIq5N58IXtEO5Gh0jA7WkWYIualW/GYGRtll+JEAZ2Fi3f0fbdnuLSBM4XhaW/P6idQhruuWH+GH7nHy4r8QnDPHAZ7+CM4pbkbB6MZ8YSUdH4/a9aPc0M0C0Nn1XipG1ytUWkYxkThJ0cZpuQAYkTEiNRqZz3i94wCjtiyxxl85onTBflPppIr9uUV555zglNCg90V8hkxgQyRhouErELICGxGvDOWDO0ifoylUlfHq8g9H4b+dPbF2QhDRBOiHCkv1ZjBXWnjHBQdFxsYmzGJ0iI7pcpZI3RM/dlzMIVtp8G7t2e/9XuRffQk9c/IqhnR4v+smavxFJ2NkBXB4n04DV5tdFZpr+Sf6ChkhM9k1p7s5IQQySyCf9UBgjimR9Ih6GL0Cnve3qfP0i/pnMhFkYX2jlTd1f6MSQaLaDNEoH3NUUWfpUtUOmvnfi8cnXEyMOw10aBnxvBobpxB9ro55OgrPRDBLGWX7Fy1EZ71SUaPjjP4ddZ5fHVdX/HziWi6AtXf4JmUC0KHgkao+cyItiEJBBFHogO60k1AWlEcIh7KE+n/qwBrJ8nk+fKf1U+pK5jHaaVYi7TgUeto+iPcYAbXbaNYU546CugSbIqLM3YZKlccDOP7I0REZ8xuIKzi3EKYeQ5XPFmUP4aRdScKC/ki5YlRuNcYNgwNER2r0XDGULehIUa8D0UCaQBjZKw/vBYUKNEH0ohWiwoiCigN1idizX5QK4LHxbq0D3h1KVJdDbHsEKbE8No5hB268sz11aXY1/tWahCvlvWDtDOvdQ16Z+pjF0ZHn2P/UQitEx40BiglnIFvbqWBKGKK/Olq7zQGzZn9h/ic3ZYmyoKHlYLc0fSHMJEWYh9um33IO9hRo4mxSbl2rpH/VxtEjAcpjzyf22YPUvp5tp27K8SF6CVrkZfWHqbw+uws2mtkrqgmtTRWo7esS5EwZBdyHgFDdyBjyDXngZQoJILv6BrSpVZxJ+vJSmQSskKqPwILQW8diYhFVKzWz5thJtrb+Sfq1Vg0e0D/6vtwQnQ2mMKOceaMcL4zBBlp7yBAO8eyfZZ1wMC3l5E9dQsxAgMp5DwUobJaw2v27lXHyN4of7wz1lnbfQ45E4yF86EuZhnfCbmGGOm4dMNz67Zh0VnOoW2zNhFqHTWapGjTbRWq70qlfLbW6CsiQ+y/bbNHjAnZg5BZiS4Stc5xg7wRBUNm+QzTvSaKmS4vQm9VD7QepR4jW43Re5CXzl4kOucB+cYhL52b/DmDuzNWVKlLdBD/+rHXyBc6migg9ssKafcIL7YXB4izxjjIfWuf3SVa8ozD4dFep58JnODgNBZnAuLnHQTo3rr51u9DNH3rzP2A96bo2vy12SvMt27kIehWmWcEAGEiSoRQozQxJAi2dzQKGiMQeTG7KteYEQa8qx2NUFMHQH8Od0qTGhWMTR48kTcU4I7aCpQlHh0hmxSz7c1eHeMZn0E5lGKJHKk2FudGHlDsV/O7xzTHUvwqBH1vLOZZ5IwIBekbq63qQlVIsXXv3+P1pEgn/48Mc3itGkuMT0oDg4uCw4Mt3YTiLaWMgkXhQeyt3mw34kABNX88PRTdSmVjzKiVJCrNOupYmzP8a34r5WR1jur3GJu8ga80nseugraV/lUk60ig+7c1TL6sEMCU3EoJQFaZG8oaIqGrRtEebva59VC1ybY/b5+LpEIudzTpLdam/ebZSFFKIeUQ0YUMrYKpZ/ujgFLsK022W9Hdvp+UJ8r7WIi/inMzlBgXUodWi3OPaY5kcq3NI+k1CCnkOdl95jp5BhOSx9+1x8lNn5HZ+mDESUnUzxmvsihXc4jkIYMZavQKRp+i8fYM0sznM/3UPCJCEFlkv+iJKuLsbEcemj+GVMd19du1Yy5rHuG6et6MzxW1Mavp+GxfiU7rItPKAVG1wnx2DlUdl0obXxmrSBSkLb0TkcV4pifRj2Ypsmdlyez3kbaINMb0jICgC3vHLieEaEHO4iImEPX0MeeGtcuJhNhaSS3bjo8eqz+ZD/SWTsfwDEsOAQTvGGFUxbkRCOSWOmar0YulY9btoyVLjyQHcTTSq8iZFedqjdeZR3bqG572OQLMM31G4uvHWSs1+QzmorbIK7LT+Yckpz8j62AgXZXu0XWrHhuQ081aHNPIrFE6O13Xn476WjPZaX67dE7Ph9OsLtkzOWL/rZCgV8imM88M0XQGvd/od3l1GCwWPaPcZ0rwzAsywkKIr4T0I1woKIxCQsxnXnCh9lc3igtj3TWedSParM8K8z37Pg4KCpyIBgcjLzFDmAeB9wCxIJKEscRo6mi8ZRRs3l3ExzYFhMLGMD2T3lXvWcrh9uaksVZFFUzsGNsrz7B+HWjG3+G1G/s27lHpqPDYUgheec/xZ0VqycEXxcBA4R0TeScijAJn3SCiFEbtKEisACQFAmklfLiUFWOjxNkjDHoHaVczL0gsa18f29skKTMUnRXvGUX+aCQiY5NBqh7UKqnMqORx5GUXho14FaG1V8sBaaLvVxolTHQU2WSuSilDTsDr6qY/0SmUQ/JqNj9VD6dDgRIBpjgpjCnCFG5EF+woxPYJ0oKx5Nw626x561LkIqUR+bFt5gz500HyUnb1M0bw6q9qVZSRs2JYn8XCvrSWjbMzgsR7jemrxl7Oq7OFyKX7O985kch8hoo9zsBn3Fu7+pAW2VGzzBlLl+AU4Jgq8tg6ItOkLXJwrNQmfDR/dCURWta9f9sb1RhlzgXrc6Vx9DHyjjTrwl7g0EKyrTTkBFkiIguZ6rN1t1ejzV5/taA0XdP6qFvmfLbPReB0RuY/wkF/Cqc7a6TkzQzoullzxQmx7Ve0ixv6rHUkgTNJiiDj1jlV+qbvO/a3PS3NEVGPMJ6RV/6fvdBB4FsjYy0h469ap5UW34HjyrquSCOEYVfNn3oPstL4/KFzl/Pq7Fil2LPJlGVA1rNFRIxxkJsvf6tNuFqsfoujc52DhR02nqXWkbpJ9BuReB0kaPUtYlmfZCaSeZQz5A/n7Sqxhawmy440ZK+1IbpxNS39SD/v+pkQTe9C+sv7obTw6iNBGJ6Mc56/PfaesKOwOcBf8WA79Ag1QkskAWWbJ2SMitlCakPOFP9XoUf8CF0WxUHROCug9/pnVCOapLMhmijCPqtVQbAResKOeQ+kDnQ0+PKkGuMs/FsElUODkH+1Ec68gTxiFXbqszXzrDlwKTjv8h56l5EMOjPPlb736FYXIcuMG17zs42SYl3y8sNXIXzrnneekYSkFOUh5aYDS8SVAw+xpUbK2ODHa+Z7qXpV0PfMGEUvIoNEacGVYrE1tF3/TKaskINkSdUu8Z7ICnUGGH4KclfUAYMGjkgi9ZJWvciiKJBUQr1FaCIFeXb3ZKf1KL1MdNBRuSaah7EsgoLBxEDg2bXHHxWf9519t3qT1zjXsER8ksXIvKsJEOeStULZhK+50r8zh2LMOUJ2Wpe8omcb2WytSCFArs48xOaMAo70fbV5PjlZNz75fZ/3inMjS5zNKzf5vfqO9fMlO8uoWX2OfadOHyfSjHy113m2z3j+692cqfYjnCj96qGRW4x7mIs+snYQKmcLnevTXvRca297KyC5JoLKHmWkdRhM0g/JMDLb8+tPjR+5Zv2u3nhahanreaKbyCfEFX2h5kiKlD0i+hVRs0pUwAVRZ08jX8yTz3vNOUjmIk2OyjUkuTE4q/XlnKgbOR/dhsvAdl6spK1uxyBdlbNIlIvIkatlJ0PaeYTcEg3tM30TbnR7Rrx9CcOOW/XsN8QuotI+n+lbHAL244re4vkw9LuICWvV5z2HDmcIIrOb8Hm2RsdIw721/Ox7KWVsImt3qyP5PXqGc6hjbByKot+kWFsbSGxRmXQwa1UUIJ0TWXgmcqrGay8i4ZW02EadGasIeg4CBH6H0+rvv//+5YyjQ1UU/aijiTAk71ZTHeu5NT6y2jnD5pN2WNk/iC77xP+Tn2fskjNrq/N3QzR1onnjZ1VKBuXLQUioi3LYy0d2WAt9pyhjoY82ETcMCIof5duGRwA9Y5MZEyIgOhohithC7FydcuIgRGwRLA52nwlwSoe/Ya14N6WYcX22eT5yQAg27+asvoaDiYd3xbhmgFEyER6UUN5Mxbmtl2fNYcVgEokguqsjdeEsVkd+3/pEMDnUHQrSBBTMtlYpovBwCCuc25GmWOsDtgxpBz98RS/x+FIIHMTqTnUoq4gKygyiaRadaO1at+oNdERQkRMi+JBoj6KWzqSXbeeUlxWxixixF8aoA0SGvUcJ4EFbaRR4JDJlHgnhs/6sm2eN15A8o4SIfDjSyEmKijRbfRpLeeUeKWMURbKuo/6b/pFzbr9ioPDMXdmQ8AhWxJaIJp+tHZ+Rg+Q4I5Us60i75mRBvtuDjPWZjEJUOItWjE91L8y1uapCrmShPbYnOxFN5pFx/i1eUCQTOeWssN/rJjjGIlmGoKB0M/w7SDRnqXMWUU8nIbPVoDFnsBcBpy9Org7ZySvPqORkMD/bRm47IxBRHRFUSALnjUgVZMXWwDQm51KHYWYs5k7kkIgshE5h5vwh5+CJ4F51sCCV7GFRFAgdnz13Gx29xZVTjiFHFhytt2WeRIPaf5w5mn6e3brmPETWrETtb99Z/0gfUeQi4DrW+zOZgZTXHzmJHPCZc4KDBznhHKazkaurNdjG/qXaIpEQx7O16WfJzdUb2ch5KdSwIwedf4jcWd2+8b2ckSLDnSPO6NVyH1eec7NnI5k4V5x59Er7BFmN7KUDICnoiI8Kr7/6vpxI5CXdBWYIa8EDSCAOa+e+iLgOOebdkMrOWNF2s/RGMtX4BSN0yDMYIq2KnN7Kf59XU9RnWMOO/SWjZBwffc15L0OA/PyWs3xHP8mtc69uuN/x56uOiLFTXiodag8LPyfygrA4UmC0nlf9YYGFFJfnTG7zrBF8BGxXiLOIB3VuKIqUzm1qGcGAgPrzzz/3IDj0vfEJMcfQixqhTPEEOiwo26JWhDBTDM425CCFjYENz9nBWl7qFTYdSUhJYUQQojyEPlPk9xolWWoKheGqmj977/Dq98gIKYgUNe/t4Ee8MG4RC7yilAJGxVHv6t47OIyqKP5IuogG8j4MtZW0slm/9p91wku4LTBuf/rO+ETqdEQBUEitT8QWBbfD4HuGJ2LOwU6p3q53cohCJRWFcbrSKvXHs3n6jtYPY3joU3SAdIOjrQp/i4Sxl4ytaijMnoEQYcR1rU2Kvf1Ahs1u8CKnGVMdXnLzw8vqjBHBxJhnMFB8GUsIX3uC8kgWnW1kmGgxERwibWdrs+rhrKxbMsR8eQYC2RoQhcOI2GvejZLvDGEwfUPjTOJMQUYYL1mCxPO5Lljg0ebZXsFzi0HpLZVSUzejeTZiC9El8miFJJzh/c8///yS/4yibY03c40YYigheTsMikpd8XdHVMHeGlJrjWGPaNrODznke2NfjaByzo31Z3yeRW5s39PPWDP2PeLwaKvC3+rckF8cSObtUdotw953XesFkU2HqLTDrW6GuOd4WI0QG3GAK1lBlpWOa75gTI92DiN/EVEdxccREXBFgiKTHunxKzqnZ9FTOFDJPrJf1L7PdJS95gyxZ6yXDmz3+uv4ni7GGWV+yP26BZE8YS/QZ/x5hPWr71D10IrkZROVjLFXOF04rbqIOhcViZyiS2zTYNkWSCFnB+fm6poZMbCXBUXQgzqet4evMSG0ZxFS9iD93Rkxu9l279k/7ftENP20Gbnh+zCIeZcckCuN0kDp5NnlPZq1M8TI7HkMFIKcl2RWP4hi4VAmDDuaMF/GLMHiwPOZgirqyPgp26KZOsLrHRSMGXjqo4McGDGosNNSEM1NGdt7WDGO1Rdi+FJQv6E5LET8UAKRgT4LDxcNxmCiADF8kZIdxu4zTLrSWcY+GF/mRHQhBbRu70LGWrO8xzyIiNEOY5AyKoyZwvgOstFcUYKNYVsDzdjIHAd/RzThq+uZ8Yu4fZS68ex59h8vJAJC1MSjYubmrKtYsPdhoPAk63dm7DJa1P/gPe9oyGlENmXb/JGhokERhGSbSDQGREeEJNLPWkGSiRzqblWM23MLuzK29/oi00W9MjRWa/Ds9dH9Pa+t9V0RP6KNkEBVIwk5j4AhWzpS5/b2i+87jQxGrkhWZKEzvIpiMxA5ehg1og4Qsh3Nmc6AESHV5Wh49l4cX+aHkbutJ6eWoDQ+ZJqIpHc30aAM3xWdib6CvCbLnHePIrvPkMozPKx/EZP03dk6FHnE6dBFJCO2yGnnLIegSFTyUq0aBIUzj7OzI/VKOieZTPZ31Mvb4lfFuOGG7ChZupei7jnSaTkkRMh01NZ7x1pH2CEIzZ3zHVmN9BXB5+xAtJrLrvnbk51nU6i3z1e6wN4zFtFNVbfL+c45SLeWqtdlvyDD4cVOfQdJL6BAfxyq24gsN/bKECCDVmtCvWMNHu0jRNNRpPJzpxCoYp6rD3FYUEA7vH5771BEDENIqOjsUCeIGExVz2XvmXvfj+RMRYxV1EoZHQRthyHveRQZYa5llHUJ671x7n2PvEA2Ea4r9Xf2nn/F9wxdEUwahdtnxJN1xMiQ3sZj5mB5VCfnivfqfKZ6W0hJinAV5nY4Cjmn8DBsXi2++uj9ENNqPokGELbfZYQ96o+yreg+soKSVpE2yGaeQYorr6GozHe3Ig5Xjd9StsmNdyhPUpOQPAxr5MDMm4rwITe7Quy3Y6yzQtp2FR4nUztkJ2MGaSwtw5pHHvyUhlSUDsaw/havPAJbBCYiQtqMzyKf1WQSzSgFm+4gWq0r4u6d82UtGg+vvLGpVag5y0VwOS+klncZE/riEBDRIVV0tZ7IUYyk0YjAIZ8QnEXqkKnSIaXMqVd2xa16e+9or54xfou4OHt5x9571vfOG85LeiXyYJY6VxFUXVEO2zH67PytGyCt065zwz5Gqjoj6EVdkTZH8X32cxxK7AvYr95C1/EerzxD2ipy1znE8Q1bJFnVl0OckJvOqHfYTa+8+5GfJTsRnshzkUt1Yxv9AYkmpRoBvKobbd+Bk4bOIqqWo6YrMuvRWDlZpMcjtpwF1Z/sANk0ggzI8o60wCN4X/kzIZquRDfP/koEkB0UKOSAiKZHAqciAb5tkMbH+60WgYgUh9DWCKPk8NgT8u9uZxXEd7+vA9DBoJYPD6CDT60HBjdPvRBukSnq5nTc4vfu8emvjHlj5WniaZGeRzFjxHfeGigMG3YMFREBs/0nJZHnt+PabOtNFNpff/31a79X0XrKm/niWVJXokvh/sT8vatPJCtFjYFSNctmfXdGUL1rbPoRnYg0QIQiX2drQkg/BfLdUUVXRDNeja2UcXUokMmIXIYF0tf6YUSJbJSWJSqm4yaqq8czez75wungj/EytI0NaUB2dho0ahJxINmH2oxclU7DUOtoCAn1YBhNUkpFhWiiqdQgMW9qn3QZgx3v/FOfIZJX+QRRDmTHbO6+VeeEuegwGQCcEEVkbedCnUSRxSvFwM/Ma1dx7jPv8Orv0t1Ft4nqke4rzROpy5lJx3cOs2NEoXfKmFff88zPmxcEINmJCEK6cEA4C8jOTrkik4QMg92j59Llu8h7Y+JMFbWrxEGlBHOwI5xl1HSl5J6Zg47fDdHUgWKecSsEbHjKk2gKBMLVRRnfDR7B7YYfhvyjege8OiK5Xrkp8N3j+En98coLDRcNo/iiz24coggISadwUyC/9cAfsWbQFhnYedBXH7yLDnyE1qOwdwSXNMSuqJjRGByvVjdfRaT9pPX2U9+FkubmIqlBPK5dkRo/ZbwUTcXxrdFHa1MKLQ/l1YXQfwomZ97DXlOPrWpSidRA0otkQupJoXM76krq6Jn3uup3jde6uYpoZWw625+lC7lso+NSisKIDsEBgTyowR86PwAABc1JREFUfhEijMJuY/CqefkJz0XSMXY5NkSh3CGSYcRV/Ruys8jIGeZ0J7KzI835J8zple9g36khSw8iH+05UU2IZA46Fxm5xe8u9kvZKlfp0Eh6JUueyU6ReJ3RYWQme2y0w5wN9v63RNYdWeMhmo6glJ/57RBgKCkqK00IWXAXYT0qh3tFNat48W83+QsDroifsT4A5buu8aVwd9Q5WHi1r/sVxpi1+ezAr1SwjnSorwPoh7+w2ihqcQhrp+jeiWw6ujYpw1eQsD986pder25FhJn9zNNLbsK6FO5geQzaI/W83pUKduyN81OFgPNOCr6oWrdRSam8E9l0pE5n6U8514/tCzomuVnkC7np/6wlhIj1EyyPY7n3k9Hh9xCafx+iaQ23/NaNESCsRae45lW+7Cy1TEijkH5RK2lBIAgEgSDwr1/pZGoYiWpSL2am6Ir0cduR+hFpQSAIBIEg8K9f6dsunlCyQYH8WeTGH3/88Ss9X73HtCAQBILANyAQoukbZinv+FYEeATky8tvfhT1g9kWrvqJAsFvBSOdBYEgEAQOIiAtwi1Gag5UCuL2V0WHuh2O0ZQWBIJAEAgC/7mghc6pvtajaF61i+ic765hlPkJAkEgCKwiEKJpFbn83q0RqNs4Hg2yijJelS98a3AzuCAQBG6JQNXvepaWS3YmteyW059BBYEgsIjAePPwo0cktWwR3PxaEAgCH0MgRNPHoE/HQSAIBIEgEASCQBAIAkEgCASBIBAEgkAQuBcCIZruNZ8ZTRAIAkEgCASBIBAEgkAQCAJBIAgEgSAQBD6GQIimj0GfjoNAEAgCQSAIBIEgEASCQBAIAkEgCASBIHAvBEI03Ws+M5ogEASCQBAIAkEgCASBIBAEgkAQCAJBIAh8DIEQTR+DPh0HgSAQBIJAEAgCQSAIBIEgEASCQBAIAkHgXgiEaLrXfGY0QSAIBIEgEASCQBAIAkEgCASBIBAEgkAQ+BgCIZo+Bn06DgJBIAgEgSAQBIJAEAgCQSAIBIEgEASCwL0QCNF0r/nMaIJAEAgCQSAIBIEgEASCQBAIAkEgCASBIPAxBEI0fQz6dBwEgkAQCAJBIAgEgSAQBIJAEAgCQSAIBIF7IRCi6V7zmdEEgSAQBIJAEAgCQSAIBIEgEASCQBAIAkHgYwiEaPoY9Ok4CASBIBAEgkAQCAJBIAgEgSAQBIJAEAgC90IgRNO95jOjCQJBIAgEgSAQBIJAEAgCQSAIBIEgEASCwMcQCNH0MejTcRAIAkEgCASBIBAEgkAQCAJBIAgEgSAQBO6FQIime81nRhMEgkAQCAJBIAgEgSAQBIJAEAgCQSAIBIGPIRCi6WPQp+MgEASCQBAIAkEgCASBIBAEgkAQCAJBIAjcC4EQTfeaz4wmCASBIBAEgkAQCAJBIAgEgSAQBIJAEAgCH0MgRNPHoE/HQSAIBIEgEASCQBAIAkEgCASBIBAEgkAQuBcCIZruNZ8ZTRAIAkEgCASBIBAEgkAQCAJBIAgEgSAQBD6GQIimj0GfjoNAEAgCQSAIBIEgEASCQBAIAkEgCASBIHAvBEI03Ws+M5ogEASCQBAIAkEgCASBIBAEgkAQCAJBIAh8DIEQTR+DPh0HgSAQBIJAEAgCQSAIBIEgEASCQBAIAkHgXgiEaLrXfGY0QSAIBIEgEASCQBAIAkEgCASBIBAEgkAQ+BgCIZo+Bn06DgJBIAgEgSAQBIJAEAgCQSAIBIEgEASCwL0QCNF0r/nMaIJAEAgCQSAIBIEgEASCQBAIAkEgCASBIPAxBEI0fQz6dBwEgkAQCAJBIAgEgSAQBIJAEAgCQSAIBIF7IRCi6V7zmdEEgSAQBIJAEAgCQSAIBIEgEASCQBAIAkHgYwiEaPoY9Ok4CASBIBAEgkAQCAJBIAgEgSAQBIJAEAgC90Lgf0TTvYaV0QSBIBAEgkAQCAJBIAgEgSAQBIJAEAgCQSAIfAqB/wf6Lrfij+te9QAAAABJRU5ErkJggg=="/>
          <p:cNvSpPr>
            <a:spLocks noChangeAspect="1" noChangeArrowheads="1"/>
          </p:cNvSpPr>
          <p:nvPr/>
        </p:nvSpPr>
        <p:spPr bwMode="auto">
          <a:xfrm>
            <a:off x="2438400" y="2438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2"/>
          <p:cNvSpPr txBox="1"/>
          <p:nvPr/>
        </p:nvSpPr>
        <p:spPr>
          <a:xfrm>
            <a:off x="4267200" y="1916879"/>
            <a:ext cx="12961439" cy="506549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1200" cap="none" spc="40" normalizeH="0" baseline="0" noProof="0" dirty="0">
                <a:ln>
                  <a:noFill/>
                </a:ln>
                <a:solidFill>
                  <a:srgbClr val="29B4A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OMPANHAMENTO </a:t>
            </a:r>
            <a:r>
              <a:rPr kumimoji="0" sz="2400" b="1" i="0" u="none" strike="noStrike" kern="1200" cap="none" spc="45" normalizeH="0" baseline="0" noProof="0" dirty="0">
                <a:ln>
                  <a:noFill/>
                </a:ln>
                <a:solidFill>
                  <a:srgbClr val="29B4A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ÍSICO </a:t>
            </a:r>
            <a:r>
              <a:rPr kumimoji="0" sz="2400" b="1" i="0" u="none" strike="noStrike" kern="1200" cap="none" spc="10" normalizeH="0" baseline="0" noProof="0" dirty="0">
                <a:ln>
                  <a:noFill/>
                </a:ln>
                <a:solidFill>
                  <a:srgbClr val="29B4A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A </a:t>
            </a:r>
            <a:r>
              <a:rPr kumimoji="0" sz="2400" b="1" i="0" u="none" strike="noStrike" kern="1200" cap="none" spc="40" normalizeH="0" baseline="0" noProof="0" dirty="0">
                <a:ln>
                  <a:noFill/>
                </a:ln>
                <a:solidFill>
                  <a:srgbClr val="29B4A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PLANTAÇÃO </a:t>
            </a:r>
            <a:r>
              <a:rPr kumimoji="0" sz="2400" b="1" i="0" u="none" strike="noStrike" kern="1200" cap="none" spc="30" normalizeH="0" baseline="0" noProof="0" dirty="0">
                <a:ln>
                  <a:noFill/>
                </a:ln>
                <a:solidFill>
                  <a:srgbClr val="29B4A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O </a:t>
            </a:r>
            <a:r>
              <a:rPr kumimoji="0" sz="2400" b="1" i="0" u="none" strike="noStrike" kern="1200" cap="none" spc="45" normalizeH="0" baseline="0" noProof="0" dirty="0">
                <a:ln>
                  <a:noFill/>
                </a:ln>
                <a:solidFill>
                  <a:srgbClr val="29B4A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JUNTO </a:t>
            </a:r>
            <a:r>
              <a:rPr kumimoji="0" sz="2400" b="1" i="0" u="none" strike="noStrike" kern="1200" cap="none" spc="30" normalizeH="0" baseline="0" noProof="0" dirty="0">
                <a:ln>
                  <a:noFill/>
                </a:ln>
                <a:solidFill>
                  <a:srgbClr val="29B4A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</a:t>
            </a:r>
            <a:r>
              <a:rPr kumimoji="0" lang="pt-BR" sz="2400" b="1" i="0" u="none" strike="noStrike" kern="1200" cap="none" spc="30" normalizeH="0" baseline="0" noProof="0" dirty="0">
                <a:ln>
                  <a:noFill/>
                </a:ln>
                <a:solidFill>
                  <a:srgbClr val="29B4A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lang="pt-BR" sz="3200" b="1" spc="30" dirty="0">
                <a:solidFill>
                  <a:srgbClr val="29B4AC"/>
                </a:solidFill>
                <a:latin typeface="Calibri"/>
                <a:cs typeface="Calibri"/>
              </a:rPr>
              <a:t>18</a:t>
            </a:r>
            <a:r>
              <a:rPr kumimoji="0" lang="pt-BR" sz="2400" b="1" i="0" u="none" strike="noStrike" kern="1200" cap="none" spc="30" normalizeH="0" baseline="0" noProof="0" dirty="0">
                <a:ln>
                  <a:noFill/>
                </a:ln>
                <a:solidFill>
                  <a:srgbClr val="29B4A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400" b="1" i="0" u="none" strike="noStrike" kern="1200" cap="none" spc="30" normalizeH="0" baseline="0" noProof="0" dirty="0">
                <a:ln>
                  <a:noFill/>
                </a:ln>
                <a:solidFill>
                  <a:srgbClr val="29B4A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ICIATIVAS</a:t>
            </a:r>
            <a:r>
              <a:rPr kumimoji="0" sz="2400" b="1" i="0" u="none" strike="noStrike" kern="1200" cap="none" spc="90" normalizeH="0" baseline="0" noProof="0" dirty="0">
                <a:ln>
                  <a:noFill/>
                </a:ln>
                <a:solidFill>
                  <a:srgbClr val="29B4A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2400" b="1" i="0" u="none" strike="noStrike" kern="1200" cap="none" spc="40" normalizeH="0" baseline="0" noProof="0" dirty="0">
                <a:ln>
                  <a:noFill/>
                </a:ln>
                <a:solidFill>
                  <a:srgbClr val="29B4A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STRATÉGICAS</a:t>
            </a: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2590800" y="8234169"/>
            <a:ext cx="106078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Índice de Realização do PE = Média dos Índices de Realização das 4 Diretrizes Estratégicas.</a:t>
            </a:r>
          </a:p>
        </p:txBody>
      </p:sp>
      <p:graphicFrame>
        <p:nvGraphicFramePr>
          <p:cNvPr id="26" name="Gráfico 25">
            <a:extLst>
              <a:ext uri="{FF2B5EF4-FFF2-40B4-BE49-F238E27FC236}">
                <a16:creationId xmlns:a16="http://schemas.microsoft.com/office/drawing/2014/main" id="{00000000-0008-0000-0200-000006000000}"/>
              </a:ext>
              <a:ext uri="{147F2762-F138-4A5C-976F-8EAC2B608ADB}">
                <a16:predDERef xmlns:a16="http://schemas.microsoft.com/office/drawing/2014/main" pred="{00000000-0008-0000-0200-000007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5117504"/>
              </p:ext>
            </p:extLst>
          </p:nvPr>
        </p:nvGraphicFramePr>
        <p:xfrm>
          <a:off x="2133600" y="2514600"/>
          <a:ext cx="16559410" cy="55671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4" name="CaixaDeTexto 1"/>
          <p:cNvSpPr txBox="1"/>
          <p:nvPr/>
        </p:nvSpPr>
        <p:spPr>
          <a:xfrm>
            <a:off x="13796466" y="6158731"/>
            <a:ext cx="3960440" cy="432048"/>
          </a:xfrm>
          <a:prstGeom prst="rect">
            <a:avLst/>
          </a:prstGeom>
          <a:solidFill>
            <a:srgbClr val="00999B"/>
          </a:solidFill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Índice de Realização </a:t>
            </a: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E 22-26 = </a:t>
            </a:r>
            <a:r>
              <a:rPr lang="pt-BR" sz="1800" dirty="0">
                <a:solidFill>
                  <a:prstClr val="white"/>
                </a:solidFill>
                <a:latin typeface="Calibri"/>
              </a:rPr>
              <a:t>98</a:t>
            </a: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3901101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3"/>
          <p:cNvSpPr/>
          <p:nvPr/>
        </p:nvSpPr>
        <p:spPr>
          <a:xfrm>
            <a:off x="186954" y="98889"/>
            <a:ext cx="17569952" cy="1003606"/>
          </a:xfrm>
          <a:prstGeom prst="rect">
            <a:avLst/>
          </a:prstGeom>
        </p:spPr>
        <p:txBody>
          <a:bodyPr wrap="square" lIns="178564" tIns="89280" rIns="178564" bIns="89280">
            <a:spAutoFit/>
          </a:bodyPr>
          <a:lstStyle/>
          <a:p>
            <a:pPr defTabSz="892850"/>
            <a:r>
              <a:rPr lang="pt-BR" sz="5350" b="1" spc="90" dirty="0">
                <a:solidFill>
                  <a:srgbClr val="005279"/>
                </a:solidFill>
                <a:cs typeface="Calibri"/>
              </a:rPr>
              <a:t>Índice de realização das Iniciativas Estratégicas em 2022:</a:t>
            </a:r>
          </a:p>
        </p:txBody>
      </p:sp>
      <p:sp>
        <p:nvSpPr>
          <p:cNvPr id="20" name="Elipse 19"/>
          <p:cNvSpPr/>
          <p:nvPr/>
        </p:nvSpPr>
        <p:spPr>
          <a:xfrm>
            <a:off x="295557" y="2262367"/>
            <a:ext cx="2945971" cy="956577"/>
          </a:xfrm>
          <a:prstGeom prst="ellipse">
            <a:avLst/>
          </a:prstGeom>
          <a:solidFill>
            <a:srgbClr val="008D94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1 - Gestão </a:t>
            </a:r>
            <a:r>
              <a:rPr kumimoji="0" lang="pt-BR" sz="22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PPs</a:t>
            </a: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 AIPs</a:t>
            </a:r>
          </a:p>
        </p:txBody>
      </p:sp>
      <p:sp>
        <p:nvSpPr>
          <p:cNvPr id="24" name="Elipse 23"/>
          <p:cNvSpPr/>
          <p:nvPr/>
        </p:nvSpPr>
        <p:spPr>
          <a:xfrm>
            <a:off x="280315" y="3736950"/>
            <a:ext cx="2930896" cy="956577"/>
          </a:xfrm>
          <a:prstGeom prst="ellipse">
            <a:avLst/>
          </a:prstGeom>
          <a:solidFill>
            <a:srgbClr val="008D94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2 -Comercialização</a:t>
            </a:r>
          </a:p>
        </p:txBody>
      </p:sp>
      <p:sp>
        <p:nvSpPr>
          <p:cNvPr id="11" name="Elipse 10"/>
          <p:cNvSpPr/>
          <p:nvPr/>
        </p:nvSpPr>
        <p:spPr>
          <a:xfrm>
            <a:off x="153723" y="5330856"/>
            <a:ext cx="3007096" cy="1793854"/>
          </a:xfrm>
          <a:prstGeom prst="ellipse">
            <a:avLst/>
          </a:prstGeom>
          <a:solidFill>
            <a:srgbClr val="008D94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3 – Transformação</a:t>
            </a:r>
          </a:p>
          <a:p>
            <a:pPr algn="ctr">
              <a:defRPr/>
            </a:pP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gital </a:t>
            </a:r>
            <a:r>
              <a:rPr lang="pt-BR" sz="2200" b="1" kern="0" dirty="0">
                <a:solidFill>
                  <a:prstClr val="white"/>
                </a:solidFill>
              </a:rPr>
              <a:t>e Estruturação da PPSA</a:t>
            </a:r>
          </a:p>
        </p:txBody>
      </p:sp>
      <p:sp>
        <p:nvSpPr>
          <p:cNvPr id="28" name="Elipse 27"/>
          <p:cNvSpPr/>
          <p:nvPr/>
        </p:nvSpPr>
        <p:spPr>
          <a:xfrm>
            <a:off x="150988" y="7855489"/>
            <a:ext cx="3104446" cy="849243"/>
          </a:xfrm>
          <a:prstGeom prst="ellipse">
            <a:avLst/>
          </a:prstGeom>
          <a:solidFill>
            <a:srgbClr val="008D94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pt-BR" sz="2200" b="1" kern="0" dirty="0">
                <a:solidFill>
                  <a:prstClr val="white"/>
                </a:solidFill>
                <a:latin typeface="Calibri"/>
              </a:rPr>
              <a:t>D4– Gestão do Conhecimento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8899922" y="10012986"/>
            <a:ext cx="125459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Onde o IR está com tracejado (--), se refere a uma iniciativa planejada para iniciar depois de 2022, que não teve inicio no ano de 2021.</a:t>
            </a:r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id="{70222B55-B707-4EFA-986A-B1C23FC403CA}"/>
              </a:ext>
            </a:extLst>
          </p:cNvPr>
          <p:cNvSpPr/>
          <p:nvPr/>
        </p:nvSpPr>
        <p:spPr>
          <a:xfrm>
            <a:off x="262800" y="9097733"/>
            <a:ext cx="2916286" cy="849244"/>
          </a:xfrm>
          <a:prstGeom prst="ellipse">
            <a:avLst/>
          </a:prstGeom>
          <a:solidFill>
            <a:srgbClr val="008D94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000" b="1" kern="0" dirty="0">
                <a:solidFill>
                  <a:prstClr val="white"/>
                </a:solidFill>
                <a:latin typeface="Calibri"/>
              </a:rPr>
              <a:t>D5– Gestão de soluções técnicas</a:t>
            </a:r>
          </a:p>
        </p:txBody>
      </p:sp>
      <p:pic>
        <p:nvPicPr>
          <p:cNvPr id="38" name="Imagem 37">
            <a:extLst>
              <a:ext uri="{FF2B5EF4-FFF2-40B4-BE49-F238E27FC236}">
                <a16:creationId xmlns:a16="http://schemas.microsoft.com/office/drawing/2014/main" id="{047BBE80-D0DD-4C46-8208-084CC40EC1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33780"/>
            <a:ext cx="20104100" cy="1275570"/>
          </a:xfrm>
          <a:prstGeom prst="rect">
            <a:avLst/>
          </a:prstGeom>
        </p:spPr>
      </p:pic>
      <p:graphicFrame>
        <p:nvGraphicFramePr>
          <p:cNvPr id="19" name="Tabe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9673463"/>
              </p:ext>
            </p:extLst>
          </p:nvPr>
        </p:nvGraphicFramePr>
        <p:xfrm>
          <a:off x="3554814" y="1082696"/>
          <a:ext cx="15426228" cy="9255934"/>
        </p:xfrm>
        <a:graphic>
          <a:graphicData uri="http://schemas.openxmlformats.org/drawingml/2006/table">
            <a:tbl>
              <a:tblPr firstRow="1" bandRow="1"/>
              <a:tblGrid>
                <a:gridCol w="138629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63248">
                  <a:extLst>
                    <a:ext uri="{9D8B030D-6E8A-4147-A177-3AD203B41FA5}">
                      <a16:colId xmlns:a16="http://schemas.microsoft.com/office/drawing/2014/main" val="2924941461"/>
                    </a:ext>
                  </a:extLst>
                </a:gridCol>
              </a:tblGrid>
              <a:tr h="111559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endParaRPr lang="pt-BR" sz="2800" b="1" kern="1200" dirty="0">
                        <a:solidFill>
                          <a:schemeClr val="lt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  <a:p>
                      <a:r>
                        <a:rPr lang="pt-BR" sz="2800" b="1" kern="1200" dirty="0">
                          <a:solidFill>
                            <a:schemeClr val="lt1"/>
                          </a:solidFill>
                          <a:latin typeface="Calibri"/>
                          <a:ea typeface="+mn-ea"/>
                          <a:cs typeface="+mn-cs"/>
                        </a:rPr>
                        <a:t>Iniciativas Estratégicas</a:t>
                      </a:r>
                    </a:p>
                  </a:txBody>
                  <a:tcPr marL="84547" marR="84547" marT="42274" marB="42274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617F"/>
                    </a:solidFill>
                  </a:tcPr>
                </a:tc>
                <a:tc>
                  <a:txBody>
                    <a:bodyPr/>
                    <a:lstStyle>
                      <a:lvl1pPr marL="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pt-BR" sz="2800" b="1" kern="1200" dirty="0">
                          <a:solidFill>
                            <a:schemeClr val="lt1"/>
                          </a:solidFill>
                          <a:latin typeface="Calibri"/>
                          <a:ea typeface="+mn-ea"/>
                          <a:cs typeface="+mn-cs"/>
                        </a:rPr>
                        <a:t>IR 2022</a:t>
                      </a:r>
                    </a:p>
                    <a:p>
                      <a:r>
                        <a:rPr lang="pt-BR" sz="1600" b="0" kern="1200" dirty="0">
                          <a:solidFill>
                            <a:schemeClr val="lt1"/>
                          </a:solidFill>
                          <a:latin typeface="Calibri"/>
                          <a:ea typeface="+mn-ea"/>
                          <a:cs typeface="+mn-cs"/>
                        </a:rPr>
                        <a:t>%realizado/</a:t>
                      </a:r>
                    </a:p>
                    <a:p>
                      <a:r>
                        <a:rPr lang="pt-BR" sz="1600" b="0" kern="1200" dirty="0">
                          <a:solidFill>
                            <a:schemeClr val="lt1"/>
                          </a:solidFill>
                          <a:latin typeface="Calibri"/>
                          <a:ea typeface="+mn-ea"/>
                          <a:cs typeface="+mn-cs"/>
                        </a:rPr>
                        <a:t>%previsto</a:t>
                      </a:r>
                    </a:p>
                  </a:txBody>
                  <a:tcPr marL="84547" marR="84547" marT="42274" marB="4227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61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4033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.1.1 - Estruturar uma carteira de projetos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.1.2 - Estruturar os processos de gestão técnica para a Fase de Produção dos  </a:t>
                      </a:r>
                      <a:r>
                        <a:rPr lang="pt-BR" sz="2400" kern="1200" baseline="0" dirty="0" err="1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CPPs</a:t>
                      </a: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 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.1.3 - Simplificar o processo de aprovação de </a:t>
                      </a:r>
                      <a:r>
                        <a:rPr lang="pt-BR" sz="2400" kern="1200" baseline="0" dirty="0" err="1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ballots</a:t>
                      </a: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 e de elaboração de notas técnicas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.1.1 - Reavaliar modelo de agente comercializador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.1.2 – Construir alternativa de leilão por meio de plataforma eletrônica 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.1.3 - Viabilizar a venda direcionada a parceiros de cada bloco 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.2.1 - Avaliar tecnologia do CTV como alternativa logística ao sistema DP2 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.3.1 - Avaliar desdobramentos do Mercado de Gás Natural e possíveis impactos na comercialização do gás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3.1.1 - Adequar a força de trabalho da PPSA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dirty="0">
                          <a:solidFill>
                            <a:srgbClr val="00B050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3.1.2 - </a:t>
                      </a: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Buscar a sustentabilidade financeira de longo prazo da </a:t>
                      </a:r>
                      <a:r>
                        <a:rPr lang="pt-BR" sz="2400" kern="1200" baseline="0" dirty="0" err="1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Pré</a:t>
                      </a: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-Sal Petróleo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dirty="0">
                          <a:solidFill>
                            <a:srgbClr val="00B050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3.2.1 - Estruturar a gestão de dados técnicos de </a:t>
                      </a:r>
                      <a:r>
                        <a:rPr lang="pt-BR" sz="2400" kern="1200" dirty="0" err="1">
                          <a:solidFill>
                            <a:srgbClr val="00B050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CPPs</a:t>
                      </a:r>
                      <a:r>
                        <a:rPr lang="pt-BR" sz="2400" kern="1200" dirty="0">
                          <a:solidFill>
                            <a:srgbClr val="00B050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 e </a:t>
                      </a:r>
                      <a:r>
                        <a:rPr lang="pt-BR" sz="2400" kern="1200" dirty="0" err="1">
                          <a:solidFill>
                            <a:srgbClr val="00B050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AIPs</a:t>
                      </a:r>
                      <a:endParaRPr lang="pt-BR" sz="2400" kern="1200" dirty="0">
                        <a:solidFill>
                          <a:srgbClr val="00B050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  <a:p>
                      <a:pPr marL="0" indent="0" algn="l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pt-BR" sz="2400" kern="120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3.2.2 - Reforçar a Segurança dos dados e Informações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3.2.3 - Implantar SGPP 2.0 (Renovação de Contrato)</a:t>
                      </a:r>
                    </a:p>
                    <a:p>
                      <a:pPr marL="0" indent="0" algn="l" defTabSz="4572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pt-BR" sz="2400" kern="120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3.2.4 - Implantar ERP (Sistema Integrado de Gestão, </a:t>
                      </a:r>
                      <a:r>
                        <a:rPr lang="pt-BR" sz="2400" i="1" kern="120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Enterprise </a:t>
                      </a:r>
                      <a:r>
                        <a:rPr lang="pt-BR" sz="2400" i="1" kern="1200" baseline="0" dirty="0" err="1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Resource</a:t>
                      </a:r>
                      <a:r>
                        <a:rPr lang="pt-BR" sz="2400" i="1" kern="120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 Planning</a:t>
                      </a:r>
                      <a:r>
                        <a:rPr lang="pt-BR" sz="2400" kern="120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dirty="0">
                          <a:solidFill>
                            <a:srgbClr val="00B050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3.3.1 - Implementar programas de relacionamento com públicos de interesse</a:t>
                      </a:r>
                    </a:p>
                    <a:p>
                      <a:pPr marL="0" indent="0" algn="l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pt-BR" sz="2400" kern="1200" baseline="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dirty="0">
                          <a:solidFill>
                            <a:srgbClr val="00B050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4.1.1 - Promover a retenção do conhecimento já acumulado na PPSA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4.1.2 - Implantar a gestão do conhecimento na PPSA com foco na capacitação de novos funcionários 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pt-BR" sz="2400" kern="1200" dirty="0">
                        <a:solidFill>
                          <a:srgbClr val="00B050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dirty="0">
                          <a:solidFill>
                            <a:srgbClr val="00B050"/>
                          </a:solidFill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5.1.1 - Sistematizar a Gestão Tecnológica na PPSA </a:t>
                      </a:r>
                      <a:endParaRPr lang="pt-BR" sz="2400" kern="1200" noProof="0" dirty="0">
                        <a:solidFill>
                          <a:srgbClr val="00B050"/>
                        </a:solidFill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84547" marR="84547" marT="42274" marB="4227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F5E7"/>
                    </a:solidFill>
                  </a:tcPr>
                </a:tc>
                <a:tc>
                  <a:txBody>
                    <a:bodyPr/>
                    <a:lstStyle>
                      <a:lvl1pPr marL="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eaLnBrk="1" hangingPunct="1">
                        <a:defRPr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00%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00%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00%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00%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--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--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00%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00%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00%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00%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00%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87%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80%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--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00%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pt-BR" sz="2400" kern="1200" baseline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00%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--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pt-BR" sz="2400" kern="1200" baseline="0" dirty="0">
                        <a:solidFill>
                          <a:srgbClr val="00B05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pt-BR" sz="2400" kern="1200" baseline="0" dirty="0">
                          <a:solidFill>
                            <a:srgbClr val="00B05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00%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pt-BR" sz="2400" kern="1200" baseline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84547" marR="84547" marT="42274" marB="4227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F5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21" name="Conector reto 20"/>
          <p:cNvCxnSpPr/>
          <p:nvPr/>
        </p:nvCxnSpPr>
        <p:spPr>
          <a:xfrm>
            <a:off x="1987154" y="3319194"/>
            <a:ext cx="17754600" cy="0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22" name="Conector reto 21"/>
          <p:cNvCxnSpPr/>
          <p:nvPr/>
        </p:nvCxnSpPr>
        <p:spPr>
          <a:xfrm>
            <a:off x="1602170" y="7742907"/>
            <a:ext cx="17754600" cy="0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29" name="Conector reto 28"/>
          <p:cNvCxnSpPr/>
          <p:nvPr/>
        </p:nvCxnSpPr>
        <p:spPr>
          <a:xfrm>
            <a:off x="2349500" y="5150619"/>
            <a:ext cx="17754600" cy="0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26" name="Conector reto 25">
            <a:extLst>
              <a:ext uri="{FF2B5EF4-FFF2-40B4-BE49-F238E27FC236}">
                <a16:creationId xmlns:a16="http://schemas.microsoft.com/office/drawing/2014/main" id="{EFE90A75-B6CE-4D4D-BC66-1EF2632EF1A6}"/>
              </a:ext>
            </a:extLst>
          </p:cNvPr>
          <p:cNvCxnSpPr/>
          <p:nvPr/>
        </p:nvCxnSpPr>
        <p:spPr>
          <a:xfrm>
            <a:off x="1552171" y="8823033"/>
            <a:ext cx="17754600" cy="0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22602989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/>
          <p:cNvSpPr txBox="1">
            <a:spLocks/>
          </p:cNvSpPr>
          <p:nvPr/>
        </p:nvSpPr>
        <p:spPr>
          <a:xfrm>
            <a:off x="604340" y="467709"/>
            <a:ext cx="19170569" cy="14173430"/>
          </a:xfrm>
          <a:prstGeom prst="rect">
            <a:avLst/>
          </a:prstGeom>
        </p:spPr>
        <p:txBody>
          <a:bodyPr vert="horz" wrap="square" lIns="0" tIns="13968" rIns="0" bIns="0" rtlCol="0" anchor="t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565" marR="0" lvl="0" indent="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596" b="1" i="0" u="none" strike="noStrike" kern="1200" cap="none" spc="-74" normalizeH="0" baseline="0" noProof="0" dirty="0">
                <a:ln>
                  <a:noFill/>
                </a:ln>
                <a:solidFill>
                  <a:srgbClr val="2C4272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Principais resultados do PE 22-26</a:t>
            </a:r>
            <a:endParaRPr kumimoji="0" lang="pt-BR" sz="2399" b="1" i="0" u="none" strike="noStrike" kern="1200" cap="none" spc="-74" normalizeH="0" baseline="0" noProof="0" dirty="0">
              <a:ln>
                <a:noFill/>
              </a:ln>
              <a:solidFill>
                <a:srgbClr val="2C4272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  <a:p>
            <a:pPr marL="12565" marR="0" lvl="0" indent="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968" b="1" i="0" u="none" strike="noStrike" kern="1200" cap="none" spc="-74" normalizeH="0" baseline="0" noProof="0" dirty="0">
              <a:ln>
                <a:noFill/>
              </a:ln>
              <a:solidFill>
                <a:srgbClr val="2C4272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  <a:p>
            <a:pPr marL="869105" marR="0" lvl="0" indent="-85654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3545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1ª Diretriz – Aprimorar os processos técnicos e de gestão de contratos de E&amp;P</a:t>
            </a:r>
          </a:p>
          <a:p>
            <a:pPr marL="869105" marR="0" lvl="0" indent="-85654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  <a:p>
            <a:pPr marL="469765" lvl="1" defTabSz="914357">
              <a:spcBef>
                <a:spcPts val="110"/>
              </a:spcBef>
              <a:defRPr/>
            </a:pPr>
            <a:r>
              <a:rPr kumimoji="0" lang="pt-BR" sz="2800" b="0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           Estruturação da </a:t>
            </a:r>
            <a:r>
              <a:rPr kumimoji="0" lang="pt-BR" sz="2800" b="1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carteira de projetos</a:t>
            </a:r>
            <a:r>
              <a:rPr kumimoji="0" lang="pt-BR" sz="2800" b="0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com procedimento de atualização e indicadores</a:t>
            </a:r>
            <a:endParaRPr kumimoji="0" lang="pt-BR" sz="2800" b="0" i="0" u="none" strike="noStrike" kern="1200" cap="none" spc="-74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j-lt"/>
              <a:cs typeface="Calibri"/>
            </a:endParaRPr>
          </a:p>
          <a:p>
            <a:pPr marL="469765" lvl="1" defTabSz="914357">
              <a:spcBef>
                <a:spcPts val="110"/>
              </a:spcBef>
              <a:defRPr/>
            </a:pPr>
            <a:endParaRPr kumimoji="0" lang="pt-BR" sz="2800" b="0" i="0" u="none" strike="noStrike" kern="1200" cap="none" spc="-74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j-lt"/>
              <a:cs typeface="Calibri"/>
            </a:endParaRPr>
          </a:p>
          <a:p>
            <a:pPr marL="469765" lvl="1" defTabSz="914357">
              <a:spcBef>
                <a:spcPts val="110"/>
              </a:spcBef>
              <a:defRPr/>
            </a:pPr>
            <a:r>
              <a:rPr kumimoji="0" lang="pt-BR" sz="2800" b="0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lt"/>
                <a:cs typeface="Calibri"/>
              </a:rPr>
              <a:t>           </a:t>
            </a:r>
            <a:r>
              <a:rPr kumimoji="0" lang="pt-BR" sz="2800" b="0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Estruturação do </a:t>
            </a:r>
            <a:r>
              <a:rPr kumimoji="0" lang="pt-BR" sz="2800" b="1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processo de gestão da produção </a:t>
            </a:r>
            <a:r>
              <a:rPr kumimoji="0" lang="pt-BR" sz="2800" b="0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dos </a:t>
            </a:r>
            <a:r>
              <a:rPr kumimoji="0" lang="pt-BR" sz="2800" b="0" i="0" u="none" strike="noStrike" kern="1200" cap="none" spc="-74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CPPs</a:t>
            </a:r>
            <a:r>
              <a:rPr kumimoji="0" lang="pt-BR" sz="2800" b="0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, com procedimento e indicadores</a:t>
            </a:r>
          </a:p>
          <a:p>
            <a:pPr marL="469765" lvl="1" defTabSz="914357">
              <a:spcBef>
                <a:spcPts val="110"/>
              </a:spcBef>
              <a:defRPr/>
            </a:pPr>
            <a:br>
              <a:rPr kumimoji="0" lang="pt-BR" sz="2800" b="0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lt"/>
                <a:cs typeface="Calibri"/>
              </a:rPr>
            </a:br>
            <a:r>
              <a:rPr kumimoji="0" lang="pt-BR" sz="2800" b="0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lt"/>
                <a:cs typeface="Calibri"/>
              </a:rPr>
              <a:t> </a:t>
            </a:r>
            <a:r>
              <a:rPr kumimoji="0" lang="pt-BR" sz="2800" b="0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          </a:t>
            </a:r>
            <a:r>
              <a:rPr kumimoji="0" lang="pt-BR" sz="2800" b="1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Simplificação do processo </a:t>
            </a:r>
            <a:r>
              <a:rPr kumimoji="0" lang="pt-BR" sz="2800" b="0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de aprovação dos </a:t>
            </a:r>
            <a:r>
              <a:rPr kumimoji="0" lang="pt-BR" sz="2800" b="0" i="0" u="none" strike="noStrike" kern="1200" cap="none" spc="-74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ballots</a:t>
            </a:r>
            <a:r>
              <a:rPr kumimoji="0" lang="pt-BR" sz="2800" b="0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e </a:t>
            </a:r>
            <a:r>
              <a:rPr kumimoji="0" lang="pt-BR" sz="2800" b="0" i="0" u="none" strike="noStrike" kern="1200" cap="none" spc="-74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NTs</a:t>
            </a:r>
            <a:r>
              <a:rPr kumimoji="0" lang="pt-BR" sz="2800" b="0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e do processo de reconhecimento de custos</a:t>
            </a:r>
            <a:endParaRPr kumimoji="0" lang="pt-BR" sz="2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  <a:p>
            <a:pPr marL="869105" marR="0" lvl="0" indent="-85654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3199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pPr marL="869105" marR="0" lvl="0" indent="-85654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3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</a:rPr>
              <a:t>2ª Diretriz – Otimizar o processo de comercialização de petróleo e gás</a:t>
            </a:r>
            <a:endParaRPr kumimoji="0" lang="pt-BR" sz="3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pPr marL="869105" marR="0" lvl="0" indent="-85654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3545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  <a:p>
            <a:pPr marL="469765" lvl="1" defTabSz="914357">
              <a:spcBef>
                <a:spcPts val="110"/>
              </a:spcBef>
              <a:defRPr/>
            </a:pPr>
            <a:r>
              <a:rPr kumimoji="0" lang="pt-BR" sz="3133" b="0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	</a:t>
            </a:r>
            <a:r>
              <a:rPr lang="pt-BR" sz="2800" spc="-74" dirty="0">
                <a:solidFill>
                  <a:srgbClr val="002060"/>
                </a:solidFill>
                <a:latin typeface="Calibri"/>
                <a:cs typeface="Calibri"/>
              </a:rPr>
              <a:t>Criação de </a:t>
            </a:r>
            <a:r>
              <a:rPr lang="pt-BR" sz="2800" b="1" spc="-74" dirty="0">
                <a:solidFill>
                  <a:srgbClr val="002060"/>
                </a:solidFill>
                <a:latin typeface="Calibri"/>
                <a:cs typeface="Calibri"/>
              </a:rPr>
              <a:t>novas alternativas para a comercialização </a:t>
            </a:r>
            <a:r>
              <a:rPr lang="pt-BR" sz="2800" spc="-74" dirty="0">
                <a:solidFill>
                  <a:srgbClr val="002060"/>
                </a:solidFill>
                <a:latin typeface="Calibri"/>
                <a:cs typeface="Calibri"/>
              </a:rPr>
              <a:t>das cargas da União, incluindo cenário de pequenos volumes, aumentando a rentabilidade.</a:t>
            </a:r>
          </a:p>
          <a:p>
            <a:pPr marL="469765" lvl="1" defTabSz="914357">
              <a:spcBef>
                <a:spcPts val="110"/>
              </a:spcBef>
              <a:defRPr/>
            </a:pPr>
            <a:endParaRPr kumimoji="0" lang="pt-BR" sz="2800" b="0" i="0" u="none" strike="noStrike" kern="1200" cap="none" spc="-74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  <a:p>
            <a:pPr marL="469765" lvl="1" defTabSz="914357">
              <a:spcBef>
                <a:spcPts val="110"/>
              </a:spcBef>
              <a:defRPr/>
            </a:pPr>
            <a:r>
              <a:rPr kumimoji="0" lang="pt-BR" sz="2800" b="0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           </a:t>
            </a:r>
            <a:r>
              <a:rPr lang="pt-BR" sz="2800" spc="-74" dirty="0">
                <a:solidFill>
                  <a:srgbClr val="002060"/>
                </a:solidFill>
                <a:latin typeface="Calibri"/>
                <a:cs typeface="Calibri"/>
              </a:rPr>
              <a:t>Acompanhamento do teste de campo do </a:t>
            </a:r>
            <a:r>
              <a:rPr lang="pt-BR" sz="2800" b="1" spc="-74" dirty="0">
                <a:solidFill>
                  <a:srgbClr val="002060"/>
                </a:solidFill>
                <a:latin typeface="Calibri"/>
                <a:cs typeface="Calibri"/>
              </a:rPr>
              <a:t>Cargo </a:t>
            </a:r>
            <a:r>
              <a:rPr lang="pt-BR" sz="2800" b="1" spc="-74" dirty="0" err="1">
                <a:solidFill>
                  <a:srgbClr val="002060"/>
                </a:solidFill>
                <a:latin typeface="Calibri"/>
                <a:cs typeface="Calibri"/>
              </a:rPr>
              <a:t>Transfer</a:t>
            </a:r>
            <a:r>
              <a:rPr lang="pt-BR" sz="2800" b="1" spc="-74" dirty="0">
                <a:solidFill>
                  <a:srgbClr val="002060"/>
                </a:solidFill>
                <a:latin typeface="Calibri"/>
                <a:cs typeface="Calibri"/>
              </a:rPr>
              <a:t> </a:t>
            </a:r>
            <a:r>
              <a:rPr lang="pt-BR" sz="2800" b="1" spc="-74" dirty="0" err="1">
                <a:solidFill>
                  <a:srgbClr val="002060"/>
                </a:solidFill>
                <a:latin typeface="Calibri"/>
                <a:cs typeface="Calibri"/>
              </a:rPr>
              <a:t>Vessel</a:t>
            </a:r>
            <a:r>
              <a:rPr lang="pt-BR" sz="2800" b="1" spc="-74" dirty="0">
                <a:solidFill>
                  <a:srgbClr val="002060"/>
                </a:solidFill>
                <a:latin typeface="Calibri"/>
                <a:cs typeface="Calibri"/>
              </a:rPr>
              <a:t> (CTV) </a:t>
            </a:r>
            <a:r>
              <a:rPr lang="pt-BR" sz="2800" spc="-74" dirty="0">
                <a:solidFill>
                  <a:srgbClr val="002060"/>
                </a:solidFill>
                <a:latin typeface="Calibri"/>
                <a:cs typeface="Calibri"/>
              </a:rPr>
              <a:t>e seus desdobramentos com objetivo de melhorar a logística para as operações de descarga de óleo das unidades produtoras (</a:t>
            </a:r>
            <a:r>
              <a:rPr lang="pt-BR" sz="2800" spc="-74" dirty="0" err="1">
                <a:solidFill>
                  <a:srgbClr val="002060"/>
                </a:solidFill>
                <a:latin typeface="Calibri"/>
                <a:cs typeface="Calibri"/>
              </a:rPr>
              <a:t>FPSOs</a:t>
            </a:r>
            <a:r>
              <a:rPr lang="pt-BR" sz="2800" spc="-74" dirty="0">
                <a:solidFill>
                  <a:srgbClr val="002060"/>
                </a:solidFill>
                <a:latin typeface="Calibri"/>
                <a:cs typeface="Calibri"/>
              </a:rPr>
              <a:t>). </a:t>
            </a:r>
          </a:p>
          <a:p>
            <a:pPr marL="469765" lvl="1" defTabSz="914357">
              <a:spcBef>
                <a:spcPts val="110"/>
              </a:spcBef>
              <a:defRPr/>
            </a:pPr>
            <a:endParaRPr kumimoji="0" lang="pt-BR" sz="2800" b="0" i="0" u="none" strike="noStrike" kern="1200" cap="none" spc="-74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  <a:p>
            <a:pPr marL="469765" lvl="1" defTabSz="914357">
              <a:spcBef>
                <a:spcPts val="110"/>
              </a:spcBef>
              <a:defRPr/>
            </a:pPr>
            <a:r>
              <a:rPr kumimoji="0" lang="pt-BR" sz="2800" b="0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           Renovação dos</a:t>
            </a:r>
            <a:r>
              <a:rPr kumimoji="0" lang="pt-BR" sz="2800" b="1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contratos de gás</a:t>
            </a:r>
            <a:r>
              <a:rPr kumimoji="0" lang="pt-BR" sz="2800" b="0" i="0" u="none" strike="noStrike" kern="1200" cap="none" spc="-74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, refletindo os avanços do Mercado de Gás Natural</a:t>
            </a:r>
          </a:p>
          <a:p>
            <a:pPr marL="12565" marR="0" lvl="0" indent="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133" b="0" i="0" u="none" strike="noStrike" kern="1200" cap="none" spc="-74" normalizeH="0" baseline="0" noProof="0" dirty="0">
              <a:ln>
                <a:noFill/>
              </a:ln>
              <a:solidFill>
                <a:srgbClr val="2C4272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  <a:p>
            <a:pPr marL="869105" marR="0" lvl="0" indent="-85654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3199" b="0" i="0" u="none" strike="noStrike" kern="1200" cap="none" spc="-74" normalizeH="0" baseline="0" noProof="0" dirty="0">
              <a:ln>
                <a:noFill/>
              </a:ln>
              <a:solidFill>
                <a:srgbClr val="2C4272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  <a:p>
            <a:pPr marL="869105" marR="0" lvl="0" indent="-85654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3545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  <a:p>
            <a:pPr marL="12565" marR="0" lvl="0" indent="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599" b="1" i="0" u="none" strike="noStrike" kern="1200" cap="none" spc="-74" normalizeH="0" baseline="0" noProof="0" dirty="0">
              <a:ln>
                <a:noFill/>
              </a:ln>
              <a:solidFill>
                <a:srgbClr val="2C4272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  <a:p>
            <a:pPr marL="12565" marR="0" lvl="0" indent="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599" b="1" i="0" u="none" strike="noStrike" kern="1200" cap="none" spc="-74" normalizeH="0" baseline="0" noProof="0" dirty="0">
                <a:ln>
                  <a:noFill/>
                </a:ln>
                <a:solidFill>
                  <a:srgbClr val="2C4272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</a:t>
            </a:r>
          </a:p>
          <a:p>
            <a:pPr marL="12565" marR="0" lvl="0" indent="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599" b="1" i="0" u="none" strike="noStrike" kern="1200" cap="none" spc="-74" normalizeH="0" baseline="0" noProof="0" dirty="0">
              <a:ln>
                <a:noFill/>
              </a:ln>
              <a:solidFill>
                <a:srgbClr val="2C4272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</p:txBody>
      </p:sp>
      <p:sp>
        <p:nvSpPr>
          <p:cNvPr id="5" name="AutoShape 1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5/z418Mk19Frl+ypvSkp0WA9WLR0rP01I0sCXpatPQsPXUjS4KeFi09S0/dyJKgp0VLz/r21M8o0MbTT3/6U/nUpz4Vze5Pf/qT3HrrrdG+T5mv1J+3tbXf5cJX9wK+C9fneMt//7qs3X4wmvyZp1XKgq/Wyjl9eha0HHzOz02E4yW7nPSkp0WA9WLR0rP01I0sCXpatPQsPXUjS4KeFi09S0/dyJKgp0VLz9JTN7IkfHtazi1btmTveLJMnI0nXct34foab/v+o7Lo6T1pgFlfGCBX1fXVQWImfM0vdZocL+aCdTqcnvS0CLBeLFp6lp66kSVBT4uWnqWnbmRJ0NOipWfpqRtZEvS0aOlZeupGloRvT8u5BdN4WrVqlezduxea+6BBg2TKlClQ1ndo9uzZ0tjYGA07dOhQaWpqSp+Cm+PUqVPT/7xz506pra0V9w1+Luteixcv7vBNfnV1dfLoo4+mv+3PMh/fhetjvPc+PC5zf9EsB4+2RhSjhpwlt18z0MKSdxaZ38Hvfcb0+dU/+F/d5pHxTIMpYY6XpCbvWEtWk570tAnw55nNS0vTUxOyvU9Pm5eWpqcmZHufnjYvLU1PTcj2Pj1tXoVOl+QdT4VG8fH5bkN0tznz0qVLo+EmTpwYNZbcP6c2S081m5YsWSLLli2LGlOuWTV27NiomeY2WU/dzeX+fPDgwR0aUZZ5hHhhPvjbffLCrnfaGY4dkWX/18joUTsfL8STjSd8JRBP/NP0JMfTjSwJelq09Cw9dSNLgp4WLT1LT93IkqCnRUvP0lM3siToadHSs/TUjSwJelq0Cp9l46nwxtAIrrm0YcMGWbt2rbj/vXv37nRTyn1A6pv87r33Xpk3b150V5O7w8k1o9zdUe5OJ3dsvq/QLsznmg5L47P70xwn/vBzWfGTBfnymI9DPNl4wlkRT/zT9CTH040sCXpatPQsPXUjS4KeFi09S0/dyJKgp0VLz9JTN7Ik6GnR0rP01I0sCXpatAqfZeOp8MbQCO6OJfdydzy5u5/GjRvX5TE613TatGlTlzueMu98ggbLEgrpwnzrSKs0PNEs7lE795o4vFrWPPid6A4zXy/Ek40nfDUQT/zT9CTH040sCXpatPQsPXUjS4KeFi09S0/dyJKgp0VLz9JTN7Ik6GnR0rP01I0sCXpatAqfZeOp8MbqCKl9m1KP1uVqPI0aNSq9x9PKlSujO53cHVDTp08Xd/ysWbM63CmlDv7fgVAuzOMn2mTR03tlx9+ORjMbWHW6zL+hVr71zZvYeEKLAciFUi/dTZXzA4rAEKGnAQuI0hNAMkToacACovQEkAwRehqwgCg9ASRDhJ4GLCBKTwDJEKGnActDlI0nD8jaEO6ROXc3U2oT9FyNp8yN0t0jeZmv+vr66PG79evXR/tFWV7uwgzhVXHR56Vi6DXtU2k7ISe2PiLy7htFObV/rfuz6bz+uenvTHmGKUABClCAAhSgAAUoQAEKUCBMAZ9P9MQVZOMprmDM412jaMaMGR0eq8t87C718e5xutQdUe7P3Abkrlnl9nXK3HDcNa1Se0BZTi2EjvCelg/ke7/cJe6uJ/eaevl5MunSmuh/F+P8+KgdXqHFuH742etJzk83siToadHSs/TUjSwJelq09Cw9dSNLgp4WLT1LT93IkqCnRUvP0lM3siRC97RYZMuy8RRXMMbx2ZpOqabSmDFj0o2mzG+1Sw2X2YhK3fkU944nnx3TpC/M1uNtcs+TzbLv0LGIaNgFvWXudYOkskcFG08xarS7Q5NeP+0UOZ4mZHufnjYvLU1PTcj2Pj1tXlqanpqQ7X162ry0ND01Idv79LR5aWl6akK29+lp89LSvj2189HeZ+NJEyrQ++6b6KZOndrl01N3Nblm0pw5c9Lvt7W138XjXu6uJrenU+Zjd64R5V7lusfT8t+/Lmu3H4wMzjytUhZ8tVbO6dMzbeb7wkTG4x1P+MWFeOKfpic5nm5kSdDToqVn6akbWRL0tGjpWXrqRpYEPS1aepaeupElQU+Llp6lp25kSdDTolX4LBtPhTcuiRFK+cLcvv+oLHp6T9p51hcGyFV1fTu4F+P82HjCL41iXD/87PUk56cbWRL0tGjpWXrqRpYEPS1aepaeupElQU+Llp6lp25kSdDToqVn6akbWRKhe1ossmXZeIorGMjxpXqhvPfhcZn7i2Y5eLQ1WolRQ86S268Z2GVVinF+bDzhF08xrh9+9nqS89ONLAl6WrT0LD11I0uCnhYtPUtP3ciSoKdFS8/SUzeyJOhp0dKz9NSNLInQPS0WbDzF1Qr4+FK9UB787T55Ydc70cpU9+4pi75WGz1q1/lVjPNj4wm/oIpx/fCz15Ocn25kSdDToqVn6akbWRL0tGjpWXrqRpYEPS1aepaeupElQU+Llp6lp25kSYTuabFg4ymuVsDHl+KF8lzTYWl8dn96VeZed5EMH9A76yoh8/PdCPI9XpLli3hyPFyAnrgVkqQnooRn6IlbIUl6Ikp4hp64FZKkJ6KEZ+iJWyFJeiJKeIaeuBWSDN0TMciV4aN2cQUDOb7ULpS3jrRKwxPN4h61c6+Jw6tl2hXnd7sayPx8N4J8j5dkqSKeHA8XoCduhSTpiSjhGXriVkiSnogSnqEnboUk6Yko4Rl64lZIkp6IEp6hJ26FJEP3RAzYeIqrVAbHl9KFcvxEmyx6eq/s+NvRaGUGVp0u82+olZ6V7d/sl+2FzM93I8j3eEmWMeLJ8XABeuJWSJKeiBKeoSduhSTpiSjhGXriVkiSnogSnqEnboUk6Yko4Rl64lZIMnRPxCBXhnc8xRUM5PhSulCe+mOLrHz+jUi+skeF/OArQ+Siml45VwKZn+9GkO/xkixVxJPj4QL0xK2QJD0RJTxDT9wKSdITUcIz9MStkCQ9ESU8Q0/cCknSE1HCM/TErZBk6J6IARtPcZXK4PhSuVD2tHwg3/vlLnF3PbnX1MvPk0mX1qgrhMzPdyPI93gqkiGAeBo+To1yPJXIFKCniUsN01MlMgXoaeJSw/RUiUwBepq41DA9VSJTgJ4mLjVMT5XIFKCniUsN+/ZUT0gJ8I6nuIKBHO+7cLONd8eqv8iBd1vzFu338Z7ywJRPZD0emZ/vRpDv8fKGzXIg4snxcAF64lZIkp6IEp6hJ26FJOmJKOEZeuJWSJKeiBKeoSduhSTpiSjhGXriVkgydE/EIFeGjae4goEcXwwXyrSHX4mtufyWS9h4iq2of0Ax1It+lvknOL/87bIdSU96WgRYLxYtPUtP3ciSoKdFS8/SUzeyJOhp0dKz9NSNLAl6WrT0rG9P/YxyJ9h4iisYyPG+CzfbeDN/9qocPdb+LXX5vHqfXikPffPirIci8/N9B5Lv8fIx7e4YxJPj4QL0xK2QJD0RJTxDT9wKSdITUcIz9MStkCQ9ESU8Q0/cCknSE1HCM/TErZBk6J6IQa4MG09xBQM5vpgvlDfe+VAanmiWD1pPRNpjP3m2zBjb3ySPzM93I8j3eCYwJYx4cjxcgJ64FZKkJ6KEZ+iJWyFJeiJKeIaeuBWSpCeihGfoiVshSXoiSniGnrgVkgzdEzFg4ymuUhkcX6wXims2ff9Xu2TfoWPRKrhvr7vnS4OlV88eplVB5ue7EeR7PBMYG0+yYsWKJMlyfhZSn0meDMdLUlOEnvS0CLBeLFp6lp66kSVBT4uWnqWnbmRJ0NOipWfpqRtZEqF7WiyyZXnHU1zBQI4v1gul8dn98lzT4Uj5zNMqZf4NQ+S8s04zqyPz890I8j2eGS3HAYgnx8MF6IlbIUl6Ikp4hp64FZKkJ6KEZ+iJWyFJeiJKeIaeuBWSpCeihGfoiVshydA9EYNcGTae4goGcnwxXijPvHJQ/v13r6eF7xx/oVw2qE9e4sj8fDeCfI+XF1w3ByGeHA8XoCduhSTpiSjhGXriVkiSnogSnqEnboUk6Yko4Rl64lZIkp6IEp6hJ26FJEP3RAzYeIqrVAbHF9uF0vTm+zL/N7vl+Im2SP+Gy/rJjZ89N++VQObnuxHke7y88bIciHhyPFyAnrgVkqQnooRn6IlbIUl6Ikp4hp64FZKkJ6KEZ+iJWyFJeiJKeIaeuBWSDN0TMWDjKa5SGRxfTBfK4fc/knue3CUHj7ZG8sMH9JbvThgklT0q8l4JZH6+G0G+x8sbj42nJOmyfhZSn0meBMdLUpN7PCWrSU962gT488zmpaXpqQnZ3qenzUtL01MTsr1PT5uXlg7dU5u/9j4ftdOEyuT9YrlQ3B1OP1q3V7bvPxrJV/fuKQu+Wit9elXGWglkfr4bQb7HiwXY6WDEk+PhAvTErZAkPRElPENP3ApJ0hNRwjP0xK2QJD0RJTxDT9wKSdITUcIz9MStkGTonohBrgwbT3EFAzm+WC6U1VvflF+/fCBSdXc4ff/Lg2VIvzNiKyPz890I8j1ebMSMD0A8OR4uQE/cCknSE1HCM/TErZAkPRElPENP3ApJ0hNRwjP0xK2QJD0RJTxDT9wKSYbuiRiw8RRXqQyOL4YL5cU9R+T+Z/6a1v72VRfINcOqEtFH5ue7EeR7vEQg//tDEE+OhwvQE7dCkvRElPAMPXErJElPRAnP0BO3QpL0RJTwDD1xKyRJT0QJz9ATt0KSoXsiBmw8xVUqg+NP9YXyxjsfSsMTzfJB64lIe+wnz5YZY/snJo/Mz3cjyPd4iWEK92BJ0tJ9FlKfSY7J8ZLU5Polq0lPetoE+PPM5qWl6akJ2d6np81LS9NTE7K9T0+bl5YO3VObv/Y+H7XThMrk/VN5obhm0/d/tUv2HToWaV9U00vu+dJg6dWzR2L6yPx8N4J8j5cYJhslSVJGn4XUZ5KDcrwkNbl+yWrSk542Af48s3lpaXpqQrb36Wnz0tL01IRs79PT5qWlQ/fU5q+9z8aTJlQm75/KC6Xx2f3yXNPhSPrM0ypl/g1D5LyzTktUHpmf70aQ7/GSBEU8OR4uQE/cCknSE1HCM/TErZAkPRElPENP3ApJ0hNRwjP0xK2QJD0RJTxDT9wKSYbuiRjkyrDxFFcwkONP1YXyzCsH5d9/93pa8c7xF8plg/okrorMz3cjyPd4SaIinhwPF6AnboUk6Yko4Rl64lZIkp6IEp6hJ26FJOmJKOEZeuJWSJKeiBKeoSduhSRD90QM2HiKq1QGx5+KC+UHDzwi83+zW46faIuEb7isn9z42XMLoo3Mz3cjyPd4ScIinhwPF6AnboUk6Yko4Rl64lZIkp6IEp6hJ26FJOmJKOEZeuJWSJKeiBKeoSduhSRD90QM2HiKq1QGx/u+UG769gypGf9dOXi0NdIdPqC3fHfCIKnsUVEQbWR+vhtBvsdLEhbx5Hi4AD1xKyRJT0QJz9ATt0KS9ESU8Aw9cSskSU9ECc/QE7dCkvRElPAMPXErJBm6J2LAxlNcpTI43ueF4u5w+taP14hUDYlkq3v3lAVfrZU+vSoLJo3Mz3cjyPd4SeIinhwPF6AnboUk6Yko4Rl64lZIkp6IEp6hJ26FJOmJKOEZeuJWSJKeiBKeoSduhSRD90QM2HiKq1QGx/u8UFZvfVN+/fKBSNXd4fT9Lw+WIf3OKKgyMj/fjSDf4yUJjHhyPFyAnrgVkqQnooRn6IlbIUl6Ikp4hp64FZKkJ6KEZ+iJWyFJeiJKeIaeuBWSDN0TMWDjKa5SGRzv60J5cc8Ruf+Zv6ZFv33VBXLNsKqCCyPz890I8j1eksiIJ8fDBeiJWyFJeiJKeIaeuBWSpCeihGfoiVshSXoiSniGnrgVkqQnooRn6IlbIcnQPREDNp7iKpXB8T4ulDfe+VAanmiWD1pPRKJjP3m2zBjbv1td342Z0MdLsox91Evm+XK8JFdPhJ70tAiwXixaepaeupElQU+Llp6lp25kSdDToqVn6akbWRL0tGjp2dA9dYHciQr3amtra/9aMb7KVqDQF4prNn3/V7tk36Fj7cbvviEP3/b30qtnDzaewKqr/sH/6jZZ6PXrPDDHAxcNjNEThAJj9AShwBg9QSgwRk8QCozRE4QCY/QEocAYPUEoMEZPEAqM0ROEAmOhe4IM3cbYeIorGMjxhb5QGp/dL881HY60zjytUt79nw/Kikd+klMv9DuQfM8vyVItdL2w0ZXkanX9LK5fsr70pKdFgPVi0dKz9NSNLAl6WrT0LD11I0uCnhYtPUtP3ciSCN3TYpEty8ZTXMFAji/khfLMKwfl33/3elrqzvEXyo/mzpQVK1aw8WSoH97xlLteDJRqtJDXQ7bBOZ66JKYAPU1capieKpEpQE8Tlxqmp0pkCtDTxKWG6akSmQL0NHGpYXqqRKZA6J4mjCxhNp7iCgZyfKEulKY335f5v9ktx0+0P815w2X95MbPngvtMeP7jqDQx0uyVAtVL92dI8dLcvW4x1OymvSkp02AP89sXlqanpqQ7X162ry0ND01Idv79LR5aWl6akK290P3tGl0TbPxFFcwkOMLcaEcfv8juefJXXLwaGukNHxAb/nuhEFS2aOCjScR8d3oSrJUC1Evuc6P4yW5emyUJKtJT3raBPjzzOalpempCdnep6fNS0vTUxOyvU9Pm5eWpqcmZHs/dE+bBhtPcb0SP3727NnS2NgomzdvltGjR6c/f9WqVTJ16tT0P+/cuVNqa2ulublZhg4dGv354sWLpb6+Pp2pq6uTRx99tMPnoCec9IXi7nD60bq9sn3/0egUqnv3lAVfrZU+vSqjf0bG892YCX08tBaQHLJ+yOegGY6HSmE5emJOaIqeqBSWoyfmhKboiUphOXpiTmiKnqgUlqMn5oSm6IlKYTl6Yk5oyrcnel7d5XjHU1zBGMdXVFTIypUrowZTZuNpy5YtMmbMGEk1m5YsWSLLli2TpqYmcY2qsWPHypQpU8Qdn/pCQvfngwcP7tCIspxa0oW7euub8uuXD0Sn4O5w+v6XB8uQfmekTwkZL/RGkO/5WepByyLrp32G5X2OZ9HSs/TUjSwJelq09Cw9dSNLgp4WLT1LT93IkqCnRUvP0lM3siToadHSs/TUjSwJ356Wc8uWZeMprmACx7sGUmbjyTWadu/eLUuXLk1/eipz7733yrx586K7mtwdTq4Z5e6Ocnc6rV27Nu+zSbJwX9xzRO5/5q/pc/n2VRfINcOqOpwbMp7vxkzo4+VdHFkORNaP4+EC9MStkCQ9ESU8Q0/cCknSE1HCM/TErZAkPRElPENP3ApJ0hNRwjP0xK2QZOieiEGuDBtPcQUTOL5z42nixIkybty4Lo/RuabTpk2butzxlHnnU76nk9SF8sY7H0rDE83yQeuJ6FTGfvJsmTG2f5fTQsYLvRHke3751ka245D143i4AD1xKyRJT0QJz9ATt0KS9ESU8Aw9cSskSU9ECc/QE7dCkvRElPAMPXErJBm6J2LAxlNcpQIfb2k8jRo1Kr3Hk3tMz93p5O6Amj59evRo3qxZszrcKYWeehIXims2ff9Xu2TfoWPRsBfV9JJ7vjRYevXswcZTloVg4wmtTmxPMPzT9GQS14M+yskEx7No6Vl66kaWBD0tWnqWnrqRJUFPi5aepaduZEnQ06KlZ+mpG1kS9LRo6dnQPXWB3Ane8RRXMIHjLY0nt7dT6uUeyct8uY3G3eN369evjzYit7zchRL3VXHJV6Ti/EvbP+ajY3Ji68Mi7x/K+2P/te7PpmP/uenvTPnO4dDHi4XDgylAAQpQgAIUoAAFKEABClCgaARWrFhRNOeinQgbT5qQh/c7N57cRuHu1XmPp9Rm4+49twG5e/TO7euUueG4e0wvtQeU5dTjdmifeeWg/PvvXk8Peef4C+WyQX26PQVkPN93BIU+nqUetCyyftpnWN7neBYtPUtP3ciSoKdFS8/SUzeyJOhp0dKz9NSNLAl6WrT0LD11I0uCnhYtPUtP3ciS8O1pObdsWTae4gomcHznxlOub7VLDeeOyfzWO/fnce94yrdj2vTm+zL/N7vl+Im26PRuuKyf3PjZc3PKIBdK6I0g3/NLoFTTH4GsH8fDBeiJWyFJeiJKeIaeuBWSpCeihGfoiVshSXoiSniGnrgVkqQnooRn6IlbIcnQPRGDXBk2nuIK5nl8c3Nzeq+mzI/IbCbNmTMn/VZbW3tTx73cXU1uT6fMx+5cI8q9fO/xdPj9j+SeJ3fJwaOt0fjDB/SW704YJJU92s+nuxdyYfpuzIQ+Xp6lmvUwZP04Hi5AT9wKSdITUcIz9MStkCQ9ESU8Q0/cCknSE1HCM/TErZAkPRElPENP3ApJhu6JGOTKsPEUVzCQ47NdKHes+osceLe9oZTPq9/He8oDUz6Rd+Mi9EaQ7/nls4bdHRP6D1bOL8lq4ebwyWrSk542Af48s3lpaXpqQrb36Wnz0tL01IRs79PT5qWl6akJ2d737Wk7u65pNp7iCgZyfLbCnfbwK7Fnt/yWS9h46kaRjSe8vHz/YOV4+NogSXoiSniGnrgVkqQnooRn6IlbIUl6Ikp4hp64FZKkJ6KEZ+iJWyFJeiJK/jJsPPmzLuqRsl2YM3/2qhw9djzv8+59eqU89M2L2Xhi4ynvGkodyH9xxCbs8AH0pKdFgPVi0dKz9NSNLAl6WrT0LD11I0uCnhYtPUtP3ciSoKdFS8+G7qkL5E6w8RRXMJDj87lQ3DfZPbbtLRn/qSp1M/HOTMh4vu8ICn28JEsVWT+OhwvQE7dCkvRElPAMPXErJElPRAnP0BO3QpL0RJTwDD1xKyRJT0QJz9ATt0KSoXsiBrkybDzFFQzk+GK8UEJvBPmeX5KlWoz1wvnhAlw/3ApJ0hNRwjP0xK2QJD0RJTyhrr9XAAAgAElEQVR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L8YLJfRGkO/5JVnGxVgvnB8uwPXDrZAkPRElPENP3ApJ0hNRwjP0xK2QJD0RJTxDT9wKSdITUcIz9MStkKRvT+Sc2HiKq1QGx/suXGQ8342Z0MdLsoyR9eN4uAA9cSskSU9ECc/QE7dCkvRElPAMPXErJElPRAnP0BO3QpL0RJTwDD1xKyQZuidiwMZTXKUyOL4YL5TQG0G+55dkGRdjvXB+uADXD7dCkvRElPAMPXErJElPRAnP0BO3QpL0RJTwDD1xKyRJT0QJz9ATt0KSvj2Rc2LjKa5SGRzvu3CR8Xw3ZkIfL8kyRtaP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+kUHL9lyxYZM2ZMeuTNmzfL6NGjo3+uqKiI/v+sWbNk6dKl6czEiRNl+vTpMmXKFPMZIxdK6I2Z0OdnLoocByD1wvFwAXriVkiSnogSnqEnboUk6Yko4Rl64lZIkp6IEp6hJ26FJOmJKOEZeuJWSDJ0T8QgV6bCvdra2trifhCPT06gublZhg4dKqlm06pVq2Tq1KnilmnJkiXRQPX19VJXVyfr16+X2tra6M93797doRFlOSPkQgm9MRP6/Cz1oGWRetE+w/I+x7No6Vl66kaWBD0tWnqWnrqRJUFPi5aepaduZEnQ06KlZ+mpG1kS9LRo6Vl66kaWhG9Py7lly7LxFFewAMe7RtOjjz4qa9euTX+6azLde++9smnTJhk7dmx0V5O7w8nd8fTaa69Fdzo1NTXlfTZI4YbemAl9fnkXR5YDkXrheLgAPXErJElPRAnP0BO3QpL0RJTwDD1xKyRJT0QJz9ATt0KS9ESU8Aw9cSskGbonYpArw8ZTXMECHD979uzoUzs/Rjdu3Lj0aJl3PI0fPz5951O+p4NcKKE3ZkKfX761ke04pF44Hi5AT9wKSdITUcIz9MStkCQ9ESU8Q0/cCknSE1HCM/TErZAkPRElPENP3ApJhu6JGLDxFFfJ8/G5Gk+u4ZTa42nx4sXR43XuDih3h9S6detkwoQJHe6UQk8duVBCb8yEPj+0FpAcUi/I56AZjodKYTl6Yk5oip6oFJajJ+aEpuiJSmE5emJOaIqeqBSWoyfmhKboiUphOXpiTmjKtyd6Xt3leMdTXMECHK81nlJDukfyUo/euf/v7pByj9/NmzcvvRE5enpuM/Nzzz0XjTNHAQpQgAIUoAAFKEABClCAAhSgwCkQePPNN81/5z8Fp5keko2nU6nfzdhuo/ANGzZ02ePJ3dWU+mY7twG5e8TO7euUueG4a1ql9oAqwqnxlChAAQpQgAIUoAAFKEABClCAAhQoIwE2nopwsXN9q13qdN1m46lGVOrOpzh3PBUhA0+JAhSgAAUoQAEKUIACFKAABShAgRIXYOOpSBfQNZOmTp2aPrudO3dKbW1t9M/urqbBgweL2+8psxHlMvnu8VSkDDwtClCAAhSgAAUoQAEKUIACFKAABUpYgI2nEl48njoFKEABClCAAhSgAAUoQAEKUIACFChmATaeinl1eG4UoA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WK9NxWrVolTz75pOzcuVO2bduWPsuRI0fK5z73OfnGN74ho0ePTuzsOR49LcXEemG9FHO9IOfmanjgwIGJ/hzNNS7HQ1YFz9ATt0KS9ESU8Aw9cSskuWTJErnxxhultrYWicfOcLzYhB0+gJ70tAiEXi8Wi3yybDzlo1bGx8yePVsaGxsjgQkTJnSRWLduXfRnK1eulClTpsSW4nj0tBQR64X1Usz1gp7bxIkTZdy4cVJfX48eEivH8WLxdTmYnvS0CLBeMK0tW7bI9OnTo//o6V6TJ0+Wu+66S0aMGNHhA5LyfOihh6LPP3TokFRVVUW/086fP19qamo6jFdRUSGbN2+O/R8KOF47Kz2x64H1wnrBKqW4Umw8Fdd6FPXZvPzyy/LpT39aFi9e3O1fiFpaWuSee+6JmlPul4M4/wWI44nQE78kWC+sF7xaRHzXi+XckvqLEzomx0OlsBw9MSc0RU9UCsuVomdzc7O4u+pdE8j9R0/3u1HqjvvO/6EzifmtWbNGJk2aFDWcRo0aJU1NTdHvtO6fN27c2KHZlUSjhOOdbB7SU7+OWS+sF71KijPBxlNxrktRnpW7vfCxxx6TrVu3qudXV1cn3/3ud2XmzJlqtrsAxzspQ0+9jFgvrBe9Sk4mTkW9zJkzBz7FXA1+5EPc/DjeSSl65q4a1ktHH9ZLcdWLu7vj1ltvlZdeeind9HHNKHeXs7vTftasWbJ06dLopJNoPLm7m1xj6/nnn0/f4ZR5x1VmsyuJRgnHO/mUBD31f8OzXlgvepUUZ4KNp+Jcl6I8K/eL6YYNG2Tt2rXq+SXxL36Od5KZnmrJCeuF9aJXScfGk8+fZ6n/QukeD/nMZz6T81SXLVsmM2bMiPWoHcc7SUxP/cpgvbBe9Co5mfBdL7n+/Z5qmqaaT0n8vtTdZ7g7rW677TZZvXp1ekuJJBolHI+eluuP9cJ6sdRLMWXZeCqm1Sjyc0n9opH5X5yynXLqEZa4+zxxvHZdemIXBuuF9YJVSnvKd724Md0vi2effba4zX1zvZL4ixPHS7YRS096Wn6+sF6SrRd3x9PDDz/c7R337mfq1KlTozuf3J1QcffIc3eUDB06VBYsWJB12VP7Sbrfc924cfd44njt+8fSE/spw3phvWCVUnwpNp6Kb02K+ozct9a524/dv9zdho6f+tSn0uf7pz/9KWqSuF8AqqurO9yinO+kOB49LbXDemG9FHO9pJrI2v53STWeOF57NdATuypYL6wXrFI6/kcOHz/PXDPJNYJyjZVqPrmzi/uopPusefPmRXs7dffK/DKTuI0njifRY5OpLy+iZ+4rkfXCerH8rC6mLBtPxbQaJXAu7jbj++67L/qXg9vkMdvLPUqycOHCWBuLpz6X47V/cws9sYuD9cJ6wSqlPeW7XtyY7k6ryy+/vMs3I2Wet2sA9OnTJ5GfoRyv/a5RemJXBuuF9YJVSnvKZ700NDTIpZdemvMbk921fvXVV8sPf/jDWHuMph6py/ateZk+qWaX9iSAZsrx2oXoqVXKyd9d3COfrM/2Ox15/WF1UwwpNp6KYRVK9Bzcv+CPHDnS4exHjx5dsNlwvGRp6UlPiwDrxaLFLAUoQAEKUIACFKAABSiQEmDjibUQhID7ryQDBw6UQja+Ov9XLp/jBbFIRTQJ1ksRLUYJnIrvevFN4nt+vsfz7Rn6eL7Xz/d4oa+f7/mFvn5uc/Mbb7wxkTtUkbXxPR5yTszgAr7Xz/d4uASTiEBo68fGE7LqzJgFkvpFI/Pra91JuMfOst1amtQeHr7HQ2GT8gx9PN/r53u80NfP9/xCXz/f8/M9nu96CX083+vne7zQ18/3/EJfP7ehuft9020rUVVVFT3iN3/+/C6PSSfxrXZu7XyPh9aL77/4lup4vtfP93isl3aBpOqzWNcPXed8c2w85StXpsf5/EXDbSY5cuTI6F/6EyZMiPZjcRubu1fnb8xLovHkezw3D5+eoY/ne/18jxf6+vmeX+jr53t+vsfzXS+hj+d7/XyPF/r6+Z5f6OuX+tZT13AaNWpUtMm429jc/fPGjRujL9dJvZJoPPke71Q0unz/RdvneL7Xz/d4rJeTf+kv1eu9WNoWbDwVy0qUwHn4/kXD/Uvj1ltv7bBpnDsH980X69ati75Zb+nSpZFcEo0n3+P59gx9PN/r53u80NfP9/xCXz/f8/M9nu96CX083+vne7zQ18/3/EJfP3d3k/sPnc8//3z6DqfM/1CY+R8/k/iLqO/xfDcuQh/P9/r5Hi/09fM9P9/rV0wtBjaeimk1ivxcfP+i4W5n3LBhg6xdu7aLjHtvzpw56eZTEo0n3+P59gx9PN/r53u80NfP9/xCXz/f8/M9nu96CX083+vne7zQ18/3/EJfv+5+p0x9+9zq1avTd94n0XjyPZ7vv/iGPp7v9fM9Xujr53t+vtevmNoLbDwV02oU+bmcil80Hn74Ydm6dWtWmdTXrro7n9x/7Rs3bpzU19fnreh+cfM5nm/P0MfzvX6+xwt9/XzPL/T18z0/3+P5rpfQx/O9fr7HC339fM8v9PVzfxEdOnSoLFiwIOvvlO7O+8bGxqj55L7OffPmzbG+3Mb3eL7/4hv6eL7Xz/d4oa+f7/n5Xr+8/2JcgAPZeCoAaqgf6fsXDddMcv/id8/V19bW5mw+uTcXL14cq/HkezzfnqGP53v9fI8X+vr5nl/o6+d7fr7H810voY/ne/18jxf6+vmeX+jr5/7D5rx586K9nbp7pZpP7v24jSff4/n+i2/o4/leP9/jhb5+vufne/2KqS/BxlMxrUaRn4vvXzQcR0NDg1x66aXRt4l093r55Zfl6quvlh/+8Icyc+bMWIo+x/PtGfp4rBeR1F2ApdiI9V2fvusl9PmF7ul7/XyP53v9fI/n2zP08UJfv9Qjddm+RTnzl8zUv3NfeumlDhuOW38R9T2e77/4hj6e7/XzPV7o6+d7fr7Xz/rzqJB5Np4KqRvgZ/tszATI12VKvj1DHM/9AHevmpoaLyXje7zMSYW4fqdyfl4KJmMQ3+vne36+x/PtGeJ4vn+e+R7vVP58CbFefF/jp3L9TuVcCz2277/4hjqeazB390RGIdbQ93ipOYS6fqdqfoWojVL5TDaeSmWlTuF5+v5FkeMlu9ihe7q9LRYtWhTdFfelL31Jrr/++mQBO32a7/FCXz/OL9lypSc9LQK+f575Ho/Xg6Ua9Gzonr7/Ys/x9JqzJHx7ur2B3OOYkydPln/8x3+MddcbMk/f4/n25HhIFZR2ho2n0l4/L2fv+xdFjpfssobu6f5F9cgjj4j7lhm3H1hVVVVBm1C+xwt9/Tg/Xu8WAdaLRUvP+v555ns81oteA5ZE6J6+/2LP8SzVp2d9e27ZskVWrFgRbXNw6NChaF/aQjahfI/n25Pj6TVe6gk2nkp9BT2cv+9fFDlesosaumemltvvy22y6uuXAB/jhb5+nB+vd4sA68WiZcv6+Hnm++c168VWA1o6dE/ff7HneFrF2d737Zl5dmvWrJH/+I//iP4jqHuNHDlSbrnlFrn22msL8jiej/F8e3I8W72XYpqNp1JctVN4ziH+Yur7F2GO5+eWZPcv5d/85jddmlA333xzwX4JKPR4vP6S/eFHT3paBEKvl85/iSr0zzPf44W+fpyf5WrWsz7+Yh9646Kc5peaq3sc9ZlnnpEnn3yySxPqxhtvTHw/Ul/j8XrQf2ZYEr49LedWyCwbT4XUDfyzQ/yLve9fhDneZClUIyj0X3h4/SX7A5ae9LQIhF4v/PlpqQY9G3q9hDw/X3+xD71xUS7zy/xpkKqdH//4x7Jt27boLfco3g033BDdCZX0l+L4GI/XQ7JfZOTbU/+3VWETbDwV1rdsPt1355bjJVtaoXtqv/Dcf//9Mnr06GRRRaS7f6EkPV7o68f5JVua9KRnPgK+fp75/nnN6yGfauj+mJA9ffzFPvTGRTnNL3Ou7jFVdyfUww8/3KEJtXDhwoLche9jPF4PhWlC+WpUJvuTH/s0Np4wJ6ZAgVB/MfX9izDHK0wjqLtfeNxz+DNnzgSrPL9Y5r+gCzUer7/81qa7o+hJT4tA6PXCn5+WatCzoddL6PPz8Rf70BsX5TS/znN9/PHHZdmyZfKLX/zi/2/vbF6uqr44fvoDJBNHJSG9DAIj0XJgNUiofmhIg4w0CaHozQg0tKwcWVmIBYFlUiCRBr1MRKkc6CAQKoqgwkEGotFIyugP6Mf3yHo6nufc83LP2uve+9zPmWTPPWevvT977XX2WXvttZOfhiddTS2P8dBs87vcEc2zS9363IvjqQ89nq0l4PmhrQF45ZVX1oalespTWadPn66NgplkeW1U17N94yivTZ2GvUcJEufNm5d8MlFXv0nuv+jx3qaf4dmG0qV7sJ//RTtq5TKVo3mUjqD22tD9Tuxnv4UQ7Kfv+FPurFtuuaVWkT0/7FXWP//8UytzkuW1sQie7RtHeW3qNMw99u69+uqrk0RRta3TJPdf9HhvwzSaZ5s6DXsPjqdhyfFcKAEd4fv8888n3RtdbJDkffrpp9l3330X0s5oeSGNmjIheuFv3rx5Jpmkmn/VVVdlTz31VLZ161bXvfw6te+nn37KXn311UrKDz30UPbMM8+4bR+Mlhc93jXR+Oqrr/J8Y1U5F1566aXs5ptvzsR1Eq9ontH2LFreJOrAuNcZ++lnr6PH+1y3nzri/dtvv83t/3333ZetXr066XCSvOXLlw98v3sLj5bnXX/KyzKNQS1wWB4pMbn++uuzbdu2uUfz182H5CB5+umns0OHDrnNeaPlRY93bU0+f/78wH5Sfd54441G5/ekjAMcT5PSU2NYT00UFbr5999/V9Zu5cqVbh++5u2VM0iGVR/0KScB7733XrZnz57szJkzIeRTy9NLaenSpdn+/ftz42YT07rGydBt377drf0p9aVNe8oN8W7fbbfdluumHE2LFy/OxZ09ezZ79913s3vvvTf78ssv3ViqvSdOnBhYpl5Uq1atcuu/aHnR4930R3Zl9+7dsyYA3jylCCnHQ1nRonmmtmfl9qWWh/2cbbqwn+3NOfbT930UbT8VgffFF1/ki0q//fZb/kGvBNEPPvhgko9BzW0XLFiQvfPOO+2VrMedqeXJPj/55JPZjz/+mPPS+1QLPXXX119/7fb9IDn2DhwkU6fNXXfddUNRbNOecsGe7VPbbr311lyE5p/aHaJLc0Rx9rbVTfOhK664IvNsX7S86PFu+iO7cvDgwVl6781zKCV3fAjHkyPMaSpKH00aLEXvern95uTw5mL7Xk+ePJlPBCyqxPt0NDkSFP2gl/+wL6QubU8pz1Yhnn322Xy1Tob11KlTtdXzdBym1pc27Sk31rN9WrFYs2bNzMSqKMs+Wm3S1UUnqhwIf/zxR3b48OE8Gk9JysvXL7/8kk/yPMaf9CZSXhWbiPFuETMag+YoLK4wNU18uvZp6vFQV58InpKf0p5VtS+lPOznbOLYz+ZRj/28tD1tLtlPi+6yRVCLKpHjwuuEMnMkpIiWHvSOleMilTzNj95+++2ZubQiqM+dO1c7gPo4gsoFq8/uuuuu7K+//hoos8/8rE17yoI926eIIH0LffPNN7N0UE6/HTt2ZH/++WezwWq4Qxy1BXTLli35+33Dhg2zntDcVHOoPjyt0Gh5Vc2PGO+yj/Pnz88uXryYOwo1Dnft2jXTlzieeqsuBcwFAjK069evz44dO5Y87LiOlz7gZGzlUHn88cfdIjzUPnme61ZlPFcRouVF6+C46EuqdjetaOslvW7dut762TayS5NIRVj1nQhHy2vqn1Tjvdh/cmJqYiWn+osvvphvk3z44YddI8jGZTyk4hltz6LlNemp9+/joi/e7bLysJ8+9rqpf1KN92m1n+bE14f9kSNH3CJ05Eg4fvx47cKuZ0RJtLwmPfX+XVu/xDMiibd33duUV+fY1ZhfuHChSwRS28guOU48ovWi5TWxTjXei/2nd730VZdF3+N4auoZfp8KAk0TxdQQyqelKOrpo48+cnOCtYmg8VzxjZaXun/K5Y9aX1K3tynHjNeKb5sVdM+k5tHyBvVT6vFepZ/62+uvv55XSdsePB3box4PqXlG27NoeantCfbzcgLYz34al3q8T5v9LJ82pagnOTa8IuPbRNB4RsxEy+unzd2f9rIf3SXHPNGUo8vLcdEmAskzqXm0vEG9lXq8l/VT9nrnzp155JgWkbUI6ulojtHKwVLYajfqHphQ+Qqd3bhxY/brr7/2jqpoi2DQ0ZL333//xCb9bdv2FPfJqH/yySfZ999/X1n8pk2b3LhG60v0h2jddjr7zTM6UDx//vnn3hFUbfUqWp7qFTneBzmCVAdFPSmM3TPCMXo8RPNsq1eTfB/20y+HI/bTfyRgP32Z2ni3PE+WZ1Tbje644w5fYVNQmt6BR48ezd/zVZdnMmVFdGme65lns66Loh15luNw0FY7pV64cOGC27ea5ktLlixxW+hvUvdoebnbwKcAABX8SURBVKpP5Hgf5BgtRt/jeGrSEn6fCgIaLFrhKe5FTdVwS06o8uUBfu6557K7777bzZCmqve4liuP+o033pjveVfia53YoqiOG264If+3VvCUP8hzQhWpL01bxEyHPE8ps7DgquTikhd1QuK46lyXeo3beNckZNGiRa72JnI8jBvPLrowjvdiPy+9g7Gf46idWTZu433S7af0XA4nXUoq/sgjj4R9dI+nhvWrlT6o77zzzjw/64oVK/KUFpojKTWA/i3Gr732mlsEmdnrqoND+rWk+ummLWKac3s61qx9qk1VcnEtng06ATlF+ye9zHEb7xovnt9io+4fIp5G3QMTKl8e/b1799buQfeMEJA8nZ4nZ5NXOHMT+sgVbdWlGF1hdbNVNW/nniUctIi1osfdojEU3unFOlpfBvWtHdmt31Unz0tlv/nmm3l4bDGJpSZR+/btc3VaWL2LJ7VoMqMTY1JM8qMjyEYx3m0M6qROXSl5Ro+HUfDEfmI/u9hX7KdfBNkoxvtctp9ayLr22mtDFzsjI4LUd8XoChu3WoD03GJu5erDXomULQKpuBXM8k15LtRZ8m2dSDjoiogo0XztnnvuybZt2zbr5NwutrLq3kHfD3JEpXI6FeeFOtxJjsMUTpLoCLJRjHcbg3boU0qefXWt7/M4nvoSnNLnoz9Eoz+0o1e0i/LkqFi2bFne5B9++CFfafNKFm0cy1uLyqGeSob92GOPub0cR6UvVcPTWHsmAy3Lsb3pKVcpylFd5uhtyjc1jMkaRQRZsZ7SH8/cVVUMInmOajxEOSqxn9jPYeyMPYP97ENv9rPYTx+eUR/a0RFBRXlyCi1evDgHZif3eSWLtl4ozzeLjidLhu1xKprJi3Zc1GmbWK9duzZpmpKI8V6O6jLHXVO+qWFGYnQEWbGO0sfTp09nnrmrqhhE8hymDzyfwfHkSZOykhKI/DCMjggyeSdPnsyjVoqX5b/4+OOP3bY2SN77778/s/1LpyjouFWLAvI6hS2pQvQo3DvZpCXhrnM0eU4GTCfkbNLKSPHUtQjHmqFPHUG2efPmmS0OkqkIwBRHPo8Lzx4q3fgo9hP72agkLW/AfrYE1XAb9tOHY0QpkR+G0RFBkqdooKqTcG3bpn73ioCXPEVTWSSOUjxYFJDnKWwRejGMDK9k3yZbc8s6x4i388S+V3Rynfqy2B5zYv7777/DoOn0TMoIMs0JtfiunR92SWdTRKuNC89O8HvcjOOpBzwejSMQ/WEYHRHUdMpViom+jKhNJuy4bu0F16X99Z7JsOM0pVmSvRj379/vFtFl/ffss8/mSb/LiRflyLMXmMd++3JUU1k/vPWljmoqR5cxq8qZpW1wnolCx4lnswZ3vwP7+b9s1apVbsn4NeHFfmI/u4/E2U9gPz0opi0j+sMwOiKoab7g7SjRfPPll1/Ozpw5k3ecFj71txdeeGEmyt8zGXZa7ehWui0AeUZ0WZTRzTffnJ07d24mTYBqpneVdkxY+gePeX05qqmsH976Ukc4RQSZMZPcqpxZnmlkJGOceHbT5uHuxvE0HDeeKmT9jzgVLfrDMDoiqM542sTUVhe8lE/73vWisgSxevkrP5EZW8nzuqK3FhWTq1a1IcXWxeeff/4yUeYcMUeXXvjnz5/PdMJI39XDNo7RdevWuX1oN+lB08S16fny78pvsWbNmqxqclZ3AlZXOXb/KHhG5kDCft6YYT/bjw7s520Z9rO9vsx1+xn9YRgdEVS38Gnzl75zlqI2WaTfjh078gh//b8Y2+KcZ3S/5EZvtSsmp64aRSm2Liope/Eqpl44cOBAdvDgwezw4cPZ8ePHZxx+7Uf45Xe2cYxG5MyyWnk7uiwn2KBTAqW32iHidY0bT692DSoHx1NqwnO0/OgcHtETm1GsaMvxI7mHDh2aSUQtzjt37sz/7hnhMUgtJU+XkgR6XtE5guS4ePvtty9rwvz58/PcWVdeeWX2wAMPuLbR2mcv26KzSRFQypVgyTKLYeXDMi47ZoovLnPMeKxstalfygiyQTrvvRU0mif20z+iEvvpd8oc9nNpWMQv9rPNW+bye6LtZ/SHYXREkDl+lPi6mIha807lHI1ywkqe13a+osZE5wiy75ViHdQu5c5SknrP00AlQ+1T9JicSpJj81FFjSkNw/Lly/N+te+avtFWZcdM0fFjixZREWupIsgGRUin2Ao6Tjy7W+PuT+B46s6MJ7JLx/XK6xt1Klr0h6E6OWVEUJMjpqxkitDxPr56HBQ5ZY6LyPZVrRjaZFX1OHHixIzj0Cs6SM4XrUJqEqMJhxxammAoak3bgDxPhRlFBETRWVfuSy+GxXKjeWI/h4+oxH5e0lzs5/BWPnq8K9J10JUiAhf76XeqZPSHYeqIoCZHTFlPFb2tCJpy/tHhR994PJkyR1BkC6vmQ+YMeuWVVy7bZu4RHWRb0RYsWJA7JpWaQ1FcujT/9EgnUeQ3iggyc9ZV9aMHw2K50TwjdXMAvyuu+DciC9ioW4p8VwJtIpA8T0VT5SMnioNgeUUEtdl6Vq7DypV+xy2rbEXGyKEgo1d1bdq0yX1lpkqOV44LMb3pppvySCZLplin9J6npInjnj17Lgthtsimv//+O4njadDx45oA7Nq1yzWiKzoCom47XaqIrkie2M9+EZXYz/8sG/ZzuKlN5HjHfvq+j6Lt57h8GHpFBLXZelYeVYoS94xG0pj48MMPs4sXL1YO4ChHl0eOIJtv2uEydthMnWXyPCVNjhk5gSw9RjGySSkgitE7Xk4TyZCDSadu26XDX5Sna/v27cMZ5QFPRUeQ2Xx+0FY7LSJ4R3RF8nTtnCEKI+JpCGg8ciniKfpUtMiJ4lzv42LCQa1mjdLxJNl9I1hsu0JxX3s559KgPlX7i9sbh+l747lixYr8Jf/DDz/kL2TlKtDe+m+//TbTiYW6li7138ZhzkPPieEwHDyfsVXZquTiihDwjOgq1zs1T+ynp6bEl4X9/I859jNe/9pIxH765jicpg/DNvrV5x7bwSBHheZMVVeU40my+zpjyqkWukSUeUQHGU+bKynaUdHwR44cydauXZtHwCttwWeffZbnGPV2mmgxcNGiRa6LnX30q++ztpijcqqSi3v0WV0d5xrPcltxPPXV0Cl9fhQ5kIqoU38YSta4RASlUDG9KF9//fU8meOonRUeOS70ovjggw9mTvNQ35WTLVZxVDSSwoQ9TrjTy1+n2umFrxe98iUo7FiTK/3bVob0/7ZFtU/fqo2K2rL+M31V+Y8++mjSflWfeUaMVXEY5GhWaPe+ffsmepKD/cyyqIjKPmNs0LPYz0tksJ/DaRf2czhu9tSo7WfEh+G4RAT166nqp+WY0dV3wc+jbh45gmy+qXmXIu7Vd8rt2XTZAmXfnEuSY+8knV5ni8maA2uRTpclbvc6Ebi4w0Dlm77edddd7jlUixwtuswzYqyqnwY5muWIKuZBa+pjfp9NAMcTWjE0gZQ5kBQKrGSxdnKAjNzvv/8esvVLQEaxoh19ylUx79DQStDywegcQS2rld/WN9qqTlbRQWrh7R4h6zbxtmTmxeNfrT4ezq3yC3/z5s2zQqv1It66dWtSR5DGxj///JNZKHuX/q26dxy2amE/fbfyYj+/TDoGB4057Gc7a2R5e8pbU7Cf7fiV70ppP23uqXe2Lv1XER1e75+mFo8iIkgyjx49OjD1gmcEUkqbUcU2OkdQU/8Wf+8bbVUnyxykukfRTro8Dtax7zObY5q+asFVC69ezq1i29QWpW8xB5p+k7xt27ZlTzzxRBfkne/1XigYh62unSE4PoDjyREmRV1Kdqqr76lo5T38dce9puAevaIdfUqLOSq0/SsiYWR0josuOqG6XXPNNSEcutSr7l7pZzF5rOmrJgK6brzR//h45VjTS79q61uKiYYXq6pyuianVvsiInSwn8P1OvbT95TOLr2A/WxHC/vp62iuou5lP8uOkWhHSXREkEWd29Y3i5TRPF7/tgTSXtHxFh1elUOn3Wjqdld0jqAutdOirIczqIvMvvdKP4vJt01ftZ3PdEkOKC99KS6sVm19sxQbfdsV9XyXrZg2Jj0dv1HtHCQHx9Ooe2CC5Ecmb5ZHeP369Xnyuttvvz1fiVFOl7feemsgMc/Qy2hHV/QpgYJoqxZKBlh16WM7wik1QUOgtqrRERdFx5MSmWtyaCHA3hPl8qmSRRB1icD79K0+IrRKp+08VZd3sn0xmz9//mXb+OyYaX00WuLOYduE/RyWXPNz2M9mRuN+B/bzR9f3LfZz3tA8FfGk+ZHmRnrPbNmyJT/cZsOGDQOHkR1s4jHOvN/fTXVSRJCSfMtxoKsYhaPIMp2a651TUYxV5rp16yqrZ9vWmurO75cIREesmePJou+PHTuWrV69epb+ePRP+VTJYpn27rfdMR7yVIbaZVFiVWV67Fywcm3hrJyYXe9EbV3U3FNjdK5cOJ7mSk8mbscokjd38Qqr+Z5e7+iIoOhTWsSriW9fnpEf2onVv7H46IgLc/bIMauVJW3fKK4w2Yl6XiHITY5YTco1gfQ6zcQcPsWw6nIneOTlsjI1adu4cWNl7i2PU8Own41DqNcN2M8sec61Xh3U8DD2E/tZpyLR9lPzP+Vl1Du17WXb3tveX3dfdERQ2dFVdDxpbC5cuDDzyENkbW7Dtw/PUZ8y56EDXcqIjlgzZ48cJVoAVV6pM2fO5FUunqjntXBd54g1/eyjL2XW5vBRuwZdnuNBjrXvv/9+xvFblOlx6mIXXYq4F8dTBOU5IGNUyZvtBXL48OHGiCfPFSd1WWREUPQpVxZRJueSVvSqrj48oyeKox5io4i40MtKidEViltcEUkR6lze2lfm7b1Ca/pZXEVL2cdNjrW+7cN+zu49z4hK7Od/fD1OmUs51qrKxn7+77Ijz/vyx35eItg3+b0+ov/4449WEU/e+Z8iI4IUTaF8ORYxXVy4SvFhbxFlmrcod1bV1YfnqE+Z6zt+uz4fHbEmnXj44YfzbZjSm88//3wmulDsDxw4MOOI6tqWqvvLW/vK93jnyZJ+Ksqv2C6Pdgwqo2l+6d2+lG1pUzaOpzaUuKcXgaZB1aZwOyXCK6KijczUEUHFOkSf0tLkSGjDp+6eUX1o9633sM+PIuJiUF2lS0rE7bXaJDl12+nsN08nUZMjaNh+GvScfahVrWLZ6tfu3buTJ7EcNOlatWpVr2gy7Odrmbd+Fre6eusj9vNyR4wiKpVY1iuCs66/sJ/dtXmu20+9j5YsWTKzlag7oW5PpI4IKtdG/ffyyy/POAuKWw3t5LULFy70zt1qcpscCd1ozb57HE6Z69uGLs9HR6zV1a182nKXdgy6VwsTe/bsyapygtnBRd762XfO1aXd5uiqal+dbe0iY5zuxfE0Tr0xR+syiclHU0cEVXV1ylNayvKiQ7m7qLaHo7KLPI97oyMuPOrctQxzxFYlF9eRvZ45IOq2vnWtd5v7i1v7lCtr2bJl+WNnz57NIx91eZ8S2KZeugf72Y4U9vMSJ+xnO32Jvgv7+aub46JL302i/UwdEVTmZycu7tixI1+wKm91//jjj11zzMhWaxujvVu79GfqeycxuiQ6Yi11H1Tppw7M0VWVXFwpJyxaz6NudVvfPMovl2GLm/q7+nLx4sX5Leb0nbTDe5oY4XhqIsTvU0kgdURQW6hep7RUydNEWKdO7Nq1ayQTwkEMJnGiGB2x1lZ/PO+TLr755pvZu+++m+/pt0uOmn379rnrULR+qn07d+7MJ8Pl9tmE3JPnXC4L+zm63sV+jo59nWTs5y3j2TFjWKvUEUFtm6x5jdfJZEWZltNtVFHEde2fxFPmoiPW2uqP533SRTmYlM/ULqWZkCPK0+mkskehn3I+aTyU2ydH1Lh9o/XtVxxPfQny/JwkMM4RQR7A9aLau3dvVpe8uW9ycY96TlIZkREXo+ail6S28/XJw1DXBvRz1D3cTz720/ewi369MRlPYz/9+gn76cdyFCWNc0SQBw87pawuebtnsmiPOo9zGdERa6NmoTym8+YNf2plU/3RzyZC/X7H8dSPH0/PYQLREReRKGW4T506VSvS+7j6yPaNi6yUEWvj0sYU9UA/U1CNLRP7uTKZYza2J0cnDfs5HHvs53DcxuWpUURcRLZdjtFz587VivQ8rj6ybeMkK1XE2ji1MUVd0M8UVP8rE8dTWr6UPqEEWDGc0I6j2hCAwMgJYD9H3gVUAAIQmFACRFxMaMdRbQhAoJEAjqdGRNwwjQRYMZzGXqfNEICABwHspwdFyoAABKaRABEX09jrtBkC00EAx9N09DOthAAEIAABCEAAAhCAAAQgAAEIQAAC4QRwPIUjRyAEIAABCEAAAhCAAAQgAAEIQAACEJgOAjiepqOfaSUEIAABCEAAAhCAAAQgAAEIQAACEAgngOMpHDkCIQABCEAAAhCAAAQgAAEIQAACEIDAdBDA8TQd/UwrIQABCEAAAhCAAAQgAAEIQAACEIBAOAEcT+HIEQgBCEAAAhCAAAQgAAEIQAACEIAABKaDAI6n6ehnWgkBCEAAAhCAAAQgAAEIQAACEIAABMIJ4HgKR45ACEAAAhCAAAQgAAEIQAACEIAABCAwHQRwPE1HP9NKCEAAAhCAAAQgAAEIQAACEIAABCAQTgDHUzhyBEIAAhCAAAQgAAEIQAACEIAABCAAgekggONpOvqZVkIAAhCAAAQgAAEIQAACEIAABCAAgXACOJ7CkSMQAhCAAAQgAAEIQAACEIAABCAAAQhMBwEcT9PRz7QSAhCAAAQgAAEIQAACEIAABCAAAQiEE8DxFI4cgRCAAAQgAAEIQAACEIAABCAAAQhAYDoI4Hiajn6mlRCAAAQgAAEIQAACEIAABCAAAQhAIJwAjqdw5AiEAAQgAAEIQAACEIAABCAAAQhAAALTQQDH03T0M62EAAQgAAEIQAACEIAABCAAAQhAAALhBHA8hSNHIAQgAAEIQAACEIAABCAAAQhAAAI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yB1P4VIRCAEIQAACEIAABCAAAQhAAAIQgAAEIDAVBP4PSUvMkZPYWOAAAAAASUVORK5CYII="/>
          <p:cNvSpPr>
            <a:spLocks noChangeAspect="1" noChangeArrowheads="1"/>
          </p:cNvSpPr>
          <p:nvPr/>
        </p:nvSpPr>
        <p:spPr bwMode="auto">
          <a:xfrm>
            <a:off x="706" y="398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AutoShape 2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5/z418Mk19Frl+ypvSkp0WA9WLR0rP01I0sCXpatPQsPXUjS4KeFi09S0/dyJKgp0VLz/r21M8o0MbTT3/6U/nUpz4Vze5Pf/qT3HrrrdG+T5mv1J+3tbXf5cJX9wK+C9fneMt//7qs3X4wmvyZp1XKgq/Wyjl9eha0HHzOz02E4yW7nPSkp0WA9WLR0rP01I0sCXpatPQsPXUjS4KeFi09S0/dyJKgp0VLz9JTN7IkfHtazi1btmTveLJMnI0nXct34foab/v+o7Lo6T1pgFlfGCBX1fXVQWImfM0vdZocL+aCdTqcnvS0CLBeLFp6lp66kSVBT4uWnqWnbmRJ0NOipWfpqRtZEvS0aOlZeupGloRvT8u5BdN4WrVqlezduxea+6BBg2TKlClQ1ndo9uzZ0tjYGA07dOhQaWpqSp+Cm+PUqVPT/7xz506pra0V9w1+Luteixcv7vBNfnV1dfLoo4+mv+3PMh/fhetjvPc+PC5zf9EsB4+2RhSjhpwlt18z0MKSdxaZ38Hvfcb0+dU/+F/d5pHxTIMpYY6XpCbvWEtWk570tAnw55nNS0vTUxOyvU9Pm5eWpqcmZHufnjYvLU1PTcj2Pj1tXoVOl+QdT4VG8fH5bkN0tznz0qVLo+EmTpwYNZbcP6c2S081m5YsWSLLli2LGlOuWTV27NiomeY2WU/dzeX+fPDgwR0aUZZ5hHhhPvjbffLCrnfaGY4dkWX/18joUTsfL8STjSd8JRBP/NP0JMfTjSwJelq09Cw9dSNLgp4WLT1LT93IkqCnRUvP0lM3siToadHSs/TUjSwJelq0Cp9l46nwxtAIrrm0YcMGWbt2rbj/vXv37nRTyn1A6pv87r33Xpk3b150V5O7w8k1o9zdUe5OJ3dsvq/QLsznmg5L47P70xwn/vBzWfGTBfnymI9DPNl4wlkRT/zT9CTH040sCXpatPQsPXUjS4KeFi09S0/dyJKgp0VLz9JTN7Ik6GnR0rP01I0sCXpatAqfZeOp8MbQCO6OJfdydzy5u5/GjRvX5TE613TatGlTlzueMu98ggbLEgrpwnzrSKs0PNEs7lE795o4vFrWPPid6A4zXy/Ek40nfDUQT/zT9CTH040sCXpatPQsPXUjS4KeFi09S0/dyJKgp0VLz9JTN7Ik6GnR0rP01I0sCXpatAqfZeOp8MbqCKl9m1KP1uVqPI0aNSq9x9PKlSujO53cHVDTp08Xd/ysWbM63CmlDv7fgVAuzOMn2mTR03tlx9+ORjMbWHW6zL+hVr71zZvYeEKLAciFUi/dTZXzA4rAEKGnAQuI0hNAMkToacACovQEkAwRehqwgCg9ASRDhJ4GLCBKTwDJEKGnActDlI0nD8jaEO6ROXc3U2oT9FyNp8yN0t0jeZmv+vr66PG79evXR/tFWV7uwgzhVXHR56Vi6DXtU2k7ISe2PiLy7htFObV/rfuz6bz+uenvTHmGKUABClCAAhSgAAUoQAEKUCBMAZ9P9MQVZOMprmDM412jaMaMGR0eq8t87C718e5xutQdUe7P3Abkrlnl9nXK3HDcNa1Se0BZTi2EjvCelg/ke7/cJe6uJ/eaevl5MunSmuh/F+P8+KgdXqHFuH742etJzk83siToadHSs/TUjSwJelq09Cw9dSNLgp4WLT1LT93IkqCnRUvP0lM3siRC97RYZMuy8RRXMMbx2ZpOqabSmDFj0o2mzG+1Sw2X2YhK3fkU944nnx3TpC/M1uNtcs+TzbLv0LGIaNgFvWXudYOkskcFG08xarS7Q5NeP+0UOZ4mZHufnjYvLU1PTcj2Pj1tXlqanpqQ7X162ry0ND01Idv79LR5aWl6akK29+lp89LSvj2189HeZ+NJEyrQ++6b6KZOndrl01N3Nblm0pw5c9Lvt7W138XjXu6uJrenU+Zjd64R5V7lusfT8t+/Lmu3H4wMzjytUhZ8tVbO6dMzbeb7wkTG4x1P+MWFeOKfpic5nm5kSdDToqVn6akbWRL0tGjpWXrqRpYEPS1aepaeupElQU+Llp6lp25kSdDTolX4LBtPhTcuiRFK+cLcvv+oLHp6T9p51hcGyFV1fTu4F+P82HjCL41iXD/87PUk56cbWRL0tGjpWXrqRpYEPS1aepaeupElQU+Llp6lp25kSdDToqVn6akbWRKhe1ossmXZeIorGMjxpXqhvPfhcZn7i2Y5eLQ1WolRQ86S268Z2GVVinF+bDzhF08xrh9+9nqS89ONLAl6WrT0LD11I0uCnhYtPUtP3ciSoKdFS8/SUzeyJOhp0dKz9NSNLInQPS0WbDzF1Qr4+FK9UB787T55Ydc70cpU9+4pi75WGz1q1/lVjPNj4wm/oIpx/fCz15Ocn25kSdDToqVn6akbWRL0tGjpWXrqRpYEPS1aepaeupElQU+Llp6lp25kSYTuabFg4ymuVsDHl+KF8lzTYWl8dn96VeZed5EMH9A76yoh8/PdCPI9XpLli3hyPFyAnrgVkqQnooRn6IlbIUl6Ikp4hp64FZKkJ6KEZ+iJWyFJeiJKeIaeuBWSDN0TMciV4aN2cQUDOb7ULpS3jrRKwxPN4h61c6+Jw6tl2hXnd7sayPx8N4J8j5dkqSKeHA8XoCduhSTpiSjhGXriVkiSnogSnqEnboUk6Yko4Rl64lZIkp6IEp6hJ26FJEP3RAzYeIqrVAbHl9KFcvxEmyx6eq/s+NvRaGUGVp0u82+olZ6V7d/sl+2FzM93I8j3eEmWMeLJ8XABeuJWSJKeiBKeoSduhSTpiSjhGXriVkiSnogSnqEnboUk6Yko4Rl64lZIMnRPxCBXhnc8xRUM5PhSulCe+mOLrHz+jUi+skeF/OArQ+Siml45VwKZn+9GkO/xkixVxJPj4QL0xK2QJD0RJTxDT9wKSdITUcIz9MStkCQ9ESU8Q0/cCknSE1HCM/TErZBk6J6IARtPcZXK4PhSuVD2tHwg3/vlLnF3PbnX1MvPk0mX1qgrhMzPdyPI93gqkiGAeBo+To1yPJXIFKCniUsN01MlMgXoaeJSw/RUiUwBepq41DA9VSJTgJ4mLjVMT5XIFKCniUsN+/ZUT0gJ8I6nuIKBHO+7cLONd8eqv8iBd1vzFu338Z7ywJRPZD0emZ/vRpDv8fKGzXIg4snxcAF64lZIkp6IEp6hJ26FJOmJKOEZeuJWSJKeiBKeoSduhSTpiSjhGXriVkgydE/EIFeGjae4goEcXwwXyrSHX4mtufyWS9h4iq2of0Ax1It+lvknOL/87bIdSU96WgRYLxYtPUtP3ciSoKdFS8/SUzeyJOhp0dKz9NSNLAl6WrT0rG9P/YxyJ9h4iisYyPG+CzfbeDN/9qocPdb+LXX5vHqfXikPffPirIci8/N9B5Lv8fIx7e4YxJPj4QL0xK2QJD0RJTxDT9wKSdITUcIz9MStkCQ9ESU8Q0/cCknSE1HCM/TErZBk6J6IQa4MG09xBQM5vpgvlDfe+VAanmiWD1pPRNpjP3m2zBjb3ySPzM93I8j3eCYwJYx4cjxcgJ64FZKkJ6KEZ+iJWyFJeiJKeIaeuBWSpCeihGfoiVshSXoiSniGnrgVkgzdEzFg4ymuUhkcX6wXims2ff9Xu2TfoWPRKrhvr7vnS4OlV88eplVB5ue7EeR7PBMYG0+yYsWKJMlyfhZSn0meDMdLUlOEnvS0CLBeLFp6lp66kSVBT4uWnqWnbmRJ0NOipWfpqRtZEqF7WiyyZXnHU1zBQI4v1gul8dn98lzT4Uj5zNMqZf4NQ+S8s04zqyPz890I8j2eGS3HAYgnx8MF6IlbIUl6Ikp4hp64FZKkJ6KEZ+iJWyFJeiJKeIaeuBWSpCeihGfoiVshydA9EYNcGTae4goGcnwxXijPvHJQ/v13r6eF7xx/oVw2qE9e4sj8fDeCfI+XF1w3ByGeHA8XoCduhSTpiSjhGXriVkiSnogSnqEnboUk6Yko4Rl64lZIkp6IEp6hJ26FJEP3RAzYeIqrVAbHF9uF0vTm+zL/N7vl+Im2SP+Gy/rJjZ89N++VQObnuxHke7y88bIciHhyPFyAnrgVkqQnooRn6IlbIUl6Ikp4hp64FZKkJ6KEZ+iJWyFJeiJKeIaeuBWSDN0TMWDjKa5SGRxfTBfK4fc/knue3CUHj7ZG8sMH9JbvThgklT0q8l4JZH6+G0G+x8sbj42nJOmyfhZSn0meBMdLUpN7PCWrSU962gT488zmpaXpqQnZ3qenzUtL01MTsr1PT5uXlg7dU5u/9j4ftdOEyuT9YrlQ3B1OP1q3V7bvPxrJV/fuKQu+Wit9elXGWglkfr4bQb7HiwXY6WDEk+PhAvTErZAkPRElPENP3ApJ0hNRwjP0xK2QJD0RJTxDT9wKSdITUcIz9MStkGTonohBrgwbT3EFAzm+WC6U1VvflF+/fCBSdXc4ff/Lg2VIvzNiKyPz890I8j1ebMSMD0A8OR4uQE/cCknSE1HCM/TErZAkPRElPENP3ApJ0hNRwjP0xK2QJD0RJTxDT9wKSYbuiRiw8RRXqQyOL4YL5cU9R+T+Z/6a1v72VRfINcOqEtFH5ue7EeR7vEQg//tDEE+OhwvQE7dCkvRElPAMPXErJElPRAnP0BO3QpL0RJTwDD1xKyRJT0QJz9ATt0KSoXsiBmw8xVUqg+NP9YXyxjsfSsMTzfJB64lIe+wnz5YZY/snJo/Mz3cjyPd4iWEK92BJ0tJ9FlKfSY7J8ZLU5Polq0lPetoE+PPM5qWl6akJ2d6np81LS9NTE7K9T0+bl5YO3VObv/Y+H7XThMrk/VN5obhm0/d/tUv2HToWaV9U00vu+dJg6dWzR2L6yPx8N4J8j5cYJhslSVJGn4XUZ5KDcrwkNbl+yWrSk542Af48s3lpaXpqQrb36Wnz0tL01IRs79PT5qWlQ/fU5q+9z8aTJlQm75/KC6Xx2f3yXNPhSPrM0ypl/g1D5LyzTktUHpmf70aQ7/GSBEU8OR4uQE/cCknSE1HCM/TErZAkPRElPENP3ApJ0hNRwjP0xK2QJD0RJTxDT9wKSYbuiRjkyrDxFFcwkONP1YXyzCsH5d9/93pa8c7xF8plg/okrorMz3cjyPd4SaIinhwPF6AnboUk6Yko4Rl64lZIkp6IEp6hJ26FJOmJKOEZeuJWSJKeiBKeoSduhSRD90QM2HiKq1QGx5+KC+UHDzwi83+zW46faIuEb7isn9z42XMLoo3Mz3cjyPd4ScIinhwPF6AnboUk6Yko4Rl64lZIkp6IEp6hJ26FJOmJKOEZeuJWSJKeiBKeoSduhSRD90QM2HiKq1QGx/u+UG769gypGf9dOXi0NdIdPqC3fHfCIKnsUVEQbWR+vhtBvsdLEhbx5Hi4AD1xKyRJT0QJz9ATt0KS9ESU8Aw9cSskSU9ECc/QE7dCkvRElPAMPXErJBm6J2LAxlNcpTI43ueF4u5w+taP14hUDYlkq3v3lAVfrZU+vSoLJo3Mz3cjyPd4SeIinhwPF6AnboUk6Yko4Rl64lZIkp6IEp6hJ26FJOmJKOEZeuJWSJKeiBKeoSduhSRD90QM2HiKq1QGx/u8UFZvfVN+/fKBSNXd4fT9Lw+WIf3OKKgyMj/fjSDf4yUJjHhyPFyAnrgVkqQnooRn6IlbIUl6Ikp4hp64FZKkJ6KEZ+iJWyFJeiJKeIaeuBWSDN0TMWDjKa5SGRzv60J5cc8Ruf+Zv6ZFv33VBXLNsKqCCyPz890I8j1eksiIJ8fDBeiJWyFJeiJKeIaeuBWSpCeihGfoiVshSXoiSniGnrgVkqQnooRn6IlbIcnQPREDNp7iKpXB8T4ulDfe+VAanmiWD1pPRKJjP3m2zBjbv1td342Z0MdLsox91Evm+XK8JFdPhJ70tAiwXixaepaeupElQU+Llp6lp25kSdDToqVn6akbWRL0tGjp2dA9dYHciQr3amtra/9aMb7KVqDQF4prNn3/V7tk36Fj7cbvviEP3/b30qtnDzaewKqr/sH/6jZZ6PXrPDDHAxcNjNEThAJj9AShwBg9QSgwRk8QCozRE4QCY/QEocAYPUEoMEZPEAqM0ROEAmOhe4IM3cbYeIorGMjxhb5QGp/dL881HY60zjytUt79nw/Kikd+klMv9DuQfM8vyVItdL2w0ZXkanX9LK5fsr70pKdFgPVi0dKz9NSNLAl6WrT0LD11I0uCnhYtPUtP3ciSCN3TYpEty8ZTXMFAji/khfLMKwfl33/3elrqzvEXyo/mzpQVK1aw8WSoH97xlLteDJRqtJDXQ7bBOZ66JKYAPU1capieKpEpQE8Tlxqmp0pkCtDTxKWG6akSmQL0NHGpYXqqRKZA6J4mjCxhNp7iCgZyfKEulKY335f5v9ktx0+0P815w2X95MbPngvtMeP7jqDQx0uyVAtVL92dI8dLcvW4x1OymvSkp02AP89sXlqanpqQ7X162ry0ND01Idv79LR5aWl6akK290P3tGl0TbPxFFcwkOMLcaEcfv8juefJXXLwaGukNHxAb/nuhEFS2aOCjScR8d3oSrJUC1Evuc6P4yW5emyUJKtJT3raBPjzzOalpempCdnep6fNS0vTUxOyvU9Pm5eWpqcmZHs/dE+bBhtPcb0SP3727NnS2NgomzdvltGjR6c/f9WqVTJ16tT0P+/cuVNqa2ulublZhg4dGv354sWLpb6+Pp2pq6uTRx99tMPnoCec9IXi7nD60bq9sn3/0egUqnv3lAVfrZU+vSqjf0bG892YCX08tBaQHLJ+yOegGY6HSmE5emJOaIqeqBSWoyfmhKboiUphOXpiTmiKnqgUlqMn5oSm6IlKYTl6Yk5oyrcnel7d5XjHU1zBGMdXVFTIypUrowZTZuNpy5YtMmbMGEk1m5YsWSLLli2TpqYmcY2qsWPHypQpU8Qdn/pCQvfngwcP7tCIspxa0oW7euub8uuXD0Sn4O5w+v6XB8uQfmekTwkZL/RGkO/5WepByyLrp32G5X2OZ9HSs/TUjSwJelq09Cw9dSNLgp4WLT1LT93IkqCnRUvP0lM3siToadHSs/TUjSwJ356Wc8uWZeMprmACx7sGUmbjyTWadu/eLUuXLk1/eipz7733yrx586K7mtwdTq4Z5e6Ocnc6rV27Nu+zSbJwX9xzRO5/5q/pc/n2VRfINcOqOpwbMp7vxkzo4+VdHFkORNaP4+EC9MStkCQ9ESU8Q0/cCknSE1HCM/TErZAkPRElPENP3ApJ0hNRwjP0xK2QZOieiEGuDBtPcQUTOL5z42nixIkybty4Lo/RuabTpk2butzxlHnnU76nk9SF8sY7H0rDE83yQeuJ6FTGfvJsmTG2f5fTQsYLvRHke3751ka245D143i4AD1xKyRJT0QJz9ATt0KS9ESU8Aw9cSskSU9ECc/QE7dCkvRElPAMPXErJBm6J2LAxlNcpQIfb2k8jRo1Kr3Hk3tMz93p5O6Amj59evRo3qxZszrcKYWeehIXims2ff9Xu2TfoWPRsBfV9JJ7vjRYevXswcZTloVg4wmtTmxPMPzT9GQS14M+yskEx7No6Vl66kaWBD0tWnqWnrqRJUFPi5aepaduZEnQ06KlZ+mpG1kS9LRo6dnQPXWB3Ane8RRXMIHjLY0nt7dT6uUeyct8uY3G3eN369evjzYit7zchRL3VXHJV6Ti/EvbP+ajY3Ji68Mi7x/K+2P/te7PpmP/uenvTPnO4dDHi4XDgylAAQpQgAIUoAAFKEABClCgaARWrFhRNOeinQgbT5qQh/c7N57cRuHu1XmPp9Rm4+49twG5e/TO7euUueG4e0wvtQeU5dTjdmifeeWg/PvvXk8Peef4C+WyQX26PQVkPN93BIU+nqUetCyyftpnWN7neBYtPUtP3ciSoKdFS8/SUzeyJOhp0dKz9NSNLAl6WrT0LD11I0uCnhYtPUtP3ciS8O1pObdsWTae4gomcHznxlOub7VLDeeOyfzWO/fnce94yrdj2vTm+zL/N7vl+Im26PRuuKyf3PjZc3PKIBdK6I0g3/NLoFTTH4GsH8fDBeiJWyFJeiJKeIaeuBWSpCeihGfoiVshSXoiSniGnrgVkqQnooRn6IlbIcnQPRGDXBk2nuIK5nl8c3Nzeq+mzI/IbCbNmTMn/VZbW3tTx73cXU1uT6fMx+5cI8q9fO/xdPj9j+SeJ3fJwaOt0fjDB/SW704YJJU92s+nuxdyYfpuzIQ+Xp6lmvUwZP04Hi5AT9wKSdITUcIz9MStkCQ9ESU8Q0/cCknSE1HCM/TErZAkPRElPENP3ApJhu6JGOTKsPEUVzCQ47NdKHes+osceLe9oZTPq9/He8oDUz6Rd+Mi9EaQ7/nls4bdHRP6D1bOL8lq4ebwyWrSk542Af48s3lpaXpqQrb36Wnz0tL01IRs79PT5qWl6akJ2d737Wk7u65pNp7iCgZyfLbCnfbwK7Fnt/yWS9h46kaRjSe8vHz/YOV4+NogSXoiSniGnrgVkqQnooRn6IlbIUl6Ikp4hp64FZKkJ6KEZ+iJWyFJeiJK/jJsPPmzLuqRsl2YM3/2qhw9djzv8+59eqU89M2L2Xhi4ynvGkodyH9xxCbs8AH0pKdFgPVi0dKz9NSNLAl6WrT0LD11I0uCnhYtPUtP3ciSoKdFS8+G7qkL5E6w8RRXMJDj87lQ3DfZPbbtLRn/qSp1M/HOTMh4vu8ICn28JEsVWT+OhwvQE7dCkvRElPAMPXErJElPRAnP0BO3QpL0RJTwDD1xKyRJT0QJz9ATt0KSoXsiBrkybDzFFQzk+GK8UEJvBPmeX5KlWoz1wvnhAlw/3ApJ0hNRwjP0xK2QJD0RJTyhrr9XAAAgAElEQVR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L8YLJfRGkO/5JVnGxVgvnB8uwPXDrZAkPRElPENP3ApJ0hNRwjP0xK2QJD0RJTxDT9wKSdITUcIz9MStkKRvT+Sc2HiKq1QGx/suXGQ8342Z0MdLsoyR9eN4uAA9cSskSU9ECc/QE7dCkvRElPAMPXErJElPRAnP0BO3QpL0RJTwDD1xKyQZuidiwMZTXKUyOL4YL5TQG0G+55dkGRdjvXB+uADXD7dCkvRElPAMPXErJElPRAnP0BO3QpL0RJTwDD1xKyRJT0QJz9ATt0KSvj2Rc2LjKa5SGRzvu3CR8Xw3ZkIfL8kyRtaP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+kUHL9lyxYZM2ZMeuTNmzfL6NGjo3+uqKiI/v+sWbNk6dKl6czEiRNl+vTpMmXKFPMZIxdK6I2Z0OdnLoocByD1wvFwAXriVkiSnogSnqEnboUk6Yko4Rl64lZIkp6IEp6hJ26FJOmJKOEZeuJWSDJ0T8QgV6bCvdra2trifhCPT06gublZhg4dKqlm06pVq2Tq1KnilmnJkiXRQPX19VJXVyfr16+X2tra6M93797doRFlOSPkQgm9MRP6/Cz1oGWRetE+w/I+x7No6Vl66kaWBD0tWnqWnrqRJUFPi5aepaduZEnQ06KlZ+mpG1kS9LRo6Vl66kaWhG9Py7lly7LxFFewAMe7RtOjjz4qa9euTX+6azLde++9smnTJhk7dmx0V5O7w8nd8fTaa69Fdzo1NTXlfTZI4YbemAl9fnkXR5YDkXrheLgAPXErJElPRAnP0BO3QpL0RJTwDD1xKyRJT0QJz9ATt0KS9ESU8Aw9cSskGbonYpArw8ZTXMECHD979uzoUzs/Rjdu3Lj0aJl3PI0fPz5951O+p4NcKKE3ZkKfX761ke04pF44Hi5AT9wKSdITUcIz9MStkCQ9ESU8Q0/cCknSE1HCM/TErZAkPRElPENP3ApJhu6JGLDxFFfJ8/G5Gk+u4ZTa42nx4sXR43XuDih3h9S6detkwoQJHe6UQk8duVBCb8yEPj+0FpAcUi/I56AZjodKYTl6Yk5oip6oFJajJ+aEpuiJSmE5emJOaIqeqBSWoyfmhKboiUphOXpiTmjKtyd6Xt3leMdTXMECHK81nlJDukfyUo/euf/v7pByj9/NmzcvvRE5enpuM/Nzzz0XjTNHAQpQgAIUoAAFKEABClCAAhSgwCkQePPNN81/5z8Fp5keko2nU6nfzdhuo/ANGzZ02ePJ3dWU+mY7twG5e8TO7euUueG4a1ql9oAqwqnxlChAAQpQgAIUoAAFKEABClCAAhQoIwE2nopwsXN9q13qdN1m46lGVOrOpzh3PBUhA0+JAhSgAAUoQAEKUIACFKAABShAgRIXYOOpSBfQNZOmTp2aPrudO3dKbW1t9M/urqbBgweL2+8psxHlMvnu8VSkDDwtClCAAhSgAAUoQAEKUIACFKAABUpYgI2nEl48njoFKEABClCAAhSgAAUoQAEKUIACFChmATaeinl1eG4UoA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WK9NxWrVolTz75pOzcuVO2bduWPsuRI0fK5z73OfnGN74ho0ePTuzsOR49LcXEemG9FHO9IOfmanjgwIGJ/hzNNS7HQ1YFz9ATt0KS9ESU8Aw9cSskuWTJErnxxhultrYWicfOcLzYhB0+gJ70tAiEXi8Wi3yybDzlo1bGx8yePVsaGxsjgQkTJnSRWLduXfRnK1eulClTpsSW4nj0tBQR64X1Usz1gp7bxIkTZdy4cVJfX48eEivH8WLxdTmYnvS0CLBeMK0tW7bI9OnTo//o6V6TJ0+Wu+66S0aMGNHhA5LyfOihh6LPP3TokFRVVUW/086fP19qamo6jFdRUSGbN2+O/R8KOF47Kz2x64H1wnrBKqW4Umw8Fdd6FPXZvPzyy/LpT39aFi9e3O1fiFpaWuSee+6JmlPul4M4/wWI44nQE78kWC+sF7xaRHzXi+XckvqLEzomx0OlsBw9MSc0RU9UCsuVomdzc7O4u+pdE8j9R0/3u1HqjvvO/6EzifmtWbNGJk2aFDWcRo0aJU1NTdHvtO6fN27c2KHZlUSjhOOdbB7SU7+OWS+sF71KijPBxlNxrktRnpW7vfCxxx6TrVu3qudXV1cn3/3ud2XmzJlqtrsAxzspQ0+9jFgvrBe9Sk4mTkW9zJkzBz7FXA1+5EPc/DjeSSl65q4a1ktHH9ZLcdWLu7vj1ltvlZdeeind9HHNKHeXs7vTftasWbJ06dLopJNoPLm7m1xj6/nnn0/f4ZR5x1VmsyuJRgnHO/mUBD31f8OzXlgvepUUZ4KNp+Jcl6I8K/eL6YYNG2Tt2rXq+SXxL36Od5KZnmrJCeuF9aJXScfGk8+fZ6n/QukeD/nMZz6T81SXLVsmM2bMiPWoHcc7SUxP/cpgvbBe9Co5mfBdL7n+/Z5qmqaaT0n8vtTdZ7g7rW677TZZvXp1ekuJJBolHI+eluuP9cJ6sdRLMWXZeCqm1Sjyc0n9opH5X5yynXLqEZa4+zxxvHZdemIXBuuF9YJVSnvKd724Md0vi2effba4zX1zvZL4ixPHS7YRS096Wn6+sF6SrRd3x9PDDz/c7R337mfq1KlTozuf3J1QcffIc3eUDB06VBYsWJB12VP7Sbrfc924cfd44njt+8fSE/spw3phvWCVUnwpNp6Kb02K+ozct9a524/dv9zdho6f+tSn0uf7pz/9KWqSuF8AqqurO9yinO+kOB49LbXDemG9FHO9pJrI2v53STWeOF57NdATuypYL6wXrFI6/kcOHz/PXDPJNYJyjZVqPrmzi/uopPusefPmRXs7dffK/DKTuI0njifRY5OpLy+iZ+4rkfXCerH8rC6mLBtPxbQaJXAu7jbj++67L/qXg9vkMdvLPUqycOHCWBuLpz6X47V/cws9sYuD9cJ6wSqlPeW7XtyY7k6ryy+/vMs3I2Wet2sA9OnTJ5GfoRyv/a5RemJXBuuF9YJVSnvKZ700NDTIpZdemvMbk921fvXVV8sPf/jDWHuMph6py/ateZk+qWaX9iSAZsrx2oXoqVXKyd9d3COfrM/2Ox15/WF1UwwpNp6KYRVK9Bzcv+CPHDnS4exHjx5dsNlwvGRp6UlPiwDrxaLFLAUoQAEKUIACFKAABSiQEmDjibUQhID7ryQDBw6UQja+Ov9XLp/jBbFIRTQJ1ksRLUYJnIrvevFN4nt+vsfz7Rn6eL7Xz/d4oa+f7/mFvn5uc/Mbb7wxkTtUkbXxPR5yTszgAr7Xz/d4uASTiEBo68fGE7LqzJgFkvpFI/Pra91JuMfOst1amtQeHr7HQ2GT8gx9PN/r53u80NfP9/xCXz/f8/M9nu96CX083+vne7zQ18/3/EJfP7ehuft9020rUVVVFT3iN3/+/C6PSSfxrXZu7XyPh9aL77/4lup4vtfP93isl3aBpOqzWNcPXed8c2w85StXpsf5/EXDbSY5cuTI6F/6EyZMiPZjcRubu1fnb8xLovHkezw3D5+eoY/ne/18jxf6+vmeX+jr53t+vsfzXS+hj+d7/XyPF/r6+Z5f6OuX+tZT13AaNWpUtMm429jc/fPGjRujL9dJvZJoPPke71Q0unz/RdvneL7Xz/d4rJeTf+kv1eu9WNoWbDwVy0qUwHn4/kXD/Uvj1ltv7bBpnDsH980X69ati75Zb+nSpZFcEo0n3+P59gx9PN/r53u80NfP9/xCXz/f8/M9nu96CX083+vne7zQ18/3/EJfP3d3k/sPnc8//3z6DqfM/1CY+R8/k/iLqO/xfDcuQh/P9/r5Hi/09fM9P9/rV0wtBjaeimk1ivxcfP+i4W5n3LBhg6xdu7aLjHtvzpw56eZTEo0n3+P59gx9PN/r53u80NfP9/xCXz/f8/M9nu96CX083+vne7zQ18/3/EJfv+5+p0x9+9zq1avTd94n0XjyPZ7vv/iGPp7v9fM9Xujr53t+vtevmNoLbDwV02oU+bmcil80Hn74Ydm6dWtWmdTXrro7n9x/7Rs3bpzU19fnreh+cfM5nm/P0MfzvX6+xwt9/XzPL/T18z0/3+P5rpfQx/O9fr7HC339fM8v9PVzfxEdOnSoLFiwIOvvlO7O+8bGxqj55L7OffPmzbG+3Mb3eL7/4hv6eL7Xz/d4oa+f7/n5Xr+8/2JcgAPZeCoAaqgf6fsXDddMcv/id8/V19bW5mw+uTcXL14cq/HkezzfnqGP53v9fI8X+vr5nl/o6+d7fr7H810voY/ne/18jxf6+vmeX+jr5/7D5rx586K9nbp7pZpP7v24jSff4/n+i2/o4/leP9/jhb5+vufne/2KqS/BxlMxrUaRn4vvXzQcR0NDg1x66aXRt4l093r55Zfl6quvlh/+8Icyc+bMWIo+x/PtGfp4rBeR1F2ApdiI9V2fvusl9PmF7ul7/XyP53v9fI/n2zP08UJfv9Qjddm+RTnzl8zUv3NfeumlDhuOW38R9T2e77/4hj6e7/XzPV7o6+d7fr7Xz/rzqJB5Np4KqRvgZ/tszATI12VKvj1DHM/9AHevmpoaLyXje7zMSYW4fqdyfl4KJmMQ3+vne36+x/PtGeJ4vn+e+R7vVP58CbFefF/jp3L9TuVcCz2277/4hjqeazB390RGIdbQ93ipOYS6fqdqfoWojVL5TDaeSmWlTuF5+v5FkeMlu9ihe7q9LRYtWhTdFfelL31Jrr/++mQBO32a7/FCXz/OL9lypSc9LQK+f575Ho/Xg6Ua9Gzonr7/Ys/x9JqzJHx7ur2B3OOYkydPln/8x3+MddcbMk/f4/n25HhIFZR2ho2n0l4/L2fv+xdFjpfssobu6f5F9cgjj4j7lhm3H1hVVVVBm1C+xwt9/Tg/Xu8WAdaLRUvP+v555ns81oteA5ZE6J6+/2LP8SzVp2d9e27ZskVWrFgRbXNw6NChaF/aQjahfI/n25Pj6TVe6gk2nkp9BT2cv+9fFDlesosaumemltvvy22y6uuXAB/jhb5+nB+vd4sA68WiZcv6+Hnm++c168VWA1o6dE/ff7HneFrF2d737Zl5dmvWrJH/+I//iP4jqHuNHDlSbrnlFrn22msL8jiej/F8e3I8W72XYpqNp1JctVN4ziH+Yur7F2GO5+eWZPcv5d/85jddmlA333xzwX4JKPR4vP6S/eFHT3paBEKvl85/iSr0zzPf44W+fpyf5WrWsz7+Yh9646Kc5peaq3sc9ZlnnpEnn3yySxPqxhtvTHw/Ul/j8XrQf2ZYEr49LedWyCwbT4XUDfyzQ/yLve9fhDneZClUIyj0X3h4/SX7A5ae9LQIhF4v/PlpqQY9G3q9hDw/X3+xD71xUS7zy/xpkKqdH//4x7Jt27boLfco3g033BDdCZX0l+L4GI/XQ7JfZOTbU/+3VWETbDwV1rdsPt1355bjJVtaoXtqv/Dcf//9Mnr06GRRRaS7f6EkPV7o68f5JVua9KRnPgK+fp75/nnN6yGfauj+mJA9ffzFPvTGRTnNL3Ou7jFVdyfUww8/3KEJtXDhwoLche9jPF4PhWlC+WpUJvuTH/s0Np4wJ6ZAgVB/MfX9izDHK0wjqLtfeNxz+DNnzgSrPL9Y5r+gCzUer7/81qa7o+hJT4tA6PXCn5+WatCzoddL6PPz8Rf70BsX5TS/znN9/PHHZdmyZfKLX/zi/2/vbF6uqr44fvoDJBNHJSG9DAIj0XJgNUiofmhIg4w0CaHozQg0tKwcWVmIBYFlUiCRBr1MRKkc6CAQKoqgwkEGotFIyugP6Mf3yHo6nufc83LP2uve+9zPmWTPPWevvT977XX2WXvttZOfhiddTS2P8dBs87vcEc2zS9363IvjqQ89nq0l4PmhrQF45ZVX1oalespTWadPn66NgplkeW1U17N94yivTZ2GvUcJEufNm5d8MlFXv0nuv+jx3qaf4dmG0qV7sJ//RTtq5TKVo3mUjqD22tD9Tuxnv4UQ7Kfv+FPurFtuuaVWkT0/7FXWP//8UytzkuW1sQie7RtHeW3qNMw99u69+uqrk0RRta3TJPdf9HhvwzSaZ5s6DXsPjqdhyfFcKAEd4fv8888n3RtdbJDkffrpp9l3330X0s5oeSGNmjIheuFv3rx5Jpmkmn/VVVdlTz31VLZ161bXvfw6te+nn37KXn311UrKDz30UPbMM8+4bR+Mlhc93jXR+Oqrr/J8Y1U5F1566aXs5ptvzsR1Eq9ontH2LFreJOrAuNcZ++lnr6PH+1y3nzri/dtvv83t/3333ZetXr066XCSvOXLlw98v3sLj5bnXX/KyzKNQS1wWB4pMbn++uuzbdu2uUfz182H5CB5+umns0OHDrnNeaPlRY93bU0+f/78wH5Sfd54441G5/ekjAMcT5PSU2NYT00UFbr5999/V9Zu5cqVbh++5u2VM0iGVR/0KScB7733XrZnz57szJkzIeRTy9NLaenSpdn+/ftz42YT07rGydBt377drf0p9aVNe8oN8W7fbbfdluumHE2LFy/OxZ09ezZ79913s3vvvTf78ssv3ViqvSdOnBhYpl5Uq1atcuu/aHnR4930R3Zl9+7dsyYA3jylCCnHQ1nRonmmtmfl9qWWh/2cbbqwn+3NOfbT930UbT8VgffFF1/ki0q//fZb/kGvBNEPPvhgko9BzW0XLFiQvfPOO+2VrMedqeXJPj/55JPZjz/+mPPS+1QLPXXX119/7fb9IDn2DhwkU6fNXXfddUNRbNOecsGe7VPbbr311lyE5p/aHaJLc0Rx9rbVTfOhK664IvNsX7S86PFu+iO7cvDgwVl6781zKCV3fAjHkyPMaSpKH00aLEXvern95uTw5mL7Xk+ePJlPBCyqxPt0NDkSFP2gl/+wL6QubU8pz1Yhnn322Xy1Tob11KlTtdXzdBym1pc27Sk31rN9WrFYs2bNzMSqKMs+Wm3S1UUnqhwIf/zxR3b48OE8Gk9JysvXL7/8kk/yPMaf9CZSXhWbiPFuETMag+YoLK4wNU18uvZp6vFQV58InpKf0p5VtS+lPOznbOLYz+ZRj/28tD1tLtlPi+6yRVCLKpHjwuuEMnMkpIiWHvSOleMilTzNj95+++2ZubQiqM+dO1c7gPo4gsoFq8/uuuuu7K+//hoos8/8rE17yoI926eIIH0LffPNN7N0UE6/HTt2ZH/++WezwWq4Qxy1BXTLli35+33Dhg2zntDcVHOoPjyt0Gh5Vc2PGO+yj/Pnz88uXryYOwo1Dnft2jXTlzieeqsuBcwFAjK069evz44dO5Y87LiOlz7gZGzlUHn88cfdIjzUPnme61ZlPFcRouVF6+C46EuqdjetaOslvW7dut762TayS5NIRVj1nQhHy2vqn1Tjvdh/cmJqYiWn+osvvphvk3z44YddI8jGZTyk4hltz6LlNemp9+/joi/e7bLysJ8+9rqpf1KN92m1n+bE14f9kSNH3CJ05Eg4fvx47cKuZ0RJtLwmPfX+XVu/xDMiibd33duUV+fY1ZhfuHChSwRS28guOU48ovWi5TWxTjXei/2nd730VZdF3+N4auoZfp8KAk0TxdQQyqelKOrpo48+cnOCtYmg8VzxjZaXun/K5Y9aX1K3tynHjNeKb5sVdM+k5tHyBvVT6vFepZ/62+uvv55XSdsePB3box4PqXlG27NoeantCfbzcgLYz34al3q8T5v9LJ82pagnOTa8IuPbRNB4RsxEy+unzd2f9rIf3SXHPNGUo8vLcdEmAskzqXm0vEG9lXq8l/VT9nrnzp155JgWkbUI6ulojtHKwVLYajfqHphQ+Qqd3bhxY/brr7/2jqpoi2DQ0ZL333//xCb9bdv2FPfJqH/yySfZ999/X1n8pk2b3LhG60v0h2jddjr7zTM6UDx//vnn3hFUbfUqWp7qFTneBzmCVAdFPSmM3TPCMXo8RPNsq1eTfB/20y+HI/bTfyRgP32Z2ni3PE+WZ1Tbje644w5fYVNQmt6BR48ezd/zVZdnMmVFdGme65lns66Loh15luNw0FY7pV64cOGC27ea5ktLlixxW+hvUvdoebnbwKcAABX8SURBVKpP5Hgf5BgtRt/jeGrSEn6fCgIaLFrhKe5FTdVwS06o8uUBfu6557K7777bzZCmqve4liuP+o033pjveVfia53YoqiOG264If+3VvCUP8hzQhWpL01bxEyHPE8ps7DgquTikhd1QuK46lyXeo3beNckZNGiRa72JnI8jBvPLrowjvdiPy+9g7Gf46idWTZu433S7af0XA4nXUoq/sgjj4R9dI+nhvWrlT6o77zzzjw/64oVK/KUFpojKTWA/i3Gr732mlsEmdnrqoND+rWk+ummLWKac3s61qx9qk1VcnEtng06ATlF+ye9zHEb7xovnt9io+4fIp5G3QMTKl8e/b1799buQfeMEJA8nZ4nZ5NXOHMT+sgVbdWlGF1hdbNVNW/nniUctIi1osfdojEU3unFOlpfBvWtHdmt31Unz0tlv/nmm3l4bDGJpSZR+/btc3VaWL2LJ7VoMqMTY1JM8qMjyEYx3m0M6qROXSl5Ro+HUfDEfmI/u9hX7KdfBNkoxvtctp9ayLr22mtDFzsjI4LUd8XoChu3WoD03GJu5erDXomULQKpuBXM8k15LtRZ8m2dSDjoiogo0XztnnvuybZt2zbr5NwutrLq3kHfD3JEpXI6FeeFOtxJjsMUTpLoCLJRjHcbg3boU0qefXWt7/M4nvoSnNLnoz9Eoz+0o1e0i/LkqFi2bFne5B9++CFfafNKFm0cy1uLyqGeSob92GOPub0cR6UvVcPTWHsmAy3Lsb3pKVcpylFd5uhtyjc1jMkaRQRZsZ7SH8/cVVUMInmOajxEOSqxn9jPYeyMPYP97ENv9rPYTx+eUR/a0RFBRXlyCi1evDgHZif3eSWLtl4ozzeLjidLhu1xKprJi3Zc1GmbWK9duzZpmpKI8V6O6jLHXVO+qWFGYnQEWbGO0sfTp09nnrmrqhhE8hymDzyfwfHkSZOykhKI/DCMjggyeSdPnsyjVoqX5b/4+OOP3bY2SN77778/s/1LpyjouFWLAvI6hS2pQvQo3DvZpCXhrnM0eU4GTCfkbNLKSPHUtQjHmqFPHUG2efPmmS0OkqkIwBRHPo8Lzx4q3fgo9hP72agkLW/AfrYE1XAb9tOHY0QpkR+G0RFBkqdooKqTcG3bpn73ioCXPEVTWSSOUjxYFJDnKWwRejGMDK9k3yZbc8s6x4i388S+V3Rynfqy2B5zYv7777/DoOn0TMoIMs0JtfiunR92SWdTRKuNC89O8HvcjOOpBzwejSMQ/WEYHRHUdMpViom+jKhNJuy4bu0F16X99Z7JsOM0pVmSvRj379/vFtFl/ffss8/mSb/LiRflyLMXmMd++3JUU1k/vPWljmoqR5cxq8qZpW1wnolCx4lnswZ3vwP7+b9s1apVbsn4NeHFfmI/u4/E2U9gPz0opi0j+sMwOiKoab7g7SjRfPPll1/Ozpw5k3ecFj71txdeeGEmyt8zGXZa7ehWui0AeUZ0WZTRzTffnJ07d24mTYBqpneVdkxY+gePeX05qqmsH976Ukc4RQSZMZPcqpxZnmlkJGOceHbT5uHuxvE0HDeeKmT9jzgVLfrDMDoiqM542sTUVhe8lE/73vWisgSxevkrP5EZW8nzuqK3FhWTq1a1IcXWxeeff/4yUeYcMUeXXvjnz5/PdMJI39XDNo7RdevWuX1oN+lB08S16fny78pvsWbNmqxqclZ3AlZXOXb/KHhG5kDCft6YYT/bjw7s520Z9rO9vsx1+xn9YRgdEVS38Gnzl75zlqI2WaTfjh078gh//b8Y2+KcZ3S/5EZvtSsmp64aRSm2Liope/Eqpl44cOBAdvDgwezw4cPZ8ePHZxx+7Uf45Xe2cYxG5MyyWnk7uiwn2KBTAqW32iHidY0bT692DSoHx1NqwnO0/OgcHtETm1GsaMvxI7mHDh2aSUQtzjt37sz/7hnhMUgtJU+XkgR6XtE5guS4ePvtty9rwvz58/PcWVdeeWX2wAMPuLbR2mcv26KzSRFQypVgyTKLYeXDMi47ZoovLnPMeKxstalfygiyQTrvvRU0mif20z+iEvvpd8oc9nNpWMQv9rPNW+bye6LtZ/SHYXREkDl+lPi6mIha807lHI1ywkqe13a+osZE5wiy75ViHdQu5c5SknrP00AlQ+1T9JicSpJj81FFjSkNw/Lly/N+te+avtFWZcdM0fFjixZREWupIsgGRUin2Ao6Tjy7W+PuT+B46s6MJ7JLx/XK6xt1Klr0h6E6OWVEUJMjpqxkitDxPr56HBQ5ZY6LyPZVrRjaZFX1OHHixIzj0Cs6SM4XrUJqEqMJhxxammAoak3bgDxPhRlFBETRWVfuSy+GxXKjeWI/h4+oxH5e0lzs5/BWPnq8K9J10JUiAhf76XeqZPSHYeqIoCZHTFlPFb2tCJpy/tHhR994PJkyR1BkC6vmQ+YMeuWVVy7bZu4RHWRb0RYsWJA7JpWaQ1FcujT/9EgnUeQ3iggyc9ZV9aMHw2K50TwjdXMAvyuu+DciC9ioW4p8VwJtIpA8T0VT5SMnioNgeUUEtdl6Vq7DypV+xy2rbEXGyKEgo1d1bdq0yX1lpkqOV44LMb3pppvySCZLplin9J6npInjnj17Lgthtsimv//+O4njadDx45oA7Nq1yzWiKzoCom47XaqIrkie2M9+EZXYz/8sG/ZzuKlN5HjHfvq+j6Lt57h8GHpFBLXZelYeVYoS94xG0pj48MMPs4sXL1YO4ChHl0eOIJtv2uEydthMnWXyPCVNjhk5gSw9RjGySSkgitE7Xk4TyZCDSadu26XDX5Sna/v27cMZ5QFPRUeQ2Xx+0FY7LSJ4R3RF8nTtnCEKI+JpCGg8ciniKfpUtMiJ4lzv42LCQa1mjdLxJNl9I1hsu0JxX3s559KgPlX7i9sbh+l747lixYr8Jf/DDz/kL2TlKtDe+m+//TbTiYW6li7138ZhzkPPieEwHDyfsVXZquTiihDwjOgq1zs1T+ynp6bEl4X9/I859jNe/9pIxH765jicpg/DNvrV5x7bwSBHheZMVVeU40my+zpjyqkWukSUeUQHGU+bKynaUdHwR44cydauXZtHwCttwWeffZbnGPV2mmgxcNGiRa6LnX30q++ztpijcqqSi3v0WV0d5xrPcltxPPXV0Cl9fhQ5kIqoU38YSta4RASlUDG9KF9//fU8meOonRUeOS70ovjggw9mTvNQ35WTLVZxVDSSwoQ9TrjTy1+n2umFrxe98iUo7FiTK/3bVob0/7ZFtU/fqo2K2rL+M31V+Y8++mjSflWfeUaMVXEY5GhWaPe+ffsmepKD/cyyqIjKPmNs0LPYz0tksJ/DaRf2czhu9tSo7WfEh+G4RAT166nqp+WY0dV3wc+jbh45gmy+qXmXIu7Vd8rt2XTZAmXfnEuSY+8knV5ni8maA2uRTpclbvc6Ebi4w0Dlm77edddd7jlUixwtuswzYqyqnwY5muWIKuZBa+pjfp9NAMcTWjE0gZQ5kBQKrGSxdnKAjNzvv/8esvVLQEaxoh19ylUx79DQStDywegcQS2rld/WN9qqTlbRQWrh7R4h6zbxtmTmxeNfrT4ezq3yC3/z5s2zQqv1It66dWtSR5DGxj///JNZKHuX/q26dxy2amE/fbfyYj+/TDoGB4057Gc7a2R5e8pbU7Cf7fiV70ppP23uqXe2Lv1XER1e75+mFo8iIkgyjx49OjD1gmcEUkqbUcU2OkdQU/8Wf+8bbVUnyxykukfRTro8Dtax7zObY5q+asFVC69ezq1i29QWpW8xB5p+k7xt27ZlTzzxRBfkne/1XigYh62unSE4PoDjyREmRV1Kdqqr76lo5T38dce9puAevaIdfUqLOSq0/SsiYWR0josuOqG6XXPNNSEcutSr7l7pZzF5rOmrJgK6brzR//h45VjTS79q61uKiYYXq6pyuianVvsiInSwn8P1OvbT95TOLr2A/WxHC/vp62iuou5lP8uOkWhHSXREkEWd29Y3i5TRPF7/tgTSXtHxFh1elUOn3Wjqdld0jqAutdOirIczqIvMvvdKP4vJt01ftZ3PdEkOKC99KS6sVm19sxQbfdsV9XyXrZg2Jj0dv1HtHCQHx9Ooe2CC5Ecmb5ZHeP369Xnyuttvvz1fiVFOl7feemsgMc/Qy2hHV/QpgYJoqxZKBlh16WM7wik1QUOgtqrRERdFx5MSmWtyaCHA3hPl8qmSRRB1icD79K0+IrRKp+08VZd3sn0xmz9//mXb+OyYaX00WuLOYduE/RyWXPNz2M9mRuN+B/bzR9f3LfZz3tA8FfGk+ZHmRnrPbNmyJT/cZsOGDQOHkR1s4jHOvN/fTXVSRJCSfMtxoKsYhaPIMp2a651TUYxV5rp16yqrZ9vWmurO75cIREesmePJou+PHTuWrV69epb+ePRP+VTJYpn27rfdMR7yVIbaZVFiVWV67Fywcm3hrJyYXe9EbV3U3FNjdK5cOJ7mSk8mbscokjd38Qqr+Z5e7+iIoOhTWsSriW9fnpEf2onVv7H46IgLc/bIMauVJW3fKK4w2Yl6XiHITY5YTco1gfQ6zcQcPsWw6nIneOTlsjI1adu4cWNl7i2PU8Own41DqNcN2M8sec61Xh3U8DD2E/tZpyLR9lPzP+Vl1Du17WXb3tveX3dfdERQ2dFVdDxpbC5cuDDzyENkbW7Dtw/PUZ8y56EDXcqIjlgzZ48cJVoAVV6pM2fO5FUunqjntXBd54g1/eyjL2XW5vBRuwZdnuNBjrXvv/9+xvFblOlx6mIXXYq4F8dTBOU5IGNUyZvtBXL48OHGiCfPFSd1WWREUPQpVxZRJueSVvSqrj48oyeKox5io4i40MtKidEViltcEUkR6lze2lfm7b1Ca/pZXEVL2cdNjrW+7cN+zu49z4hK7Od/fD1OmUs51qrKxn7+77Ijz/vyx35eItg3+b0+ov/4449WEU/e+Z8iI4IUTaF8ORYxXVy4SvFhbxFlmrcod1bV1YfnqE+Z6zt+uz4fHbEmnXj44YfzbZjSm88//3wmulDsDxw4MOOI6tqWqvvLW/vK93jnyZJ+Ksqv2C6Pdgwqo2l+6d2+lG1pUzaOpzaUuKcXgaZB1aZwOyXCK6KijczUEUHFOkSf0tLkSGjDp+6eUX1o9633sM+PIuJiUF2lS0rE7bXaJDl12+nsN08nUZMjaNh+GvScfahVrWLZ6tfu3buTJ7EcNOlatWpVr2gy7Odrmbd+Fre6eusj9vNyR4wiKpVY1iuCs66/sJ/dtXmu20+9j5YsWTKzlag7oW5PpI4IKtdG/ffyyy/POAuKWw3t5LULFy70zt1qcpscCd1ozb57HE6Z69uGLs9HR6zV1a182nKXdgy6VwsTe/bsyapygtnBRd762XfO1aXd5uiqal+dbe0iY5zuxfE0Tr0xR+syiclHU0cEVXV1ylNayvKiQ7m7qLaHo7KLPI97oyMuPOrctQxzxFYlF9eRvZ45IOq2vnWtd5v7i1v7lCtr2bJl+WNnz57NIx91eZ8S2KZeugf72Y4U9vMSJ+xnO32Jvgv7+aub46JL302i/UwdEVTmZycu7tixI1+wKm91//jjj11zzMhWaxujvVu79GfqeycxuiQ6Yi11H1Tppw7M0VWVXFwpJyxaz6NudVvfPMovl2GLm/q7+nLx4sX5Leb0nbTDe5oY4XhqIsTvU0kgdURQW6hep7RUydNEWKdO7Nq1ayQTwkEMJnGiGB2x1lZ/PO+TLr755pvZu+++m+/pt0uOmn379rnrULR+qn07d+7MJ8Pl9tmE3JPnXC4L+zm63sV+jo59nWTs5y3j2TFjWKvUEUFtm6x5jdfJZEWZltNtVFHEde2fxFPmoiPW2uqP533SRTmYlM/ULqWZkCPK0+mkskehn3I+aTyU2ydH1Lh9o/XtVxxPfQny/JwkMM4RQR7A9aLau3dvVpe8uW9ycY96TlIZkREXo+ail6S28/XJw1DXBvRz1D3cTz720/ewi369MRlPYz/9+gn76cdyFCWNc0SQBw87pawuebtnsmiPOo9zGdERa6NmoTym8+YNf2plU/3RzyZC/X7H8dSPH0/PYQLREReRKGW4T506VSvS+7j6yPaNi6yUEWvj0sYU9UA/U1CNLRP7uTKZYza2J0cnDfs5HHvs53DcxuWpUURcRLZdjtFz587VivQ8rj6ybeMkK1XE2ji1MUVd0M8UVP8rE8dTWr6UPqEEWDGc0I6j2hCAwMgJYD9H3gVUAAIQmFACRFxMaMdRbQhAoJEAjqdGRNwwjQRYMZzGXqfNEICABwHspwdFyoAABKaRABEX09jrtBkC00EAx9N09DOthAAEIAABCEAAAhCAAAQgAAEIQAAC4QRwPIUjRyAEIAABCEAAAhCAAAQgAAEIQAACEJgOAjiepqOfaSUEIAABCEAAAhCAAAQgAAEIQAACEAgngOMpHDkCIQABCEAAAhCAAAQgAAEIQAACEIDAdBDA8TQd/UwrIQABCEAAAhCAAAQgAAEIQAACEIBAOAEcT+HIEQgBCEAAAhCAAAQgAAEIQAACEIAABKaDAI6n6ehnWgkBCEAAAhCAAAQgAAEIQAACEIAABMIJ4HgKR45ACEAAAhCAAAQgAAEIQAACEIAABCAwHQRwPE1HP9NKCEAAAhCAAAQgAAEIQAACEIAABCAQTgDHUzhyBEIAAhCAAAQgAAEIQAACEIAABCAAgekggONpOvqZVkIAAhCAAAQgAAEIQAACEIAABCAAgXACOJ7CkSMQAhCAAAQgAAEIQAACEIAABCAAAQhMBwEcT9PRz7QSAhCAAAQgAAEIQAACEIAABCAAAQiEE8DxFI4cgRCAAAQgAAEIQAACEIAABCAAAQhAYDoI4Hiajn6mlRCAAAQgAAEIQAACEIAABCAAAQhAIJwAjqdw5AiEAAQgAAEIQAACEIAABCAAAQhAAALTQQDH03T0M62EAAQgAAEIQAACEIAABCAAAQhAAALhBHA8hSNHIAQgAAEIQAACEIAABCAAAQhAAAI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yB1P4VIRCAEIQAACEIAABCAAAQhAAAIQgAAEIDAVBP4PSUvMkZPYWOAAAAAASUVORK5CYII="/>
          <p:cNvSpPr>
            <a:spLocks noChangeAspect="1" noChangeArrowheads="1"/>
          </p:cNvSpPr>
          <p:nvPr/>
        </p:nvSpPr>
        <p:spPr bwMode="auto">
          <a:xfrm>
            <a:off x="153095" y="152786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AutoShape 3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5/z418Mk19Frl+ypvSkp0WA9WLR0rP01I0sCXpatPQsPXUjS4KeFi09S0/dyJKgp0VLz/r21M8o0MbTT3/6U/nUpz4Vze5Pf/qT3HrrrdG+T5mv1J+3tbXf5cJX9wK+C9fneMt//7qs3X4wmvyZp1XKgq/Wyjl9eha0HHzOz02E4yW7nPSkp0WA9WLR0rP01I0sCXpatPQsPXUjS4KeFi09S0/dyJKgp0VLz9JTN7IkfHtazi1btmTveLJMnI0nXct34foab/v+o7Lo6T1pgFlfGCBX1fXVQWImfM0vdZocL+aCdTqcnvS0CLBeLFp6lp66kSVBT4uWnqWnbmRJ0NOipWfpqRtZEvS0aOlZeupGloRvT8u5BdN4WrVqlezduxea+6BBg2TKlClQ1ndo9uzZ0tjYGA07dOhQaWpqSp+Cm+PUqVPT/7xz506pra0V9w1+Luteixcv7vBNfnV1dfLoo4+mv+3PMh/fhetjvPc+PC5zf9EsB4+2RhSjhpwlt18z0MKSdxaZ38Hvfcb0+dU/+F/d5pHxTIMpYY6XpCbvWEtWk570tAnw55nNS0vTUxOyvU9Pm5eWpqcmZHufnjYvLU1PTcj2Pj1tXoVOl+QdT4VG8fH5bkN0tznz0qVLo+EmTpwYNZbcP6c2S081m5YsWSLLli2LGlOuWTV27NiomeY2WU/dzeX+fPDgwR0aUZZ5hHhhPvjbffLCrnfaGY4dkWX/18joUTsfL8STjSd8JRBP/NP0JMfTjSwJelq09Cw9dSNLgp4WLT1LT93IkqCnRUvP0lM3siToadHSs/TUjSwJelq0Cp9l46nwxtAIrrm0YcMGWbt2rbj/vXv37nRTyn1A6pv87r33Xpk3b150V5O7w8k1o9zdUe5OJ3dsvq/QLsznmg5L47P70xwn/vBzWfGTBfnymI9DPNl4wlkRT/zT9CTH040sCXpatPQsPXUjS4KeFi09S0/dyJKgp0VLz9JTN7Ik6GnR0rP01I0sCXpatAqfZeOp8MbQCO6OJfdydzy5u5/GjRvX5TE613TatGlTlzueMu98ggbLEgrpwnzrSKs0PNEs7lE795o4vFrWPPid6A4zXy/Ek40nfDUQT/zT9CTH040sCXpatPQsPXUjS4KeFi09S0/dyJKgp0VLz9JTN7Ik6GnR0rP01I0sCXpatAqfZeOp8MbqCKl9m1KP1uVqPI0aNSq9x9PKlSujO53cHVDTp08Xd/ysWbM63CmlDv7fgVAuzOMn2mTR03tlx9+ORjMbWHW6zL+hVr71zZvYeEKLAciFUi/dTZXzA4rAEKGnAQuI0hNAMkToacACovQEkAwRehqwgCg9ASRDhJ4GLCBKTwDJEKGnActDlI0nD8jaEO6ROXc3U2oT9FyNp8yN0t0jeZmv+vr66PG79evXR/tFWV7uwgzhVXHR56Vi6DXtU2k7ISe2PiLy7htFObV/rfuz6bz+uenvTHmGKUABClCAAhSgAAUoQAEKUCBMAZ9P9MQVZOMprmDM412jaMaMGR0eq8t87C718e5xutQdUe7P3Abkrlnl9nXK3HDcNa1Se0BZTi2EjvCelg/ke7/cJe6uJ/eaevl5MunSmuh/F+P8+KgdXqHFuH742etJzk83siToadHSs/TUjSwJelq09Cw9dSNLgp4WLT1LT93IkqCnRUvP0lM3siRC97RYZMuy8RRXMMbx2ZpOqabSmDFj0o2mzG+1Sw2X2YhK3fkU944nnx3TpC/M1uNtcs+TzbLv0LGIaNgFvWXudYOkskcFG08xarS7Q5NeP+0UOZ4mZHufnjYvLU1PTcj2Pj1tXlqanpqQ7X162ry0ND01Idv79LR5aWl6akK29+lp89LSvj2189HeZ+NJEyrQ++6b6KZOndrl01N3Nblm0pw5c9Lvt7W138XjXu6uJrenU+Zjd64R5V7lusfT8t+/Lmu3H4wMzjytUhZ8tVbO6dMzbeb7wkTG4x1P+MWFeOKfpic5nm5kSdDToqVn6akbWRL0tGjpWXrqRpYEPS1aepaeupElQU+Llp6lp25kSdDTolX4LBtPhTcuiRFK+cLcvv+oLHp6T9p51hcGyFV1fTu4F+P82HjCL41iXD/87PUk56cbWRL0tGjpWXrqRpYEPS1aepaeupElQU+Llp6lp25kSdDToqVn6akbWRKhe1ossmXZeIorGMjxpXqhvPfhcZn7i2Y5eLQ1WolRQ86S268Z2GVVinF+bDzhF08xrh9+9nqS89ONLAl6WrT0LD11I0uCnhYtPUtP3ciSoKdFS8/SUzeyJOhp0dKz9NSNLInQPS0WbDzF1Qr4+FK9UB787T55Ydc70cpU9+4pi75WGz1q1/lVjPNj4wm/oIpx/fCz15Ocn25kSdDToqVn6akbWRL0tGjpWXrqRpYEPS1aepaeupElQU+Llp6lp25kSYTuabFg4ymuVsDHl+KF8lzTYWl8dn96VeZed5EMH9A76yoh8/PdCPI9XpLli3hyPFyAnrgVkqQnooRn6IlbIUl6Ikp4hp64FZKkJ6KEZ+iJWyFJeiJKeIaeuBWSDN0TMciV4aN2cQUDOb7ULpS3jrRKwxPN4h61c6+Jw6tl2hXnd7sayPx8N4J8j5dkqSKeHA8XoCduhSTpiSjhGXriVkiSnogSnqEnboUk6Yko4Rl64lZIkp6IEp6hJ26FJEP3RAzYeIqrVAbHl9KFcvxEmyx6eq/s+NvRaGUGVp0u82+olZ6V7d/sl+2FzM93I8j3eEmWMeLJ8XABeuJWSJKeiBKeoSduhSTpiSjhGXriVkiSnogSnqEnboUk6Yko4Rl64lZIMnRPxCBXhnc8xRUM5PhSulCe+mOLrHz+jUi+skeF/OArQ+Siml45VwKZn+9GkO/xkixVxJPj4QL0xK2QJD0RJTxDT9wKSdITUcIz9MStkCQ9ESU8Q0/cCknSE1HCM/TErZBk6J6IARtPcZXK4PhSuVD2tHwg3/vlLnF3PbnX1MvPk0mX1qgrhMzPdyPI93gqkiGAeBo+To1yPJXIFKCniUsN01MlMgXoaeJSw/RUiUwBepq41DA9VSJTgJ4mLjVMT5XIFKCniUsN+/ZUT0gJ8I6nuIKBHO+7cLONd8eqv8iBd1vzFu338Z7ywJRPZD0emZ/vRpDv8fKGzXIg4snxcAF64lZIkp6IEp6hJ26FJOmJKOEZeuJWSJKeiBKeoSduhSTpiSjhGXriVkgydE/EIFeGjae4goEcXwwXyrSHX4mtufyWS9h4iq2of0Ax1It+lvknOL/87bIdSU96WgRYLxYtPUtP3ciSoKdFS8/SUzeyJOhp0dKz9NSNLAl6WrT0rG9P/YxyJ9h4iisYyPG+CzfbeDN/9qocPdb+LXX5vHqfXikPffPirIci8/N9B5Lv8fIx7e4YxJPj4QL0xK2QJD0RJTxDT9wKSdITUcIz9MStkCQ9ESU8Q0/cCknSE1HCM/TErZBk6J6IQa4MG09xBQM5vpgvlDfe+VAanmiWD1pPRNpjP3m2zBjb3ySPzM93I8j3eCYwJYx4cjxcgJ64FZKkJ6KEZ+iJWyFJeiJKeIaeuBWSpCeihGfoiVshSXoiSniGnrgVkgzdEzFg4ymuUhkcX6wXims2ff9Xu2TfoWPRKrhvr7vnS4OlV88eplVB5ue7EeR7PBMYG0+yYsWKJMlyfhZSn0meDMdLUlOEnvS0CLBeLFp6lp66kSVBT4uWnqWnbmRJ0NOipWfpqRtZEqF7WiyyZXnHU1zBQI4v1gul8dn98lzT4Uj5zNMqZf4NQ+S8s04zqyPz890I8j2eGS3HAYgnx8MF6IlbIUl6Ikp4hp64FZKkJ6KEZ+iJWyFJeiJKeIaeuBWSpCeihGfoiVshydA9EYNcGTae4goGcnwxXijPvHJQ/v13r6eF7xx/oVw2qE9e4sj8fDeCfI+XF1w3ByGeHA8XoCduhSTpiSjhGXriVkiSnogSnqEnboUk6Yko4Rl64lZIkp6IEp6hJ26FJEP3RAzYeIqrVAbHF9uF0vTm+zL/N7vl+Im2SP+Gy/rJjZ89N++VQObnuxHke7y88bIciHhyPFyAnrgVkqQnooRn6IlbIUl6Ikp4hp64FZKkJ6KEZ+iJWyFJeiJKeIaeuBWSDN0TMWDjKa5SGRxfTBfK4fc/knue3CUHj7ZG8sMH9JbvThgklT0q8l4JZH6+G0G+x8sbj42nJOmyfhZSn0meBMdLUpN7PCWrSU962gT488zmpaXpqQnZ3qenzUtL01MTsr1PT5uXlg7dU5u/9j4ftdOEyuT9YrlQ3B1OP1q3V7bvPxrJV/fuKQu+Wit9elXGWglkfr4bQb7HiwXY6WDEk+PhAvTErZAkPRElPENP3ApJ0hNRwjP0xK2QJD0RJTxDT9wKSdITUcIz9MStkGTonohBrgwbT3EFAzm+WC6U1VvflF+/fCBSdXc4ff/Lg2VIvzNiKyPz890I8j1ebMSMD0A8OR4uQE/cCknSE1HCM/TErZAkPRElPENP3ApJ0hNRwjP0xK2QJD0RJTxDT9wKSYbuiRiw8RRXqQyOL4YL5cU9R+T+Z/6a1v72VRfINcOqEtFH5ue7EeR7vEQg//tDEE+OhwvQE7dCkvRElPAMPXErJElPRAnP0BO3QpL0RJTwDD1xKyRJT0QJz9ATt0KSoXsiBmw8xVUqg+NP9YXyxjsfSsMTzfJB64lIe+wnz5YZY/snJo/Mz3cjyPd4iWEK92BJ0tJ9FlKfSY7J8ZLU5Polq0lPetoE+PPM5qWl6akJ2d6np81LS9NTE7K9T0+bl5YO3VObv/Y+H7XThMrk/VN5obhm0/d/tUv2HToWaV9U00vu+dJg6dWzR2L6yPx8N4J8j5cYJhslSVJGn4XUZ5KDcrwkNbl+yWrSk542Af48s3lpaXpqQrb36Wnz0tL01IRs79PT5qWlQ/fU5q+9z8aTJlQm75/KC6Xx2f3yXNPhSPrM0ypl/g1D5LyzTktUHpmf70aQ7/GSBEU8OR4uQE/cCknSE1HCM/TErZAkPRElPENP3ApJ0hNRwjP0xK2QJD0RJTxDT9wKSYbuiRjkyrDxFFcwkONP1YXyzCsH5d9/93pa8c7xF8plg/okrorMz3cjyPd4SaIinhwPF6AnboUk6Yko4Rl64lZIkp6IEp6hJ26FJOmJKOEZeuJWSJKeiBKeoSduhSRD90QM2HiKq1QGx5+KC+UHDzwi83+zW46faIuEb7isn9z42XMLoo3Mz3cjyPd4ScIinhwPF6AnboUk6Yko4Rl64lZIkp6IEp6hJ26FJOmJKOEZeuJWSJKeiBKeoSduhSRD90QM2HiKq1QGx/u+UG769gypGf9dOXi0NdIdPqC3fHfCIKnsUVEQbWR+vhtBvsdLEhbx5Hi4AD1xKyRJT0QJz9ATt0KS9ESU8Aw9cSskSU9ECc/QE7dCkvRElPAMPXErJBm6J2LAxlNcpTI43ueF4u5w+taP14hUDYlkq3v3lAVfrZU+vSoLJo3Mz3cjyPd4SeIinhwPF6AnboUk6Yko4Rl64lZIkp6IEp6hJ26FJOmJKOEZeuJWSJKeiBKeoSduhSRD90QM2HiKq1QGx/u8UFZvfVN+/fKBSNXd4fT9Lw+WIf3OKKgyMj/fjSDf4yUJjHhyPFyAnrgVkqQnooRn6IlbIUl6Ikp4hp64FZKkJ6KEZ+iJWyFJeiJKeIaeuBWSDN0TMWDjKa5SGRzv60J5cc8Ruf+Zv6ZFv33VBXLNsKqCCyPz890I8j1eksiIJ8fDBeiJWyFJeiJKeIaeuBWSpCeihGfoiVshSXoiSniGnrgVkqQnooRn6IlbIcnQPREDNp7iKpXB8T4ulDfe+VAanmiWD1pPRKJjP3m2zBjbv1td342Z0MdLsox91Evm+XK8JFdPhJ70tAiwXixaepaeupElQU+Llp6lp25kSdDToqVn6akbWRL0tGjp2dA9dYHciQr3amtra/9aMb7KVqDQF4prNn3/V7tk36Fj7cbvviEP3/b30qtnDzaewKqr/sH/6jZZ6PXrPDDHAxcNjNEThAJj9AShwBg9QSgwRk8QCozRE4QCY/QEocAYPUEoMEZPEAqM0ROEAmOhe4IM3cbYeIorGMjxhb5QGp/dL881HY60zjytUt79nw/Kikd+klMv9DuQfM8vyVItdL2w0ZXkanX9LK5fsr70pKdFgPVi0dKz9NSNLAl6WrT0LD11I0uCnhYtPUtP3ciSCN3TYpEty8ZTXMFAji/khfLMKwfl33/3elrqzvEXyo/mzpQVK1aw8WSoH97xlLteDJRqtJDXQ7bBOZ66JKYAPU1capieKpEpQE8Tlxqmp0pkCtDTxKWG6akSmQL0NHGpYXqqRKZA6J4mjCxhNp7iCgZyfKEulKY335f5v9ktx0+0P815w2X95MbPngvtMeP7jqDQx0uyVAtVL92dI8dLcvW4x1OymvSkp02AP89sXlqanpqQ7X162ry0ND01Idv79LR5aWl6akK290P3tGl0TbPxFFcwkOMLcaEcfv8juefJXXLwaGukNHxAb/nuhEFS2aOCjScR8d3oSrJUC1Evuc6P4yW5emyUJKtJT3raBPjzzOalpempCdnep6fNS0vTUxOyvU9Pm5eWpqcmZHs/dE+bBhtPcb0SP3727NnS2NgomzdvltGjR6c/f9WqVTJ16tT0P+/cuVNqa2ulublZhg4dGv354sWLpb6+Pp2pq6uTRx99tMPnoCec9IXi7nD60bq9sn3/0egUqnv3lAVfrZU+vSqjf0bG892YCX08tBaQHLJ+yOegGY6HSmE5emJOaIqeqBSWoyfmhKboiUphOXpiTmiKnqgUlqMn5oSm6IlKYTl6Yk5oyrcnel7d5XjHU1zBGMdXVFTIypUrowZTZuNpy5YtMmbMGEk1m5YsWSLLli2TpqYmcY2qsWPHypQpU8Qdn/pCQvfngwcP7tCIspxa0oW7euub8uuXD0Sn4O5w+v6XB8uQfmekTwkZL/RGkO/5WepByyLrp32G5X2OZ9HSs/TUjSwJelq09Cw9dSNLgp4WLT1LT93IkqCnRUvP0lM3siToadHSs/TUjSwJ356Wc8uWZeMprmACx7sGUmbjyTWadu/eLUuXLk1/eipz7733yrx586K7mtwdTq4Z5e6Ocnc6rV27Nu+zSbJwX9xzRO5/5q/pc/n2VRfINcOqOpwbMp7vxkzo4+VdHFkORNaP4+EC9MStkCQ9ESU8Q0/cCknSE1HCM/TErZAkPRElPENP3ApJ0hNRwjP0xK2QZOieiEGuDBtPcQUTOL5z42nixIkybty4Lo/RuabTpk2butzxlHnnU76nk9SF8sY7H0rDE83yQeuJ6FTGfvJsmTG2f5fTQsYLvRHke3751ka245D143i4AD1xKyRJT0QJz9ATt0KS9ESU8Aw9cSskSU9ECc/QE7dCkvRElPAMPXErJBm6J2LAxlNcpQIfb2k8jRo1Kr3Hk3tMz93p5O6Amj59evRo3qxZszrcKYWeehIXims2ff9Xu2TfoWPRsBfV9JJ7vjRYevXswcZTloVg4wmtTmxPMPzT9GQS14M+yskEx7No6Vl66kaWBD0tWnqWnrqRJUFPi5aepaduZEnQ06KlZ+mpG1kS9LRo6dnQPXWB3Ane8RRXMIHjLY0nt7dT6uUeyct8uY3G3eN369evjzYit7zchRL3VXHJV6Ti/EvbP+ajY3Ji68Mi7x/K+2P/te7PpmP/uenvTPnO4dDHi4XDgylAAQpQgAIUoAAFKEABClCgaARWrFhRNOeinQgbT5qQh/c7N57cRuHu1XmPp9Rm4+49twG5e/TO7euUueG4e0wvtQeU5dTjdmifeeWg/PvvXk8Peef4C+WyQX26PQVkPN93BIU+nqUetCyyftpnWN7neBYtPUtP3ciSoKdFS8/SUzeyJOhp0dKz9NSNLAl6WrT0LD11I0uCnhYtPUtP3ciS8O1pObdsWTae4gomcHznxlOub7VLDeeOyfzWO/fnce94yrdj2vTm+zL/N7vl+Im26PRuuKyf3PjZc3PKIBdK6I0g3/NLoFTTH4GsH8fDBeiJWyFJeiJKeIaeuBWSpCeihGfoiVshSXoiSniGnrgVkqQnooRn6IlbIcnQPRGDXBk2nuIK5nl8c3Nzeq+mzI/IbCbNmTMn/VZbW3tTx73cXU1uT6fMx+5cI8q9fO/xdPj9j+SeJ3fJwaOt0fjDB/SW704YJJU92s+nuxdyYfpuzIQ+Xp6lmvUwZP04Hi5AT9wKSdITUcIz9MStkCQ9ESU8Q0/cCknSE1HCM/TErZAkPRElPENP3ApJhu6JGOTKsPEUVzCQ47NdKHes+osceLe9oZTPq9/He8oDUz6Rd+Mi9EaQ7/nls4bdHRP6D1bOL8lq4ebwyWrSk542Af48s3lpaXpqQrb36Wnz0tL01IRs79PT5qWl6akJ2d737Wk7u65pNp7iCgZyfLbCnfbwK7Fnt/yWS9h46kaRjSe8vHz/YOV4+NogSXoiSniGnrgVkqQnooRn6IlbIUl6Ikp4hp64FZKkJ6KEZ+iJWyFJeiJK/jJsPPmzLuqRsl2YM3/2qhw9djzv8+59eqU89M2L2Xhi4ynvGkodyH9xxCbs8AH0pKdFgPVi0dKz9NSNLAl6WrT0LD11I0uCnhYtPUtP3ciSoKdFS8+G7qkL5E6w8RRXMJDj87lQ3DfZPbbtLRn/qSp1M/HOTMh4vu8ICn28JEsVWT+OhwvQE7dCkvRElPAMPXErJElPRAnP0BO3QpL0RJTwDD1xKyRJT0QJz9ATt0KSoXsiBrkybDzFFQzk+GK8UEJvBPmeX5KlWoz1wvnhAlw/3ApJ0hNRwjP0xK2QJD0RJTyhrr9XAAAgAElEQVR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L8YLJfRGkO/5JVnGxVgvnB8uwPXDrZAkPRElPENP3ApJ0hNRwjP0xK2QJD0RJTxDT9wKSdITUcIz9MStkKRvT+Sc2HiKq1QGx/suXGQ8342Z0MdLsoyR9eN4uAA9cSskSU9ECc/QE7dCkvRElPAMPXErJElPRAnP0BO3QpL0RJTwDD1xKyQZuidiwMZTXKUyOL4YL5TQG0G+55dkGRdjvXB+uADXD7dCkvRElPAMPXErJElPRAnP0BO3QpL0RJTwDD1xKyRJT0QJz9ATt0KSvj2Rc2LjKa5SGRzvu3CR8Xw3ZkIfL8kyRtaP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+kUHL9lyxYZM2ZMeuTNmzfL6NGjo3+uqKiI/v+sWbNk6dKl6czEiRNl+vTpMmXKFPMZIxdK6I2Z0OdnLoocByD1wvFwAXriVkiSnogSnqEnboUk6Yko4Rl64lZIkp6IEp6hJ26FJOmJKOEZeuJWSDJ0T8QgV6bCvdra2trifhCPT06gublZhg4dKqlm06pVq2Tq1KnilmnJkiXRQPX19VJXVyfr16+X2tra6M93797doRFlOSPkQgm9MRP6/Cz1oGWRetE+w/I+x7No6Vl66kaWBD0tWnqWnrqRJUFPi5aepaduZEnQ06KlZ+mpG1kS9LRo6Vl66kaWhG9Py7lly7LxFFewAMe7RtOjjz4qa9euTX+6azLde++9smnTJhk7dmx0V5O7w8nd8fTaa69Fdzo1NTXlfTZI4YbemAl9fnkXR5YDkXrheLgAPXErJElPRAnP0BO3QpL0RJTwDD1xKyRJT0QJz9ATt0KS9ESU8Aw9cSskGbonYpArw8ZTXMECHD979uzoUzs/Rjdu3Lj0aJl3PI0fPz5951O+p4NcKKE3ZkKfX761ke04pF44Hi5AT9wKSdITUcIz9MStkCQ9ESU8Q0/cCknSE1HCM/TErZAkPRElPENP3ApJhu6JGLDxFFfJ8/G5Gk+u4ZTa42nx4sXR43XuDih3h9S6detkwoQJHe6UQk8duVBCb8yEPj+0FpAcUi/I56AZjodKYTl6Yk5oip6oFJajJ+aEpuiJSmE5emJOaIqeqBSWoyfmhKboiUphOXpiTmjKtyd6Xt3leMdTXMECHK81nlJDukfyUo/euf/v7pByj9/NmzcvvRE5enpuM/Nzzz0XjTNHAQpQgAIUoAAFKEABClCAAhSgwCkQePPNN81/5z8Fp5keko2nU6nfzdhuo/ANGzZ02ePJ3dWU+mY7twG5e8TO7euUueG4a1ql9oAqwqnxlChAAQpQgAIUoAAFKEABClCAAhQoIwE2nopwsXN9q13qdN1m46lGVOrOpzh3PBUhA0+JAhSgAAUoQAEKUIACFKAABShAgRIXYOOpSBfQNZOmTp2aPrudO3dKbW1t9M/urqbBgweL2+8psxHlMvnu8VSkDDwtClCAAhSgAAUoQAEKUIACFKAABUpYgI2nEl48njoFKEABClCAAhSgAAUoQAEKUIACFChmATaeinl1eG4UoA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WK9NxWrVolTz75pOzcuVO2bduWPsuRI0fK5z73OfnGN74ho0ePTuzsOR49LcXEemG9FHO9IOfmanjgwIGJ/hzNNS7HQ1YFz9ATt0KS9ESU8Aw9cSskuWTJErnxxhultrYWicfOcLzYhB0+gJ70tAiEXi8Wi3yybDzlo1bGx8yePVsaGxsjgQkTJnSRWLduXfRnK1eulClTpsSW4nj0tBQR64X1Usz1gp7bxIkTZdy4cVJfX48eEivH8WLxdTmYnvS0CLBeMK0tW7bI9OnTo//o6V6TJ0+Wu+66S0aMGNHhA5LyfOihh6LPP3TokFRVVUW/086fP19qamo6jFdRUSGbN2+O/R8KOF47Kz2x64H1wnrBKqW4Umw8Fdd6FPXZvPzyy/LpT39aFi9e3O1fiFpaWuSee+6JmlPul4M4/wWI44nQE78kWC+sF7xaRHzXi+XckvqLEzomx0OlsBw9MSc0RU9UCsuVomdzc7O4u+pdE8j9R0/3u1HqjvvO/6EzifmtWbNGJk2aFDWcRo0aJU1NTdHvtO6fN27c2KHZlUSjhOOdbB7SU7+OWS+sF71KijPBxlNxrktRnpW7vfCxxx6TrVu3qudXV1cn3/3ud2XmzJlqtrsAxzspQ0+9jFgvrBe9Sk4mTkW9zJkzBz7FXA1+5EPc/DjeSSl65q4a1ktHH9ZLcdWLu7vj1ltvlZdeeind9HHNKHeXs7vTftasWbJ06dLopJNoPLm7m1xj6/nnn0/f4ZR5x1VmsyuJRgnHO/mUBD31f8OzXlgvepUUZ4KNp+Jcl6I8K/eL6YYNG2Tt2rXq+SXxL36Od5KZnmrJCeuF9aJXScfGk8+fZ6n/QukeD/nMZz6T81SXLVsmM2bMiPWoHcc7SUxP/cpgvbBe9Co5mfBdL7n+/Z5qmqaaT0n8vtTdZ7g7rW677TZZvXp1ekuJJBolHI+eluuP9cJ6sdRLMWXZeCqm1Sjyc0n9opH5X5yynXLqEZa4+zxxvHZdemIXBuuF9YJVSnvKd724Md0vi2effba4zX1zvZL4ixPHS7YRS096Wn6+sF6SrRd3x9PDDz/c7R337mfq1KlTozuf3J1QcffIc3eUDB06VBYsWJB12VP7Sbrfc924cfd44njt+8fSE/spw3phvWCVUnwpNp6Kb02K+ozct9a524/dv9zdho6f+tSn0uf7pz/9KWqSuF8AqqurO9yinO+kOB49LbXDemG9FHO9pJrI2v53STWeOF57NdATuypYL6wXrFI6/kcOHz/PXDPJNYJyjZVqPrmzi/uopPusefPmRXs7dffK/DKTuI0njifRY5OpLy+iZ+4rkfXCerH8rC6mLBtPxbQaJXAu7jbj++67L/qXg9vkMdvLPUqycOHCWBuLpz6X47V/cws9sYuD9cJ6wSqlPeW7XtyY7k6ryy+/vMs3I2Wet2sA9OnTJ5GfoRyv/a5RemJXBuuF9YJVSnvKZ700NDTIpZdemvMbk921fvXVV8sPf/jDWHuMph6py/ateZk+qWaX9iSAZsrx2oXoqVXKyd9d3COfrM/2Ox15/WF1UwwpNp6KYRVK9Bzcv+CPHDnS4exHjx5dsNlwvGRp6UlPiwDrxaLFLAUoQAEKUIACFKAABSiQEmDjibUQhID7ryQDBw6UQja+Ov9XLp/jBbFIRTQJ1ksRLUYJnIrvevFN4nt+vsfz7Rn6eL7Xz/d4oa+f7/mFvn5uc/Mbb7wxkTtUkbXxPR5yTszgAr7Xz/d4uASTiEBo68fGE7LqzJgFkvpFI/Pra91JuMfOst1amtQeHr7HQ2GT8gx9PN/r53u80NfP9/xCXz/f8/M9nu96CX083+vne7zQ18/3/EJfP7ehuft9020rUVVVFT3iN3/+/C6PSSfxrXZu7XyPh9aL77/4lup4vtfP93isl3aBpOqzWNcPXed8c2w85StXpsf5/EXDbSY5cuTI6F/6EyZMiPZjcRubu1fnb8xLovHkezw3D5+eoY/ne/18jxf6+vmeX+jr53t+vsfzXS+hj+d7/XyPF/r6+Z5f6OuX+tZT13AaNWpUtMm429jc/fPGjRujL9dJvZJoPPke71Q0unz/RdvneL7Xz/d4rJeTf+kv1eu9WNoWbDwVy0qUwHn4/kXD/Uvj1ltv7bBpnDsH980X69ati75Zb+nSpZFcEo0n3+P59gx9PN/r53u80NfP9/xCXz/f8/M9nu96CX083+vne7zQ18/3/EJfP3d3k/sPnc8//3z6DqfM/1CY+R8/k/iLqO/xfDcuQh/P9/r5Hi/09fM9P9/rV0wtBjaeimk1ivxcfP+i4W5n3LBhg6xdu7aLjHtvzpw56eZTEo0n3+P59gx9PN/r53u80NfP9/xCXz/f8/M9nu96CX083+vne7zQ18/3/EJfv+5+p0x9+9zq1avTd94n0XjyPZ7vv/iGPp7v9fM9Xujr53t+vtevmNoLbDwV02oU+bmcil80Hn74Ydm6dWtWmdTXrro7n9x/7Rs3bpzU19fnreh+cfM5nm/P0MfzvX6+xwt9/XzPL/T18z0/3+P5rpfQx/O9fr7HC339fM8v9PVzfxEdOnSoLFiwIOvvlO7O+8bGxqj55L7OffPmzbG+3Mb3eL7/4hv6eL7Xz/d4oa+f7/n5Xr+8/2JcgAPZeCoAaqgf6fsXDddMcv/id8/V19bW5mw+uTcXL14cq/HkezzfnqGP53v9fI8X+vr5nl/o6+d7fr7H810voY/ne/18jxf6+vmeX+jr5/7D5rx586K9nbp7pZpP7v24jSff4/n+i2/o4/leP9/jhb5+vufne/2KqS/BxlMxrUaRn4vvXzQcR0NDg1x66aXRt4l093r55Zfl6quvlh/+8Icyc+bMWIo+x/PtGfp4rBeR1F2ApdiI9V2fvusl9PmF7ul7/XyP53v9fI/n2zP08UJfv9Qjddm+RTnzl8zUv3NfeumlDhuOW38R9T2e77/4hj6e7/XzPV7o6+d7fr7Xz/rzqJB5Np4KqRvgZ/tszATI12VKvj1DHM/9AHevmpoaLyXje7zMSYW4fqdyfl4KJmMQ3+vne36+x/PtGeJ4vn+e+R7vVP58CbFefF/jp3L9TuVcCz2277/4hjqeazB390RGIdbQ93ipOYS6fqdqfoWojVL5TDaeSmWlTuF5+v5FkeMlu9ihe7q9LRYtWhTdFfelL31Jrr/++mQBO32a7/FCXz/OL9lypSc9LQK+f575Ho/Xg6Ua9Gzonr7/Ys/x9JqzJHx7ur2B3OOYkydPln/8x3+MddcbMk/f4/n25HhIFZR2ho2n0l4/L2fv+xdFjpfssobu6f5F9cgjj4j7lhm3H1hVVVVBm1C+xwt9/Tg/Xu8WAdaLRUvP+v555ns81oteA5ZE6J6+/2LP8SzVp2d9e27ZskVWrFgRbXNw6NChaF/aQjahfI/n25Pj6TVe6gk2nkp9BT2cv+9fFDlesosaumemltvvy22y6uuXAB/jhb5+nB+vd4sA68WiZcv6+Hnm++c168VWA1o6dE/ff7HneFrF2d737Zl5dmvWrJH/+I//iP4jqHuNHDlSbrnlFrn22msL8jiej/F8e3I8W72XYpqNp1JctVN4ziH+Yur7F2GO5+eWZPcv5d/85jddmlA333xzwX4JKPR4vP6S/eFHT3paBEKvl85/iSr0zzPf44W+fpyf5WrWsz7+Yh9646Kc5peaq3sc9ZlnnpEnn3yySxPqxhtvTHw/Ul/j8XrQf2ZYEr49LedWyCwbT4XUDfyzQ/yLve9fhDneZClUIyj0X3h4/SX7A5ae9LQIhF4v/PlpqQY9G3q9hDw/X3+xD71xUS7zy/xpkKqdH//4x7Jt27boLfco3g033BDdCZX0l+L4GI/XQ7JfZOTbU/+3VWETbDwV1rdsPt1355bjJVtaoXtqv/Dcf//9Mnr06GRRRaS7f6EkPV7o68f5JVua9KRnPgK+fp75/nnN6yGfauj+mJA9ffzFPvTGRTnNL3Ou7jFVdyfUww8/3KEJtXDhwoLche9jPF4PhWlC+WpUJvuTH/s0Np4wJ6ZAgVB/MfX9izDHK0wjqLtfeNxz+DNnzgSrPL9Y5r+gCzUer7/81qa7o+hJT4tA6PXCn5+WatCzoddL6PPz8Rf70BsX5TS/znN9/PHHZdmyZfKLX/zi/2/vbF6uqr44fvoDJBNHJSG9DAIj0XJgNUiofmhIg4w0CaHozQg0tKwcWVmIBYFlUiCRBr1MRKkc6CAQKoqgwkEGotFIyugP6Mf3yHo6nufc83LP2uve+9zPmWTPPWevvT977XX2WXvttZOfhiddTS2P8dBs87vcEc2zS9363IvjqQ89nq0l4PmhrQF45ZVX1oalespTWadPn66NgplkeW1U17N94yivTZ2GvUcJEufNm5d8MlFXv0nuv+jx3qaf4dmG0qV7sJ//RTtq5TKVo3mUjqD22tD9Tuxnv4UQ7Kfv+FPurFtuuaVWkT0/7FXWP//8UytzkuW1sQie7RtHeW3qNMw99u69+uqrk0RRta3TJPdf9HhvwzSaZ5s6DXsPjqdhyfFcKAEd4fv8888n3RtdbJDkffrpp9l3330X0s5oeSGNmjIheuFv3rx5Jpmkmn/VVVdlTz31VLZ161bXvfw6te+nn37KXn311UrKDz30UPbMM8+4bR+Mlhc93jXR+Oqrr/J8Y1U5F1566aXs5ptvzsR1Eq9ontH2LFreJOrAuNcZ++lnr6PH+1y3nzri/dtvv83t/3333ZetXr066XCSvOXLlw98v3sLj5bnXX/KyzKNQS1wWB4pMbn++uuzbdu2uUfz182H5CB5+umns0OHDrnNeaPlRY93bU0+f/78wH5Sfd54441G5/ekjAMcT5PSU2NYT00UFbr5999/V9Zu5cqVbh++5u2VM0iGVR/0KScB7733XrZnz57szJkzIeRTy9NLaenSpdn+/ftz42YT07rGydBt377drf0p9aVNe8oN8W7fbbfdluumHE2LFy/OxZ09ezZ79913s3vvvTf78ssv3ViqvSdOnBhYpl5Uq1atcuu/aHnR4930R3Zl9+7dsyYA3jylCCnHQ1nRonmmtmfl9qWWh/2cbbqwn+3NOfbT930UbT8VgffFF1/ki0q//fZb/kGvBNEPPvhgko9BzW0XLFiQvfPOO+2VrMedqeXJPj/55JPZjz/+mPPS+1QLPXXX119/7fb9IDn2DhwkU6fNXXfddUNRbNOecsGe7VPbbr311lyE5p/aHaJLc0Rx9rbVTfOhK664IvNsX7S86PFu+iO7cvDgwVl6781zKCV3fAjHkyPMaSpKH00aLEXvern95uTw5mL7Xk+ePJlPBCyqxPt0NDkSFP2gl/+wL6QubU8pz1Yhnn322Xy1Tob11KlTtdXzdBym1pc27Sk31rN9WrFYs2bNzMSqKMs+Wm3S1UUnqhwIf/zxR3b48OE8Gk9JysvXL7/8kk/yPMaf9CZSXhWbiPFuETMag+YoLK4wNU18uvZp6vFQV58InpKf0p5VtS+lPOznbOLYz+ZRj/28tD1tLtlPi+6yRVCLKpHjwuuEMnMkpIiWHvSOleMilTzNj95+++2ZubQiqM+dO1c7gPo4gsoFq8/uuuuu7K+//hoos8/8rE17yoI926eIIH0LffPNN7N0UE6/HTt2ZH/++WezwWq4Qxy1BXTLli35+33Dhg2zntDcVHOoPjyt0Gh5Vc2PGO+yj/Pnz88uXryYOwo1Dnft2jXTlzieeqsuBcwFAjK069evz44dO5Y87LiOlz7gZGzlUHn88cfdIjzUPnme61ZlPFcRouVF6+C46EuqdjetaOslvW7dut762TayS5NIRVj1nQhHy2vqn1Tjvdh/cmJqYiWn+osvvphvk3z44YddI8jGZTyk4hltz6LlNemp9+/joi/e7bLysJ8+9rqpf1KN92m1n+bE14f9kSNH3CJ05Eg4fvx47cKuZ0RJtLwmPfX+XVu/xDMiibd33duUV+fY1ZhfuHChSwRS28guOU48ovWi5TWxTjXei/2nd730VZdF3+N4auoZfp8KAk0TxdQQyqelKOrpo48+cnOCtYmg8VzxjZaXun/K5Y9aX1K3tynHjNeKb5sVdM+k5tHyBvVT6vFepZ/62+uvv55XSdsePB3box4PqXlG27NoeantCfbzcgLYz34al3q8T5v9LJ82pagnOTa8IuPbRNB4RsxEy+unzd2f9rIf3SXHPNGUo8vLcdEmAskzqXm0vEG9lXq8l/VT9nrnzp155JgWkbUI6ulojtHKwVLYajfqHphQ+Qqd3bhxY/brr7/2jqpoi2DQ0ZL333//xCb9bdv2FPfJqH/yySfZ999/X1n8pk2b3LhG60v0h2jddjr7zTM6UDx//vnn3hFUbfUqWp7qFTneBzmCVAdFPSmM3TPCMXo8RPNsq1eTfB/20y+HI/bTfyRgP32Z2ni3PE+WZ1Tbje644w5fYVNQmt6BR48ezd/zVZdnMmVFdGme65lns66Loh15luNw0FY7pV64cOGC27ea5ktLlixxW+hvUvdoebnbwKcAABX8SURBVKpP5Hgf5BgtRt/jeGrSEn6fCgIaLFrhKe5FTdVwS06o8uUBfu6557K7777bzZCmqve4liuP+o033pjveVfia53YoqiOG264If+3VvCUP8hzQhWpL01bxEyHPE8ps7DgquTikhd1QuK46lyXeo3beNckZNGiRa72JnI8jBvPLrowjvdiPy+9g7Gf46idWTZu433S7af0XA4nXUoq/sgjj4R9dI+nhvWrlT6o77zzzjw/64oVK/KUFpojKTWA/i3Gr732mlsEmdnrqoND+rWk+ummLWKac3s61qx9qk1VcnEtng06ATlF+ye9zHEb7xovnt9io+4fIp5G3QMTKl8e/b1799buQfeMEJA8nZ4nZ5NXOHMT+sgVbdWlGF1hdbNVNW/nniUctIi1osfdojEU3unFOlpfBvWtHdmt31Unz0tlv/nmm3l4bDGJpSZR+/btc3VaWL2LJ7VoMqMTY1JM8qMjyEYx3m0M6qROXSl5Ro+HUfDEfmI/u9hX7KdfBNkoxvtctp9ayLr22mtDFzsjI4LUd8XoChu3WoD03GJu5erDXomULQKpuBXM8k15LtRZ8m2dSDjoiogo0XztnnvuybZt2zbr5NwutrLq3kHfD3JEpXI6FeeFOtxJjsMUTpLoCLJRjHcbg3boU0qefXWt7/M4nvoSnNLnoz9Eoz+0o1e0i/LkqFi2bFne5B9++CFfafNKFm0cy1uLyqGeSob92GOPub0cR6UvVcPTWHsmAy3Lsb3pKVcpylFd5uhtyjc1jMkaRQRZsZ7SH8/cVVUMInmOajxEOSqxn9jPYeyMPYP97ENv9rPYTx+eUR/a0RFBRXlyCi1evDgHZif3eSWLtl4ozzeLjidLhu1xKprJi3Zc1GmbWK9duzZpmpKI8V6O6jLHXVO+qWFGYnQEWbGO0sfTp09nnrmrqhhE8hymDzyfwfHkSZOykhKI/DCMjggyeSdPnsyjVoqX5b/4+OOP3bY2SN77778/s/1LpyjouFWLAvI6hS2pQvQo3DvZpCXhrnM0eU4GTCfkbNLKSPHUtQjHmqFPHUG2efPmmS0OkqkIwBRHPo8Lzx4q3fgo9hP72agkLW/AfrYE1XAb9tOHY0QpkR+G0RFBkqdooKqTcG3bpn73ioCXPEVTWSSOUjxYFJDnKWwRejGMDK9k3yZbc8s6x4i388S+V3Rynfqy2B5zYv7777/DoOn0TMoIMs0JtfiunR92SWdTRKuNC89O8HvcjOOpBzwejSMQ/WEYHRHUdMpViom+jKhNJuy4bu0F16X99Z7JsOM0pVmSvRj379/vFtFl/ffss8/mSb/LiRflyLMXmMd++3JUU1k/vPWljmoqR5cxq8qZpW1wnolCx4lnswZ3vwP7+b9s1apVbsn4NeHFfmI/u4/E2U9gPz0opi0j+sMwOiKoab7g7SjRfPPll1/Ozpw5k3ecFj71txdeeGEmyt8zGXZa7ehWui0AeUZ0WZTRzTffnJ07d24mTYBqpneVdkxY+gePeX05qqmsH976Ukc4RQSZMZPcqpxZnmlkJGOceHbT5uHuxvE0HDeeKmT9jzgVLfrDMDoiqM542sTUVhe8lE/73vWisgSxevkrP5EZW8nzuqK3FhWTq1a1IcXWxeeff/4yUeYcMUeXXvjnz5/PdMJI39XDNo7RdevWuX1oN+lB08S16fny78pvsWbNmqxqclZ3AlZXOXb/KHhG5kDCft6YYT/bjw7s520Z9rO9vsx1+xn9YRgdEVS38Gnzl75zlqI2WaTfjh078gh//b8Y2+KcZ3S/5EZvtSsmp64aRSm2Liope/Eqpl44cOBAdvDgwezw4cPZ8ePHZxx+7Uf45Xe2cYxG5MyyWnk7uiwn2KBTAqW32iHidY0bT692DSoHx1NqwnO0/OgcHtETm1GsaMvxI7mHDh2aSUQtzjt37sz/7hnhMUgtJU+XkgR6XtE5guS4ePvtty9rwvz58/PcWVdeeWX2wAMPuLbR2mcv26KzSRFQypVgyTKLYeXDMi47ZoovLnPMeKxstalfygiyQTrvvRU0mif20z+iEvvpd8oc9nNpWMQv9rPNW+bye6LtZ/SHYXREkDl+lPi6mIha807lHI1ywkqe13a+osZE5wiy75ViHdQu5c5SknrP00AlQ+1T9JicSpJj81FFjSkNw/Lly/N+te+avtFWZcdM0fFjixZREWupIsgGRUin2Ao6Tjy7W+PuT+B46s6MJ7JLx/XK6xt1Klr0h6E6OWVEUJMjpqxkitDxPr56HBQ5ZY6LyPZVrRjaZFX1OHHixIzj0Cs6SM4XrUJqEqMJhxxammAoak3bgDxPhRlFBETRWVfuSy+GxXKjeWI/h4+oxH5e0lzs5/BWPnq8K9J10JUiAhf76XeqZPSHYeqIoCZHTFlPFb2tCJpy/tHhR994PJkyR1BkC6vmQ+YMeuWVVy7bZu4RHWRb0RYsWJA7JpWaQ1FcujT/9EgnUeQ3iggyc9ZV9aMHw2K50TwjdXMAvyuu+DciC9ioW4p8VwJtIpA8T0VT5SMnioNgeUUEtdl6Vq7DypV+xy2rbEXGyKEgo1d1bdq0yX1lpkqOV44LMb3pppvySCZLplin9J6npInjnj17Lgthtsimv//+O4njadDx45oA7Nq1yzWiKzoCom47XaqIrkie2M9+EZXYz/8sG/ZzuKlN5HjHfvq+j6Lt57h8GHpFBLXZelYeVYoS94xG0pj48MMPs4sXL1YO4ChHl0eOIJtv2uEydthMnWXyPCVNjhk5gSw9RjGySSkgitE7Xk4TyZCDSadu26XDX5Sna/v27cMZ5QFPRUeQ2Xx+0FY7LSJ4R3RF8nTtnCEKI+JpCGg8ciniKfpUtMiJ4lzv42LCQa1mjdLxJNl9I1hsu0JxX3s559KgPlX7i9sbh+l747lixYr8Jf/DDz/kL2TlKtDe+m+//TbTiYW6li7138ZhzkPPieEwHDyfsVXZquTiihDwjOgq1zs1T+ynp6bEl4X9/I859jNe/9pIxH765jicpg/DNvrV5x7bwSBHheZMVVeU40my+zpjyqkWukSUeUQHGU+bKynaUdHwR44cydauXZtHwCttwWeffZbnGPV2mmgxcNGiRa6LnX30q++ztpijcqqSi3v0WV0d5xrPcltxPPXV0Cl9fhQ5kIqoU38YSta4RASlUDG9KF9//fU8meOonRUeOS70ovjggw9mTvNQ35WTLVZxVDSSwoQ9TrjTy1+n2umFrxe98iUo7FiTK/3bVob0/7ZFtU/fqo2K2rL+M31V+Y8++mjSflWfeUaMVXEY5GhWaPe+ffsmepKD/cyyqIjKPmNs0LPYz0tksJ/DaRf2czhu9tSo7WfEh+G4RAT166nqp+WY0dV3wc+jbh45gmy+qXmXIu7Vd8rt2XTZAmXfnEuSY+8knV5ni8maA2uRTpclbvc6Ebi4w0Dlm77edddd7jlUixwtuswzYqyqnwY5muWIKuZBa+pjfp9NAMcTWjE0gZQ5kBQKrGSxdnKAjNzvv/8esvVLQEaxoh19ylUx79DQStDywegcQS2rld/WN9qqTlbRQWrh7R4h6zbxtmTmxeNfrT4ezq3yC3/z5s2zQqv1It66dWtSR5DGxj///JNZKHuX/q26dxy2amE/fbfyYj+/TDoGB4057Gc7a2R5e8pbU7Cf7fiV70ppP23uqXe2Lv1XER1e75+mFo8iIkgyjx49OjD1gmcEUkqbUcU2OkdQU/8Wf+8bbVUnyxykukfRTro8Dtax7zObY5q+asFVC69ezq1i29QWpW8xB5p+k7xt27ZlTzzxRBfkne/1XigYh62unSE4PoDjyREmRV1Kdqqr76lo5T38dce9puAevaIdfUqLOSq0/SsiYWR0josuOqG6XXPNNSEcutSr7l7pZzF5rOmrJgK6brzR//h45VjTS79q61uKiYYXq6pyuianVvsiInSwn8P1OvbT95TOLr2A/WxHC/vp62iuou5lP8uOkWhHSXREkEWd29Y3i5TRPF7/tgTSXtHxFh1elUOn3Wjqdld0jqAutdOirIczqIvMvvdKP4vJt01ftZ3PdEkOKC99KS6sVm19sxQbfdsV9XyXrZg2Jj0dv1HtHCQHx9Ooe2CC5Ecmb5ZHeP369Xnyuttvvz1fiVFOl7feemsgMc/Qy2hHV/QpgYJoqxZKBlh16WM7wik1QUOgtqrRERdFx5MSmWtyaCHA3hPl8qmSRRB1icD79K0+IrRKp+08VZd3sn0xmz9//mXb+OyYaX00WuLOYduE/RyWXPNz2M9mRuN+B/bzR9f3LfZz3tA8FfGk+ZHmRnrPbNmyJT/cZsOGDQOHkR1s4jHOvN/fTXVSRJCSfMtxoKsYhaPIMp2a651TUYxV5rp16yqrZ9vWmurO75cIREesmePJou+PHTuWrV69epb+ePRP+VTJYpn27rfdMR7yVIbaZVFiVWV67Fywcm3hrJyYXe9EbV3U3FNjdK5cOJ7mSk8mbscokjd38Qqr+Z5e7+iIoOhTWsSriW9fnpEf2onVv7H46IgLc/bIMauVJW3fKK4w2Yl6XiHITY5YTco1gfQ6zcQcPsWw6nIneOTlsjI1adu4cWNl7i2PU8Own41DqNcN2M8sec61Xh3U8DD2E/tZpyLR9lPzP+Vl1Du17WXb3tveX3dfdERQ2dFVdDxpbC5cuDDzyENkbW7Dtw/PUZ8y56EDXcqIjlgzZ48cJVoAVV6pM2fO5FUunqjntXBd54g1/eyjL2XW5vBRuwZdnuNBjrXvv/9+xvFblOlx6mIXXYq4F8dTBOU5IGNUyZvtBXL48OHGiCfPFSd1WWREUPQpVxZRJueSVvSqrj48oyeKox5io4i40MtKidEViltcEUkR6lze2lfm7b1Ca/pZXEVL2cdNjrW+7cN+zu49z4hK7Od/fD1OmUs51qrKxn7+77Ijz/vyx35eItg3+b0+ov/4449WEU/e+Z8iI4IUTaF8ORYxXVy4SvFhbxFlmrcod1bV1YfnqE+Z6zt+uz4fHbEmnXj44YfzbZjSm88//3wmulDsDxw4MOOI6tqWqvvLW/vK93jnyZJ+Ksqv2C6Pdgwqo2l+6d2+lG1pUzaOpzaUuKcXgaZB1aZwOyXCK6KijczUEUHFOkSf0tLkSGjDp+6eUX1o9633sM+PIuJiUF2lS0rE7bXaJDl12+nsN08nUZMjaNh+GvScfahVrWLZ6tfu3buTJ7EcNOlatWpVr2gy7Odrmbd+Fre6eusj9vNyR4wiKpVY1iuCs66/sJ/dtXmu20+9j5YsWTKzlag7oW5PpI4IKtdG/ffyyy/POAuKWw3t5LULFy70zt1qcpscCd1ozb57HE6Z69uGLs9HR6zV1a182nKXdgy6VwsTe/bsyapygtnBRd762XfO1aXd5uiqal+dbe0iY5zuxfE0Tr0xR+syiclHU0cEVXV1ylNayvKiQ7m7qLaHo7KLPI97oyMuPOrctQxzxFYlF9eRvZ45IOq2vnWtd5v7i1v7lCtr2bJl+WNnz57NIx91eZ8S2KZeugf72Y4U9vMSJ+xnO32Jvgv7+aub46JL302i/UwdEVTmZycu7tixI1+wKm91//jjj11zzMhWaxujvVu79GfqeycxuiQ6Yi11H1Tppw7M0VWVXFwpJyxaz6NudVvfPMovl2GLm/q7+nLx4sX5Leb0nbTDe5oY4XhqIsTvU0kgdURQW6hep7RUydNEWKdO7Nq1ayQTwkEMJnGiGB2x1lZ/PO+TLr755pvZu+++m+/pt0uOmn379rnrULR+qn07d+7MJ8Pl9tmE3JPnXC4L+zm63sV+jo59nWTs5y3j2TFjWKvUEUFtm6x5jdfJZEWZltNtVFHEde2fxFPmoiPW2uqP533SRTmYlM/ULqWZkCPK0+mkskehn3I+aTyU2ydH1Lh9o/XtVxxPfQny/JwkMM4RQR7A9aLau3dvVpe8uW9ycY96TlIZkREXo+ail6S28/XJw1DXBvRz1D3cTz720/ewi369MRlPYz/9+gn76cdyFCWNc0SQBw87pawuebtnsmiPOo9zGdERa6NmoTym8+YNf2plU/3RzyZC/X7H8dSPH0/PYQLREReRKGW4T506VSvS+7j6yPaNi6yUEWvj0sYU9UA/U1CNLRP7uTKZYza2J0cnDfs5HHvs53DcxuWpUURcRLZdjtFz587VivQ8rj6ybeMkK1XE2ji1MUVd0M8UVP8rE8dTWr6UPqEEWDGc0I6j2hCAwMgJYD9H3gVUAAIQmFACRFxMaMdRbQhAoJEAjqdGRNwwjQRYMZzGXqfNEICABwHspwdFyoAABKaRABEX09jrtBkC00EAx9N09DOthAAEIAABCEAAAhCAAAQgAAEIQAAC4QRwPIUjRyAEIAABCEAAAhCAAAQgAAEIQAACEJgOAjiepqOfaSUEIAABCEAAAhCAAAQgAAEIQAACEAgngOMpHDkCIQABCEAAAhCAAAQgAAEIQAACEIDAdBDA8TQd/UwrIQABCEAAAhCAAAQgAAEIQAACEIBAOAEcT+HIEQgBCEAAAhCAAAQgAAEIQAACEIAABKaDAI6n6ehnWgkBCEAAAhCAAAQgAAEIQAACEIAABMIJ4HgKR45ACEAAAhCAAAQgAAEIQAACEIAABCAwHQRwPE1HP9NKCEAAAhCAAAQgAAEIQAACEIAABCAQTgDHUzhyBEIAAhCAAAQgAAEIQAACEIAABCAAgekggONpOvqZVkIAAhCAAAQgAAEIQAACEIAABCAAgXACOJ7CkSMQAhCAAAQgAAEIQAACEIAABCAAAQhMBwEcT9PRz7QSAhCAAAQgAAEIQAACEIAABCAAAQiEE8DxFI4cgRCAAAQgAAEIQAACEIAABCAAAQhAYDoI4Hiajn6mlRCAAAQgAAEIQAACEIAABCAAAQhAIJwAjqdw5AiEAAQgAAEIQAACEIAABCAAAQhAAALTQQDH03T0M62EAAQgAAEIQAACEIAABCAAAQhAAALhBHA8hSNHIAQgAAEIQAACEIAABCAAAQhAAAI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yB1P4VIRCAEIQAACEIAABCAAAQhAAAIQgAAEIDAVBP4PSUvMkZPYWOAAAAAASUVORK5CYII="/>
          <p:cNvSpPr>
            <a:spLocks noChangeAspect="1" noChangeArrowheads="1"/>
          </p:cNvSpPr>
          <p:nvPr/>
        </p:nvSpPr>
        <p:spPr bwMode="auto">
          <a:xfrm>
            <a:off x="305485" y="305176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AutoShape 4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5/z418Mk19Frl+ypvSkp0WA9WLR0rP01I0sCXpatPQsPXUjS4KeFi09S0/dyJKgp0VLz/r21M8o0MbTT3/6U/nUpz4Vze5Pf/qT3HrrrdG+T5mv1J+3tbXf5cJX9wK+C9fneMt//7qs3X4wmvyZp1XKgq/Wyjl9eha0HHzOz02E4yW7nPSkp0WA9WLR0rP01I0sCXpatPQsPXUjS4KeFi09S0/dyJKgp0VLz9JTN7IkfHtazi1btmTveLJMnI0nXct34foab/v+o7Lo6T1pgFlfGCBX1fXVQWImfM0vdZocL+aCdTqcnvS0CLBeLFp6lp66kSVBT4uWnqWnbmRJ0NOipWfpqRtZEvS0aOlZeupGloRvT8u5BdN4WrVqlezduxea+6BBg2TKlClQ1ndo9uzZ0tjYGA07dOhQaWpqSp+Cm+PUqVPT/7xz506pra0V9w1+Luteixcv7vBNfnV1dfLoo4+mv+3PMh/fhetjvPc+PC5zf9EsB4+2RhSjhpwlt18z0MKSdxaZ38Hvfcb0+dU/+F/d5pHxTIMpYY6XpCbvWEtWk570tAnw55nNS0vTUxOyvU9Pm5eWpqcmZHufnjYvLU1PTcj2Pj1tXoVOl+QdT4VG8fH5bkN0tznz0qVLo+EmTpwYNZbcP6c2S081m5YsWSLLli2LGlOuWTV27NiomeY2WU/dzeX+fPDgwR0aUZZ5hHhhPvjbffLCrnfaGY4dkWX/18joUTsfL8STjSd8JRBP/NP0JMfTjSwJelq09Cw9dSNLgp4WLT1LT93IkqCnRUvP0lM3siToadHSs/TUjSwJelq0Cp9l46nwxtAIrrm0YcMGWbt2rbj/vXv37nRTyn1A6pv87r33Xpk3b150V5O7w8k1o9zdUe5OJ3dsvq/QLsznmg5L47P70xwn/vBzWfGTBfnymI9DPNl4wlkRT/zT9CTH040sCXpatPQsPXUjS4KeFi09S0/dyJKgp0VLz9JTN7Ik6GnR0rP01I0sCXpatAqfZeOp8MbQCO6OJfdydzy5u5/GjRvX5TE613TatGlTlzueMu98ggbLEgrpwnzrSKs0PNEs7lE795o4vFrWPPid6A4zXy/Ek40nfDUQT/zT9CTH040sCXpatPQsPXUjS4KeFi09S0/dyJKgp0VLz9JTN7Ik6GnR0rP01I0sCXpatAqfZeOp8MbqCKl9m1KP1uVqPI0aNSq9x9PKlSujO53cHVDTp08Xd/ysWbM63CmlDv7fgVAuzOMn2mTR03tlx9+ORjMbWHW6zL+hVr71zZvYeEKLAciFUi/dTZXzA4rAEKGnAQuI0hNAMkToacACovQEkAwRehqwgCg9ASRDhJ4GLCBKTwDJEKGnActDlI0nD8jaEO6ROXc3U2oT9FyNp8yN0t0jeZmv+vr66PG79evXR/tFWV7uwgzhVXHR56Vi6DXtU2k7ISe2PiLy7htFObV/rfuz6bz+uenvTHmGKUABClCAAhSgAAUoQAEKUCBMAZ9P9MQVZOMprmDM412jaMaMGR0eq8t87C718e5xutQdUe7P3Abkrlnl9nXK3HDcNa1Se0BZTi2EjvCelg/ke7/cJe6uJ/eaevl5MunSmuh/F+P8+KgdXqHFuH742etJzk83siToadHSs/TUjSwJelq09Cw9dSNLgp4WLT1LT93IkqCnRUvP0lM3siRC97RYZMuy8RRXMMbx2ZpOqabSmDFj0o2mzG+1Sw2X2YhK3fkU944nnx3TpC/M1uNtcs+TzbLv0LGIaNgFvWXudYOkskcFG08xarS7Q5NeP+0UOZ4mZHufnjYvLU1PTcj2Pj1tXlqanpqQ7X162ry0ND01Idv79LR5aWl6akK29+lp89LSvj2189HeZ+NJEyrQ++6b6KZOndrl01N3Nblm0pw5c9Lvt7W138XjXu6uJrenU+Zjd64R5V7lusfT8t+/Lmu3H4wMzjytUhZ8tVbO6dMzbeb7wkTG4x1P+MWFeOKfpic5nm5kSdDToqVn6akbWRL0tGjpWXrqRpYEPS1aepaeupElQU+Llp6lp25kSdDTolX4LBtPhTcuiRFK+cLcvv+oLHp6T9p51hcGyFV1fTu4F+P82HjCL41iXD/87PUk56cbWRL0tGjpWXrqRpYEPS1aepaeupElQU+Llp6lp25kSdDToqVn6akbWRKhe1ossmXZeIorGMjxpXqhvPfhcZn7i2Y5eLQ1WolRQ86S268Z2GVVinF+bDzhF08xrh9+9nqS89ONLAl6WrT0LD11I0uCnhYtPUtP3ciSoKdFS8/SUzeyJOhp0dKz9NSNLInQPS0WbDzF1Qr4+FK9UB787T55Ydc70cpU9+4pi75WGz1q1/lVjPNj4wm/oIpx/fCz15Ocn25kSdDToqVn6akbWRL0tGjpWXrqRpYEPS1aepaeupElQU+Llp6lp25kSYTuabFg4ymuVsDHl+KF8lzTYWl8dn96VeZed5EMH9A76yoh8/PdCPI9XpLli3hyPFyAnrgVkqQnooRn6IlbIUl6Ikp4hp64FZKkJ6KEZ+iJWyFJeiJKeIaeuBWSDN0TMciV4aN2cQUDOb7ULpS3jrRKwxPN4h61c6+Jw6tl2hXnd7sayPx8N4J8j5dkqSKeHA8XoCduhSTpiSjhGXriVkiSnogSnqEnboUk6Yko4Rl64lZIkp6IEp6hJ26FJEP3RAzYeIqrVAbHl9KFcvxEmyx6eq/s+NvRaGUGVp0u82+olZ6V7d/sl+2FzM93I8j3eEmWMeLJ8XABeuJWSJKeiBKeoSduhSTpiSjhGXriVkiSnogSnqEnboUk6Yko4Rl64lZIMnRPxCBXhnc8xRUM5PhSulCe+mOLrHz+jUi+skeF/OArQ+Siml45VwKZn+9GkO/xkixVxJPj4QL0xK2QJD0RJTxDT9wKSdITUcIz9MStkCQ9ESU8Q0/cCknSE1HCM/TErZBk6J6IARtPcZXK4PhSuVD2tHwg3/vlLnF3PbnX1MvPk0mX1qgrhMzPdyPI93gqkiGAeBo+To1yPJXIFKCniUsN01MlMgXoaeJSw/RUiUwBepq41DA9VSJTgJ4mLjVMT5XIFKCniUsN+/ZUT0gJ8I6nuIKBHO+7cLONd8eqv8iBd1vzFu338Z7ywJRPZD0emZ/vRpDv8fKGzXIg4snxcAF64lZIkp6IEp6hJ26FJOmJKOEZeuJWSJKeiBKeoSduhSTpiSjhGXriVkgydE/EIFeGjae4goEcXwwXyrSHX4mtufyWS9h4iq2of0Ax1It+lvknOL/87bIdSU96WgRYLxYtPUtP3ciSoKdFS8/SUzeyJOhp0dKz9NSNLAl6WrT0rG9P/YxyJ9h4iisYyPG+CzfbeDN/9qocPdb+LXX5vHqfXikPffPirIci8/N9B5Lv8fIx7e4YxJPj4QL0xK2QJD0RJTxDT9wKSdITUcIz9MStkCQ9ESU8Q0/cCknSE1HCM/TErZBk6J6IQa4MG09xBQM5vpgvlDfe+VAanmiWD1pPRNpjP3m2zBjb3ySPzM93I8j3eCYwJYx4cjxcgJ64FZKkJ6KEZ+iJWyFJeiJKeIaeuBWSpCeihGfoiVshSXoiSniGnrgVkgzdEzFg4ymuUhkcX6wXims2ff9Xu2TfoWPRKrhvr7vnS4OlV88eplVB5ue7EeR7PBMYG0+yYsWKJMlyfhZSn0meDMdLUlOEnvS0CLBeLFp6lp66kSVBT4uWnqWnbmRJ0NOipWfpqRtZEqF7WiyyZXnHU1zBQI4v1gul8dn98lzT4Uj5zNMqZf4NQ+S8s04zqyPz890I8j2eGS3HAYgnx8MF6IlbIUl6Ikp4hp64FZKkJ6KEZ+iJWyFJeiJKeIaeuBWSpCeihGfoiVshydA9EYNcGTae4goGcnwxXijPvHJQ/v13r6eF7xx/oVw2qE9e4sj8fDeCfI+XF1w3ByGeHA8XoCduhSTpiSjhGXriVkiSnogSnqEnboUk6Yko4Rl64lZIkp6IEp6hJ26FJEP3RAzYeIqrVAbHF9uF0vTm+zL/N7vl+Im2SP+Gy/rJjZ89N++VQObnuxHke7y88bIciHhyPFyAnrgVkqQnooRn6IlbIUl6Ikp4hp64FZKkJ6KEZ+iJWyFJeiJKeIaeuBWSDN0TMWDjKa5SGRxfTBfK4fc/knue3CUHj7ZG8sMH9JbvThgklT0q8l4JZH6+G0G+x8sbj42nJOmyfhZSn0meBMdLUpN7PCWrSU962gT488zmpaXpqQnZ3qenzUtL01MTsr1PT5uXlg7dU5u/9j4ftdOEyuT9YrlQ3B1OP1q3V7bvPxrJV/fuKQu+Wit9elXGWglkfr4bQb7HiwXY6WDEk+PhAvTErZAkPRElPENP3ApJ0hNRwjP0xK2QJD0RJTxDT9wKSdITUcIz9MStkGTonohBrgwbT3EFAzm+WC6U1VvflF+/fCBSdXc4ff/Lg2VIvzNiKyPz890I8j1ebMSMD0A8OR4uQE/cCknSE1HCM/TErZAkPRElPENP3ApJ0hNRwjP0xK2QJD0RJTxDT9wKSYbuiRiw8RRXqQyOL4YL5cU9R+T+Z/6a1v72VRfINcOqEtFH5ue7EeR7vEQg//tDEE+OhwvQE7dCkvRElPAMPXErJElPRAnP0BO3QpL0RJTwDD1xKyRJT0QJz9ATt0KSoXsiBmw8xVUqg+NP9YXyxjsfSsMTzfJB64lIe+wnz5YZY/snJo/Mz3cjyPd4iWEK92BJ0tJ9FlKfSY7J8ZLU5Polq0lPetoE+PPM5qWl6akJ2d6np81LS9NTE7K9T0+bl5YO3VObv/Y+H7XThMrk/VN5obhm0/d/tUv2HToWaV9U00vu+dJg6dWzR2L6yPx8N4J8j5cYJhslSVJGn4XUZ5KDcrwkNbl+yWrSk542Af48s3lpaXpqQrb36Wnz0tL01IRs79PT5qWlQ/fU5q+9z8aTJlQm75/KC6Xx2f3yXNPhSPrM0ypl/g1D5LyzTktUHpmf70aQ7/GSBEU8OR4uQE/cCknSE1HCM/TErZAkPRElPENP3ApJ0hNRwjP0xK2QJD0RJTxDT9wKSYbuiRjkyrDxFFcwkONP1YXyzCsH5d9/93pa8c7xF8plg/okrorMz3cjyPd4SaIinhwPF6AnboUk6Yko4Rl64lZIkp6IEp6hJ26FJOmJKOEZeuJWSJKeiBKeoSduhSRD90QM2HiKq1QGx5+KC+UHDzwi83+zW46faIuEb7isn9z42XMLoo3Mz3cjyPd4ScIinhwPF6AnboUk6Yko4Rl64lZIkp6IEp6hJ26FJOmJKOEZeuJWSJKeiBKeoSduhSRD90QM2HiKq1QGx/u+UG769gypGf9dOXi0NdIdPqC3fHfCIKnsUVEQbWR+vhtBvsdLEhbx5Hi4AD1xKyRJT0QJz9ATt0KS9ESU8Aw9cSskSU9ECc/QE7dCkvRElPAMPXErJBm6J2LAxlNcpTI43ueF4u5w+taP14hUDYlkq3v3lAVfrZU+vSoLJo3Mz3cjyPd4SeIinhwPF6AnboUk6Yko4Rl64lZIkp6IEp6hJ26FJOmJKOEZeuJWSJKeiBKeoSduhSRD90QM2HiKq1QGx/u8UFZvfVN+/fKBSNXd4fT9Lw+WIf3OKKgyMj/fjSDf4yUJjHhyPFyAnrgVkqQnooRn6IlbIUl6Ikp4hp64FZKkJ6KEZ+iJWyFJeiJKeIaeuBWSDN0TMWDjKa5SGRzv60J5cc8Ruf+Zv6ZFv33VBXLNsKqCCyPz890I8j1eksiIJ8fDBeiJWyFJeiJKeIaeuBWSpCeihGfoiVshSXoiSniGnrgVkqQnooRn6IlbIcnQPREDNp7iKpXB8T4ulDfe+VAanmiWD1pPRKJjP3m2zBjbv1td342Z0MdLsox91Evm+XK8JFdPhJ70tAiwXixaepaeupElQU+Llp6lp25kSdDToqVn6akbWRL0tGjp2dA9dYHciQr3amtra/9aMb7KVqDQF4prNn3/V7tk36Fj7cbvviEP3/b30qtnDzaewKqr/sH/6jZZ6PXrPDDHAxcNjNEThAJj9AShwBg9QSgwRk8QCozRE4QCY/QEocAYPUEoMEZPEAqM0ROEAmOhe4IM3cbYeIorGMjxhb5QGp/dL881HY60zjytUt79nw/Kikd+klMv9DuQfM8vyVItdL2w0ZXkanX9LK5fsr70pKdFgPVi0dKz9NSNLAl6WrT0LD11I0uCnhYtPUtP3ciSCN3TYpEty8ZTXMFAji/khfLMKwfl33/3elrqzvEXyo/mzpQVK1aw8WSoH97xlLteDJRqtJDXQ7bBOZ66JKYAPU1capieKpEpQE8Tlxqmp0pkCtDTxKWG6akSmQL0NHGpYXqqRKZA6J4mjCxhNp7iCgZyfKEulKY335f5v9ktx0+0P815w2X95MbPngvtMeP7jqDQx0uyVAtVL92dI8dLcvW4x1OymvSkp02AP89sXlqanpqQ7X162ry0ND01Idv79LR5aWl6akK290P3tGl0TbPxFFcwkOMLcaEcfv8juefJXXLwaGukNHxAb/nuhEFS2aOCjScR8d3oSrJUC1Evuc6P4yW5emyUJKtJT3raBPjzzOalpempCdnep6fNS0vTUxOyvU9Pm5eWpqcmZHs/dE+bBhtPcb0SP3727NnS2NgomzdvltGjR6c/f9WqVTJ16tT0P+/cuVNqa2ulublZhg4dGv354sWLpb6+Pp2pq6uTRx99tMPnoCec9IXi7nD60bq9sn3/0egUqnv3lAVfrZU+vSqjf0bG892YCX08tBaQHLJ+yOegGY6HSmE5emJOaIqeqBSWoyfmhKboiUphOXpiTmiKnqgUlqMn5oSm6IlKYTl6Yk5oyrcnel7d5XjHU1zBGMdXVFTIypUrowZTZuNpy5YtMmbMGEk1m5YsWSLLli2TpqYmcY2qsWPHypQpU8Qdn/pCQvfngwcP7tCIspxa0oW7euub8uuXD0Sn4O5w+v6XB8uQfmekTwkZL/RGkO/5WepByyLrp32G5X2OZ9HSs/TUjSwJelq09Cw9dSNLgp4WLT1LT93IkqCnRUvP0lM3siToadHSs/TUjSwJ356Wc8uWZeMprmACx7sGUmbjyTWadu/eLUuXLk1/eipz7733yrx586K7mtwdTq4Z5e6Ocnc6rV27Nu+zSbJwX9xzRO5/5q/pc/n2VRfINcOqOpwbMp7vxkzo4+VdHFkORNaP4+EC9MStkCQ9ESU8Q0/cCknSE1HCM/TErZAkPRElPENP3ApJ0hNRwjP0xK2QZOieiEGuDBtPcQUTOL5z42nixIkybty4Lo/RuabTpk2butzxlHnnU76nk9SF8sY7H0rDE83yQeuJ6FTGfvJsmTG2f5fTQsYLvRHke3751ka245D143i4AD1xKyRJT0QJz9ATt0KS9ESU8Aw9cSskSU9ECc/QE7dCkvRElPAMPXErJBm6J2LAxlNcpQIfb2k8jRo1Kr3Hk3tMz93p5O6Amj59evRo3qxZszrcKYWeehIXims2ff9Xu2TfoWPRsBfV9JJ7vjRYevXswcZTloVg4wmtTmxPMPzT9GQS14M+yskEx7No6Vl66kaWBD0tWnqWnrqRJUFPi5aepaduZEnQ06KlZ+mpG1kS9LRo6dnQPXWB3Ane8RRXMIHjLY0nt7dT6uUeyct8uY3G3eN369evjzYit7zchRL3VXHJV6Ti/EvbP+ajY3Ji68Mi7x/K+2P/te7PpmP/uenvTPnO4dDHi4XDgylAAQpQgAIUoAAFKEABClCgaARWrFhRNOeinQgbT5qQh/c7N57cRuHu1XmPp9Rm4+49twG5e/TO7euUueG4e0wvtQeU5dTjdmifeeWg/PvvXk8Peef4C+WyQX26PQVkPN93BIU+nqUetCyyftpnWN7neBYtPUtP3ciSoKdFS8/SUzeyJOhp0dKz9NSNLAl6WrT0LD11I0uCnhYtPUtP3ciS8O1pObdsWTae4gomcHznxlOub7VLDeeOyfzWO/fnce94yrdj2vTm+zL/N7vl+Im26PRuuKyf3PjZc3PKIBdK6I0g3/NLoFTTH4GsH8fDBeiJWyFJeiJKeIaeuBWSpCeihGfoiVshSXoiSniGnrgVkqQnooRn6IlbIcnQPRGDXBk2nuIK5nl8c3Nzeq+mzI/IbCbNmTMn/VZbW3tTx73cXU1uT6fMx+5cI8q9fO/xdPj9j+SeJ3fJwaOt0fjDB/SW704YJJU92s+nuxdyYfpuzIQ+Xp6lmvUwZP04Hi5AT9wKSdITUcIz9MStkCQ9ESU8Q0/cCknSE1HCM/TErZAkPRElPENP3ApJhu6JGOTKsPEUVzCQ47NdKHes+osceLe9oZTPq9/He8oDUz6Rd+Mi9EaQ7/nls4bdHRP6D1bOL8lq4ebwyWrSk542Af48s3lpaXpqQrb36Wnz0tL01IRs79PT5qWl6akJ2d737Wk7u65pNp7iCgZyfLbCnfbwK7Fnt/yWS9h46kaRjSe8vHz/YOV4+NogSXoiSniGnrgVkqQnooRn6IlbIUl6Ikp4hp64FZKkJ6KEZ+iJWyFJeiJK/jJsPPmzLuqRsl2YM3/2qhw9djzv8+59eqU89M2L2Xhi4ynvGkodyH9xxCbs8AH0pKdFgPVi0dKz9NSNLAl6WrT0LD11I0uCnhYtPUtP3ciSoKdFS8+G7qkL5E6w8RRXMJDj87lQ3DfZPbbtLRn/qSp1M/HOTMh4vu8ICn28JEsVWT+OhwvQE7dCkvRElPAMPXErJElPRAnP0BO3QpL0RJTwDD1xKyRJT0QJz9ATt0KSoXsiBrkybDzFFQzk+GK8UEJvBPmeX5KlWoz1wvnhAlw/3ApJ0hNRwjP0xK2QJD0RJTyhrr9XAAAgAElEQVR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L8YLJfRGkO/5JVnGxVgvnB8uwPXDrZAkPRElPENP3ApJ0hNRwjP0xK2QJD0RJTxDT9wKSdITUcIz9MStkKRvT+Sc2HiKq1QGx/suXGQ8342Z0MdLsoyR9eN4uAA9cSskSU9ECc/QE7dCkvRElPAMPXErJElPRAnP0BO3QpL0RJTwDD1xKyQZuidiwMZTXKUyOL4YL5TQG0G+55dkGRdjvXB+uADXD7dCkvRElPAMPXErJElPRAnP0BO3QpL0RJTwDD1xKyRJT0QJz9ATt0KSvj2Rc2LjKa5SGRzvu3CR8Xw3ZkIfL8kyRtaP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+kUHL9lyxYZM2ZMeuTNmzfL6NGjo3+uqKiI/v+sWbNk6dKl6czEiRNl+vTpMmXKFPMZIxdK6I2Z0OdnLoocByD1wvFwAXriVkiSnogSnqEnboUk6Yko4Rl64lZIkp6IEp6hJ26FJOmJKOEZeuJWSDJ0T8QgV6bCvdra2trifhCPT06gublZhg4dKqlm06pVq2Tq1KnilmnJkiXRQPX19VJXVyfr16+X2tra6M93797doRFlOSPkQgm9MRP6/Cz1oGWRetE+w/I+x7No6Vl66kaWBD0tWnqWnrqRJUFPi5aepaduZEnQ06KlZ+mpG1kS9LRo6Vl66kaWhG9Py7lly7LxFFewAMe7RtOjjz4qa9euTX+6azLde++9smnTJhk7dmx0V5O7w8nd8fTaa69Fdzo1NTXlfTZI4YbemAl9fnkXR5YDkXrheLgAPXErJElPRAnP0BO3QpL0RJTwDD1xKyRJT0QJz9ATt0KS9ESU8Aw9cSskGbonYpArw8ZTXMECHD979uzoUzs/Rjdu3Lj0aJl3PI0fPz5951O+p4NcKKE3ZkKfX761ke04pF44Hi5AT9wKSdITUcIz9MStkCQ9ESU8Q0/cCknSE1HCM/TErZAkPRElPENP3ApJhu6JGLDxFFfJ8/G5Gk+u4ZTa42nx4sXR43XuDih3h9S6detkwoQJHe6UQk8duVBCb8yEPj+0FpAcUi/I56AZjodKYTl6Yk5oip6oFJajJ+aEpuiJSmE5emJOaIqeqBSWoyfmhKboiUphOXpiTmjKtyd6Xt3leMdTXMECHK81nlJDukfyUo/euf/v7pByj9/NmzcvvRE5enpuM/Nzzz0XjTNHAQpQgAIUoAAFKEABClCAAhSgwCkQePPNN81/5z8Fp5keko2nU6nfzdhuo/ANGzZ02ePJ3dWU+mY7twG5e8TO7euUueG4a1ql9oAqwqnxlChAAQpQgAIUoAAFKEABClCAAhQoIwE2nopwsXN9q13qdN1m46lGVOrOpzh3PBUhA0+JAhSgAAUoQAEKUIACFKAABShAgRIXYOOpSBfQNZOmTp2aPrudO3dKbW1t9M/urqbBgweL2+8psxHlMvnu8VSkDDwtClCAAhSgAAUoQAEKUIACFKAABUpYgI2nEl48njoFKEABClCAAhSgAAUoQAEKUIACFChmATaeinl1eG4UoA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WK9NxWrVolTz75pOzcuVO2bduWPsuRI0fK5z73OfnGN74ho0ePTuzsOR49LcXEemG9FHO9IOfmanjgwIGJ/hzNNS7HQ1YFz9ATt0KS9ESU8Aw9cSskuWTJErnxxhultrYWicfOcLzYhB0+gJ70tAiEXi8Wi3yybDzlo1bGx8yePVsaGxsjgQkTJnSRWLduXfRnK1eulClTpsSW4nj0tBQR64X1Usz1gp7bxIkTZdy4cVJfX48eEivH8WLxdTmYnvS0CLBeMK0tW7bI9OnTo//o6V6TJ0+Wu+66S0aMGNHhA5LyfOihh6LPP3TokFRVVUW/086fP19qamo6jFdRUSGbN2+O/R8KOF47Kz2x64H1wnrBKqW4Umw8Fdd6FPXZvPzyy/LpT39aFi9e3O1fiFpaWuSee+6JmlPul4M4/wWI44nQE78kWC+sF7xaRHzXi+XckvqLEzomx0OlsBw9MSc0RU9UCsuVomdzc7O4u+pdE8j9R0/3u1HqjvvO/6EzifmtWbNGJk2aFDWcRo0aJU1NTdHvtO6fN27c2KHZlUSjhOOdbB7SU7+OWS+sF71KijPBxlNxrktRnpW7vfCxxx6TrVu3qudXV1cn3/3ud2XmzJlqtrsAxzspQ0+9jFgvrBe9Sk4mTkW9zJkzBz7FXA1+5EPc/DjeSSl65q4a1ktHH9ZLcdWLu7vj1ltvlZdeeind9HHNKHeXs7vTftasWbJ06dLopJNoPLm7m1xj6/nnn0/f4ZR5x1VmsyuJRgnHO/mUBD31f8OzXlgvepUUZ4KNp+Jcl6I8K/eL6YYNG2Tt2rXq+SXxL36Od5KZnmrJCeuF9aJXScfGk8+fZ6n/QukeD/nMZz6T81SXLVsmM2bMiPWoHcc7SUxP/cpgvbBe9Co5mfBdL7n+/Z5qmqaaT0n8vtTdZ7g7rW677TZZvXp1ekuJJBolHI+eluuP9cJ6sdRLMWXZeCqm1Sjyc0n9opH5X5yynXLqEZa4+zxxvHZdemIXBuuF9YJVSnvKd724Md0vi2effba4zX1zvZL4ixPHS7YRS096Wn6+sF6SrRd3x9PDDz/c7R337mfq1KlTozuf3J1QcffIc3eUDB06VBYsWJB12VP7Sbrfc924cfd44njt+8fSE/spw3phvWCVUnwpNp6Kb02K+ozct9a524/dv9zdho6f+tSn0uf7pz/9KWqSuF8AqqurO9yinO+kOB49LbXDemG9FHO9pJrI2v53STWeOF57NdATuypYL6wXrFI6/kcOHz/PXDPJNYJyjZVqPrmzi/uopPusefPmRXs7dffK/DKTuI0njifRY5OpLy+iZ+4rkfXCerH8rC6mLBtPxbQaJXAu7jbj++67L/qXg9vkMdvLPUqycOHCWBuLpz6X47V/cws9sYuD9cJ6wSqlPeW7XtyY7k6ryy+/vMs3I2Wet2sA9OnTJ5GfoRyv/a5RemJXBuuF9YJVSnvKZ700NDTIpZdemvMbk921fvXVV8sPf/jDWHuMph6py/ateZk+qWaX9iSAZsrx2oXoqVXKyd9d3COfrM/2Ox15/WF1UwwpNp6KYRVK9Bzcv+CPHDnS4exHjx5dsNlwvGRp6UlPiwDrxaLFLAUoQAEKUIACFKAABSiQEmDjibUQhID7ryQDBw6UQja+Ov9XLp/jBbFIRTQJ1ksRLUYJnIrvevFN4nt+vsfz7Rn6eL7Xz/d4oa+f7/mFvn5uc/Mbb7wxkTtUkbXxPR5yTszgAr7Xz/d4uASTiEBo68fGE7LqzJgFkvpFI/Pra91JuMfOst1amtQeHr7HQ2GT8gx9PN/r53u80NfP9/xCXz/f8/M9nu96CX083+vne7zQ18/3/EJfP7ehuft9020rUVVVFT3iN3/+/C6PSSfxrXZu7XyPh9aL77/4lup4vtfP93isl3aBpOqzWNcPXed8c2w85StXpsf5/EXDbSY5cuTI6F/6EyZMiPZjcRubu1fnb8xLovHkezw3D5+eoY/ne/18jxf6+vmeX+jr53t+vsfzXS+hj+d7/XyPF/r6+Z5f6OuX+tZT13AaNWpUtMm429jc/fPGjRujL9dJvZJoPPke71Q0unz/RdvneL7Xz/d4rJeTf+kv1eu9WNoWbDwVy0qUwHn4/kXD/Uvj1ltv7bBpnDsH980X69ati75Zb+nSpZFcEo0n3+P59gx9PN/r53u80NfP9/xCXz/f8/M9nu96CX083+vne7zQ18/3/EJfP3d3k/sPnc8//3z6DqfM/1CY+R8/k/iLqO/xfDcuQh/P9/r5Hi/09fM9P9/rV0wtBjaeimk1ivxcfP+i4W5n3LBhg6xdu7aLjHtvzpw56eZTEo0n3+P59gx9PN/r53u80NfP9/xCXz/f8/M9nu96CX083+vne7zQ18/3/EJfv+5+p0x9+9zq1avTd94n0XjyPZ7vv/iGPp7v9fM9Xujr53t+vtevmNoLbDwV02oU+bmcil80Hn74Ydm6dWtWmdTXrro7n9x/7Rs3bpzU19fnreh+cfM5nm/P0MfzvX6+xwt9/XzPL/T18z0/3+P5rpfQx/O9fr7HC339fM8v9PVzfxEdOnSoLFiwIOvvlO7O+8bGxqj55L7OffPmzbG+3Mb3eL7/4hv6eL7Xz/d4oa+f7/n5Xr+8/2JcgAPZeCoAaqgf6fsXDddMcv/id8/V19bW5mw+uTcXL14cq/HkezzfnqGP53v9fI8X+vr5nl/o6+d7fr7H810voY/ne/18jxf6+vmeX+jr5/7D5rx586K9nbp7pZpP7v24jSff4/n+i2/o4/leP9/jhb5+vufne/2KqS/BxlMxrUaRn4vvXzQcR0NDg1x66aXRt4l093r55Zfl6quvlh/+8Icyc+bMWIo+x/PtGfp4rBeR1F2ApdiI9V2fvusl9PmF7ul7/XyP53v9fI/n2zP08UJfv9Qjddm+RTnzl8zUv3NfeumlDhuOW38R9T2e77/4hj6e7/XzPV7o6+d7fr7Xz/rzqJB5Np4KqRvgZ/tszATI12VKvj1DHM/9AHevmpoaLyXje7zMSYW4fqdyfl4KJmMQ3+vne36+x/PtGeJ4vn+e+R7vVP58CbFefF/jp3L9TuVcCz2277/4hjqeazB390RGIdbQ93ipOYS6fqdqfoWojVL5TDaeSmWlTuF5+v5FkeMlu9ihe7q9LRYtWhTdFfelL31Jrr/++mQBO32a7/FCXz/OL9lypSc9LQK+f575Ho/Xg6Ua9Gzonr7/Ys/x9JqzJHx7ur2B3OOYkydPln/8x3+MddcbMk/f4/n25HhIFZR2ho2n0l4/L2fv+xdFjpfssobu6f5F9cgjj4j7lhm3H1hVVVVBm1C+xwt9/Tg/Xu8WAdaLRUvP+v555ns81oteA5ZE6J6+/2LP8SzVp2d9e27ZskVWrFgRbXNw6NChaF/aQjahfI/n25Pj6TVe6gk2nkp9BT2cv+9fFDlesosaumemltvvy22y6uuXAB/jhb5+nB+vd4sA68WiZcv6+Hnm++c168VWA1o6dE/ff7HneFrF2d737Zl5dmvWrJH/+I//iP4jqHuNHDlSbrnlFrn22msL8jiej/F8e3I8W72XYpqNp1JctVN4ziH+Yur7F2GO5+eWZPcv5d/85jddmlA333xzwX4JKPR4vP6S/eFHT3paBEKvl85/iSr0zzPf44W+fpyf5WrWsz7+Yh9646Kc5peaq3sc9ZlnnpEnn3yySxPqxhtvTHw/Ul/j8XrQf2ZYEr49LedWyCwbT4XUDfyzQ/yLve9fhDneZClUIyj0X3h4/SX7A5ae9LQIhF4v/PlpqQY9G3q9hDw/X3+xD71xUS7zy/xpkKqdH//4x7Jt27boLfco3g033BDdCZX0l+L4GI/XQ7JfZOTbU/+3VWETbDwV1rdsPt1355bjJVtaoXtqv/Dcf//9Mnr06GRRRaS7f6EkPV7o68f5JVua9KRnPgK+fp75/nnN6yGfauj+mJA9ffzFPvTGRTnNL3Ou7jFVdyfUww8/3KEJtXDhwoLche9jPF4PhWlC+WpUJvuTH/s0Np4wJ6ZAgVB/MfX9izDHK0wjqLtfeNxz+DNnzgSrPL9Y5r+gCzUer7/81qa7o+hJT4tA6PXCn5+WatCzoddL6PPz8Rf70BsX5TS/znN9/PHHZdmyZfKLX/zi/2/vbF6uqr44fvoDJBNHJSG9DAIj0XJgNUiofmhIg4w0CaHozQg0tKwcWVmIBYFlUiCRBr1MRKkc6CAQKoqgwkEGotFIyugP6Mf3yHo6nufc83LP2uve+9zPmWTPPWevvT977XX2WXvttZOfhiddTS2P8dBs87vcEc2zS9363IvjqQ89nq0l4PmhrQF45ZVX1oalespTWadPn66NgplkeW1U17N94yivTZ2GvUcJEufNm5d8MlFXv0nuv+jx3qaf4dmG0qV7sJ//RTtq5TKVo3mUjqD22tD9Tuxnv4UQ7Kfv+FPurFtuuaVWkT0/7FXWP//8UytzkuW1sQie7RtHeW3qNMw99u69+uqrk0RRta3TJPdf9HhvwzSaZ5s6DXsPjqdhyfFcKAEd4fv8888n3RtdbJDkffrpp9l3330X0s5oeSGNmjIheuFv3rx5Jpmkmn/VVVdlTz31VLZ161bXvfw6te+nn37KXn311UrKDz30UPbMM8+4bR+Mlhc93jXR+Oqrr/J8Y1U5F1566aXs5ptvzsR1Eq9ontH2LFreJOrAuNcZ++lnr6PH+1y3nzri/dtvv83t/3333ZetXr066XCSvOXLlw98v3sLj5bnXX/KyzKNQS1wWB4pMbn++uuzbdu2uUfz182H5CB5+umns0OHDrnNeaPlRY93bU0+f/78wH5Sfd54441G5/ekjAMcT5PSU2NYT00UFbr5999/V9Zu5cqVbh++5u2VM0iGVR/0KScB7733XrZnz57szJkzIeRTy9NLaenSpdn+/ftz42YT07rGydBt377drf0p9aVNe8oN8W7fbbfdluumHE2LFy/OxZ09ezZ79913s3vvvTf78ssv3ViqvSdOnBhYpl5Uq1atcuu/aHnR4930R3Zl9+7dsyYA3jylCCnHQ1nRonmmtmfl9qWWh/2cbbqwn+3NOfbT930UbT8VgffFF1/ki0q//fZb/kGvBNEPPvhgko9BzW0XLFiQvfPOO+2VrMedqeXJPj/55JPZjz/+mPPS+1QLPXXX119/7fb9IDn2DhwkU6fNXXfddUNRbNOecsGe7VPbbr311lyE5p/aHaJLc0Rx9rbVTfOhK664IvNsX7S86PFu+iO7cvDgwVl6781zKCV3fAjHkyPMaSpKH00aLEXvern95uTw5mL7Xk+ePJlPBCyqxPt0NDkSFP2gl/+wL6QubU8pz1Yhnn322Xy1Tob11KlTtdXzdBym1pc27Sk31rN9WrFYs2bNzMSqKMs+Wm3S1UUnqhwIf/zxR3b48OE8Gk9JysvXL7/8kk/yPMaf9CZSXhWbiPFuETMag+YoLK4wNU18uvZp6vFQV58InpKf0p5VtS+lPOznbOLYz+ZRj/28tD1tLtlPi+6yRVCLKpHjwuuEMnMkpIiWHvSOleMilTzNj95+++2ZubQiqM+dO1c7gPo4gsoFq8/uuuuu7K+//hoos8/8rE17yoI926eIIH0LffPNN7N0UE6/HTt2ZH/++WezwWq4Qxy1BXTLli35+33Dhg2zntDcVHOoPjyt0Gh5Vc2PGO+yj/Pnz88uXryYOwo1Dnft2jXTlzieeqsuBcwFAjK069evz44dO5Y87LiOlz7gZGzlUHn88cfdIjzUPnme61ZlPFcRouVF6+C46EuqdjetaOslvW7dut762TayS5NIRVj1nQhHy2vqn1Tjvdh/cmJqYiWn+osvvphvk3z44YddI8jGZTyk4hltz6LlNemp9+/joi/e7bLysJ8+9rqpf1KN92m1n+bE14f9kSNH3CJ05Eg4fvx47cKuZ0RJtLwmPfX+XVu/xDMiibd33duUV+fY1ZhfuHChSwRS28guOU48ovWi5TWxTjXei/2nd730VZdF3+N4auoZfp8KAk0TxdQQyqelKOrpo48+cnOCtYmg8VzxjZaXun/K5Y9aX1K3tynHjNeKb5sVdM+k5tHyBvVT6vFepZ/62+uvv55XSdsePB3box4PqXlG27NoeantCfbzcgLYz34al3q8T5v9LJ82pagnOTa8IuPbRNB4RsxEy+unzd2f9rIf3SXHPNGUo8vLcdEmAskzqXm0vEG9lXq8l/VT9nrnzp155JgWkbUI6ulojtHKwVLYajfqHphQ+Qqd3bhxY/brr7/2jqpoi2DQ0ZL333//xCb9bdv2FPfJqH/yySfZ999/X1n8pk2b3LhG60v0h2jddjr7zTM6UDx//vnn3hFUbfUqWp7qFTneBzmCVAdFPSmM3TPCMXo8RPNsq1eTfB/20y+HI/bTfyRgP32Z2ni3PE+WZ1Tbje644w5fYVNQmt6BR48ezd/zVZdnMmVFdGme65lns66Loh15luNw0FY7pV64cOGC27ea5ktLlixxW+hvUvdoebnbwKcAABX8SURBVKpP5Hgf5BgtRt/jeGrSEn6fCgIaLFrhKe5FTdVwS06o8uUBfu6557K7777bzZCmqve4liuP+o033pjveVfia53YoqiOG264If+3VvCUP8hzQhWpL01bxEyHPE8ps7DgquTikhd1QuK46lyXeo3beNckZNGiRa72JnI8jBvPLrowjvdiPy+9g7Gf46idWTZu433S7af0XA4nXUoq/sgjj4R9dI+nhvWrlT6o77zzzjw/64oVK/KUFpojKTWA/i3Gr732mlsEmdnrqoND+rWk+ummLWKac3s61qx9qk1VcnEtng06ATlF+ye9zHEb7xovnt9io+4fIp5G3QMTKl8e/b1799buQfeMEJA8nZ4nZ5NXOHMT+sgVbdWlGF1hdbNVNW/nniUctIi1osfdojEU3unFOlpfBvWtHdmt31Unz0tlv/nmm3l4bDGJpSZR+/btc3VaWL2LJ7VoMqMTY1JM8qMjyEYx3m0M6qROXSl5Ro+HUfDEfmI/u9hX7KdfBNkoxvtctp9ayLr22mtDFzsjI4LUd8XoChu3WoD03GJu5erDXomULQKpuBXM8k15LtRZ8m2dSDjoiogo0XztnnvuybZt2zbr5NwutrLq3kHfD3JEpXI6FeeFOtxJjsMUTpLoCLJRjHcbg3boU0qefXWt7/M4nvoSnNLnoz9Eoz+0o1e0i/LkqFi2bFne5B9++CFfafNKFm0cy1uLyqGeSob92GOPub0cR6UvVcPTWHsmAy3Lsb3pKVcpylFd5uhtyjc1jMkaRQRZsZ7SH8/cVVUMInmOajxEOSqxn9jPYeyMPYP97ENv9rPYTx+eUR/a0RFBRXlyCi1evDgHZif3eSWLtl4ozzeLjidLhu1xKprJi3Zc1GmbWK9duzZpmpKI8V6O6jLHXVO+qWFGYnQEWbGO0sfTp09nnrmrqhhE8hymDzyfwfHkSZOykhKI/DCMjggyeSdPnsyjVoqX5b/4+OOP3bY2SN77778/s/1LpyjouFWLAvI6hS2pQvQo3DvZpCXhrnM0eU4GTCfkbNLKSPHUtQjHmqFPHUG2efPmmS0OkqkIwBRHPo8Lzx4q3fgo9hP72agkLW/AfrYE1XAb9tOHY0QpkR+G0RFBkqdooKqTcG3bpn73ioCXPEVTWSSOUjxYFJDnKWwRejGMDK9k3yZbc8s6x4i388S+V3Rynfqy2B5zYv7777/DoOn0TMoIMs0JtfiunR92SWdTRKuNC89O8HvcjOOpBzwejSMQ/WEYHRHUdMpViom+jKhNJuy4bu0F16X99Z7JsOM0pVmSvRj379/vFtFl/ffss8/mSb/LiRflyLMXmMd++3JUU1k/vPWljmoqR5cxq8qZpW1wnolCx4lnswZ3vwP7+b9s1apVbsn4NeHFfmI/u4/E2U9gPz0opi0j+sMwOiKoab7g7SjRfPPll1/Ozpw5k3ecFj71txdeeGEmyt8zGXZa7ehWui0AeUZ0WZTRzTffnJ07d24mTYBqpneVdkxY+gePeX05qqmsH976Ukc4RQSZMZPcqpxZnmlkJGOceHbT5uHuxvE0HDeeKmT9jzgVLfrDMDoiqM542sTUVhe8lE/73vWisgSxevkrP5EZW8nzuqK3FhWTq1a1IcXWxeeff/4yUeYcMUeXXvjnz5/PdMJI39XDNo7RdevWuX1oN+lB08S16fny78pvsWbNmqxqclZ3AlZXOXb/KHhG5kDCft6YYT/bjw7s520Z9rO9vsx1+xn9YRgdEVS38Gnzl75zlqI2WaTfjh078gh//b8Y2+KcZ3S/5EZvtSsmp64aRSm2Liope/Eqpl44cOBAdvDgwezw4cPZ8ePHZxx+7Uf45Xe2cYxG5MyyWnk7uiwn2KBTAqW32iHidY0bT692DSoHx1NqwnO0/OgcHtETm1GsaMvxI7mHDh2aSUQtzjt37sz/7hnhMUgtJU+XkgR6XtE5guS4ePvtty9rwvz58/PcWVdeeWX2wAMPuLbR2mcv26KzSRFQypVgyTKLYeXDMi47ZoovLnPMeKxstalfygiyQTrvvRU0mif20z+iEvvpd8oc9nNpWMQv9rPNW+bye6LtZ/SHYXREkDl+lPi6mIha807lHI1ywkqe13a+osZE5wiy75ViHdQu5c5SknrP00AlQ+1T9JicSpJj81FFjSkNw/Lly/N+te+avtFWZcdM0fFjixZREWupIsgGRUin2Ao6Tjy7W+PuT+B46s6MJ7JLx/XK6xt1Klr0h6E6OWVEUJMjpqxkitDxPr56HBQ5ZY6LyPZVrRjaZFX1OHHixIzj0Cs6SM4XrUJqEqMJhxxammAoak3bgDxPhRlFBETRWVfuSy+GxXKjeWI/h4+oxH5e0lzs5/BWPnq8K9J10JUiAhf76XeqZPSHYeqIoCZHTFlPFb2tCJpy/tHhR994PJkyR1BkC6vmQ+YMeuWVVy7bZu4RHWRb0RYsWJA7JpWaQ1FcujT/9EgnUeQ3iggyc9ZV9aMHw2K50TwjdXMAvyuu+DciC9ioW4p8VwJtIpA8T0VT5SMnioNgeUUEtdl6Vq7DypV+xy2rbEXGyKEgo1d1bdq0yX1lpkqOV44LMb3pppvySCZLplin9J6npInjnj17Lgthtsimv//+O4njadDx45oA7Nq1yzWiKzoCom47XaqIrkie2M9+EZXYz/8sG/ZzuKlN5HjHfvq+j6Lt57h8GHpFBLXZelYeVYoS94xG0pj48MMPs4sXL1YO4ChHl0eOIJtv2uEydthMnWXyPCVNjhk5gSw9RjGySSkgitE7Xk4TyZCDSadu26XDX5Sna/v27cMZ5QFPRUeQ2Xx+0FY7LSJ4R3RF8nTtnCEKI+JpCGg8ciniKfpUtMiJ4lzv42LCQa1mjdLxJNl9I1hsu0JxX3s559KgPlX7i9sbh+l747lixYr8Jf/DDz/kL2TlKtDe+m+//TbTiYW6li7138ZhzkPPieEwHDyfsVXZquTiihDwjOgq1zs1T+ynp6bEl4X9/I859jNe/9pIxH765jicpg/DNvrV5x7bwSBHheZMVVeU40my+zpjyqkWukSUeUQHGU+bKynaUdHwR44cydauXZtHwCttwWeffZbnGPV2mmgxcNGiRa6LnX30q++ztpijcqqSi3v0WV0d5xrPcltxPPXV0Cl9fhQ5kIqoU38YSta4RASlUDG9KF9//fU8meOonRUeOS70ovjggw9mTvNQ35WTLVZxVDSSwoQ9TrjTy1+n2umFrxe98iUo7FiTK/3bVob0/7ZFtU/fqo2K2rL+M31V+Y8++mjSflWfeUaMVXEY5GhWaPe+ffsmepKD/cyyqIjKPmNs0LPYz0tksJ/DaRf2czhu9tSo7WfEh+G4RAT166nqp+WY0dV3wc+jbh45gmy+qXmXIu7Vd8rt2XTZAmXfnEuSY+8knV5ni8maA2uRTpclbvc6Ebi4w0Dlm77edddd7jlUixwtuswzYqyqnwY5muWIKuZBa+pjfp9NAMcTWjE0gZQ5kBQKrGSxdnKAjNzvv/8esvVLQEaxoh19ylUx79DQStDywegcQS2rld/WN9qqTlbRQWrh7R4h6zbxtmTmxeNfrT4ezq3yC3/z5s2zQqv1It66dWtSR5DGxj///JNZKHuX/q26dxy2amE/fbfyYj+/TDoGB4057Gc7a2R5e8pbU7Cf7fiV70ppP23uqXe2Lv1XER1e75+mFo8iIkgyjx49OjD1gmcEUkqbUcU2OkdQU/8Wf+8bbVUnyxykukfRTro8Dtax7zObY5q+asFVC69ezq1i29QWpW8xB5p+k7xt27ZlTzzxRBfkne/1XigYh62unSE4PoDjyREmRV1Kdqqr76lo5T38dce9puAevaIdfUqLOSq0/SsiYWR0josuOqG6XXPNNSEcutSr7l7pZzF5rOmrJgK6brzR//h45VjTS79q61uKiYYXq6pyuianVvsiInSwn8P1OvbT95TOLr2A/WxHC/vp62iuou5lP8uOkWhHSXREkEWd29Y3i5TRPF7/tgTSXtHxFh1elUOn3Wjqdld0jqAutdOirIczqIvMvvdKP4vJt01ftZ3PdEkOKC99KS6sVm19sxQbfdsV9XyXrZg2Jj0dv1HtHCQHx9Ooe2CC5Ecmb5ZHeP369Xnyuttvvz1fiVFOl7feemsgMc/Qy2hHV/QpgYJoqxZKBlh16WM7wik1QUOgtqrRERdFx5MSmWtyaCHA3hPl8qmSRRB1icD79K0+IrRKp+08VZd3sn0xmz9//mXb+OyYaX00WuLOYduE/RyWXPNz2M9mRuN+B/bzR9f3LfZz3tA8FfGk+ZHmRnrPbNmyJT/cZsOGDQOHkR1s4jHOvN/fTXVSRJCSfMtxoKsYhaPIMp2a651TUYxV5rp16yqrZ9vWmurO75cIREesmePJou+PHTuWrV69epb+ePRP+VTJYpn27rfdMR7yVIbaZVFiVWV67Fywcm3hrJyYXe9EbV3U3FNjdK5cOJ7mSk8mbscokjd38Qqr+Z5e7+iIoOhTWsSriW9fnpEf2onVv7H46IgLc/bIMauVJW3fKK4w2Yl6XiHITY5YTco1gfQ6zcQcPsWw6nIneOTlsjI1adu4cWNl7i2PU8Own41DqNcN2M8sec61Xh3U8DD2E/tZpyLR9lPzP+Vl1Du17WXb3tveX3dfdERQ2dFVdDxpbC5cuDDzyENkbW7Dtw/PUZ8y56EDXcqIjlgzZ48cJVoAVV6pM2fO5FUunqjntXBd54g1/eyjL2XW5vBRuwZdnuNBjrXvv/9+xvFblOlx6mIXXYq4F8dTBOU5IGNUyZvtBXL48OHGiCfPFSd1WWREUPQpVxZRJueSVvSqrj48oyeKox5io4i40MtKidEViltcEUkR6lze2lfm7b1Ca/pZXEVL2cdNjrW+7cN+zu49z4hK7Od/fD1OmUs51qrKxn7+77Ijz/vyx35eItg3+b0+ov/4449WEU/e+Z8iI4IUTaF8ORYxXVy4SvFhbxFlmrcod1bV1YfnqE+Z6zt+uz4fHbEmnXj44YfzbZjSm88//3wmulDsDxw4MOOI6tqWqvvLW/vK93jnyZJ+Ksqv2C6Pdgwqo2l+6d2+lG1pUzaOpzaUuKcXgaZB1aZwOyXCK6KijczUEUHFOkSf0tLkSGjDp+6eUX1o9633sM+PIuJiUF2lS0rE7bXaJDl12+nsN08nUZMjaNh+GvScfahVrWLZ6tfu3buTJ7EcNOlatWpVr2gy7Odrmbd+Fre6eusj9vNyR4wiKpVY1iuCs66/sJ/dtXmu20+9j5YsWTKzlag7oW5PpI4IKtdG/ffyyy/POAuKWw3t5LULFy70zt1qcpscCd1ozb57HE6Z69uGLs9HR6zV1a182nKXdgy6VwsTe/bsyapygtnBRd762XfO1aXd5uiqal+dbe0iY5zuxfE0Tr0xR+syiclHU0cEVXV1ylNayvKiQ7m7qLaHo7KLPI97oyMuPOrctQxzxFYlF9eRvZ45IOq2vnWtd5v7i1v7lCtr2bJl+WNnz57NIx91eZ8S2KZeugf72Y4U9vMSJ+xnO32Jvgv7+aub46JL302i/UwdEVTmZycu7tixI1+wKm91//jjj11zzMhWaxujvVu79GfqeycxuiQ6Yi11H1Tppw7M0VWVXFwpJyxaz6NudVvfPMovl2GLm/q7+nLx4sX5Leb0nbTDe5oY4XhqIsTvU0kgdURQW6hep7RUydNEWKdO7Nq1ayQTwkEMJnGiGB2x1lZ/PO+TLr755pvZu+++m+/pt0uOmn379rnrULR+qn07d+7MJ8Pl9tmE3JPnXC4L+zm63sV+jo59nWTs5y3j2TFjWKvUEUFtm6x5jdfJZEWZltNtVFHEde2fxFPmoiPW2uqP533SRTmYlM/ULqWZkCPK0+mkskehn3I+aTyU2ydH1Lh9o/XtVxxPfQny/JwkMM4RQR7A9aLau3dvVpe8uW9ycY96TlIZkREXo+ail6S28/XJw1DXBvRz1D3cTz720/ewi369MRlPYz/9+gn76cdyFCWNc0SQBw87pawuebtnsmiPOo9zGdERa6NmoTym8+YNf2plU/3RzyZC/X7H8dSPH0/PYQLREReRKGW4T506VSvS+7j6yPaNi6yUEWvj0sYU9UA/U1CNLRP7uTKZYza2J0cnDfs5HHvs53DcxuWpUURcRLZdjtFz587VivQ8rj6ybeMkK1XE2ji1MUVd0M8UVP8rE8dTWr6UPqEEWDGc0I6j2hCAwMgJYD9H3gVUAAIQmFACRFxMaMdRbQhAoJEAjqdGRNwwjQRYMZzGXqfNEICABwHspwdFyoAABKaRABEX09jrtBkC00EAx9N09DOthAAEIAABCEAAAhCAAAQgAAEIQAAC4QRwPIUjRyAEIAABCEAAAhCAAAQgAAEIQAACEJgOAjiepqOfaSUEIAABCEAAAhCAAAQgAAEIQAACEAgngOMpHDkCIQABCEAAAhCAAAQgAAEIQAACEIDAdBDA8TQd/UwrIQABCEAAAhCAAAQgAAEIQAACEIBAOAEcT+HIEQgBCEAAAhCAAAQgAAEIQAACEIAABKaDAI6n6ehnWgkBCEAAAhCAAAQgAAEIQAACEIAABMIJ4HgKR45ACEAAAhCAAAQgAAEIQAACEIAABCAwHQRwPE1HP9NKCEAAAhCAAAQgAAEIQAACEIAABCAQTgDHUzhyBEIAAhCAAAQgAAEIQAACEIAABCAAgekggONpOvqZVkIAAhCAAAQgAAEIQAACEIAABCAAgXACOJ7CkSMQAhCAAAQgAAEIQAACEIAABCAAAQhMBwEcT9PRz7QSAhCAAAQgAAEIQAACEIAABCAAAQiEE8DxFI4cgRCAAAQgAAEIQAACEIAABCAAAQhAYDoI4Hiajn6mlRCAAAQgAAEIQAACEIAABCAAAQhAIJwAjqdw5AiEAAQgAAEIQAACEIAABCAAAQhAAALTQQDH03T0M62EAAQgAAEIQAACEIAABCAAAQhAAALhBHA8hSNHIAQgAAEIQAACEIAABCAAAQhAAAI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yB1P4VIRCAEIQAACEIAABCAAAQhAAAIQgAAEIDAVBP4PSUvMkZPYWOAAAAAASUVORK5CYII="/>
          <p:cNvSpPr>
            <a:spLocks noChangeAspect="1" noChangeArrowheads="1"/>
          </p:cNvSpPr>
          <p:nvPr/>
        </p:nvSpPr>
        <p:spPr bwMode="auto">
          <a:xfrm>
            <a:off x="457873" y="457565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AutoShape 5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5/z418Mk19Frl+ypvSkp0WA9WLR0rP01I0sCXpatPQsPXUjS4KeFi09S0/dyJKgp0VLz/r21M8o0MbTT3/6U/nUpz4Vze5Pf/qT3HrrrdG+T5mv1J+3tbXf5cJX9wK+C9fneMt//7qs3X4wmvyZp1XKgq/Wyjl9eha0HHzOz02E4yW7nPSkp0WA9WLR0rP01I0sCXpatPQsPXUjS4KeFi09S0/dyJKgp0VLz9JTN7IkfHtazi1btmTveLJMnI0nXct34foab/v+o7Lo6T1pgFlfGCBX1fXVQWImfM0vdZocL+aCdTqcnvS0CLBeLFp6lp66kSVBT4uWnqWnbmRJ0NOipWfpqRtZEvS0aOlZeupGloRvT8u5BdN4WrVqlezduxea+6BBg2TKlClQ1ndo9uzZ0tjYGA07dOhQaWpqSp+Cm+PUqVPT/7xz506pra0V9w1+Luteixcv7vBNfnV1dfLoo4+mv+3PMh/fhetjvPc+PC5zf9EsB4+2RhSjhpwlt18z0MKSdxaZ38Hvfcb0+dU/+F/d5pHxTIMpYY6XpCbvWEtWk570tAnw55nNS0vTUxOyvU9Pm5eWpqcmZHufnjYvLU1PTcj2Pj1tXoVOl+QdT4VG8fH5bkN0tznz0qVLo+EmTpwYNZbcP6c2S081m5YsWSLLli2LGlOuWTV27NiomeY2WU/dzeX+fPDgwR0aUZZ5hHhhPvjbffLCrnfaGY4dkWX/18joUTsfL8STjSd8JRBP/NP0JMfTjSwJelq09Cw9dSNLgp4WLT1LT93IkqCnRUvP0lM3siToadHSs/TUjSwJelq0Cp9l46nwxtAIrrm0YcMGWbt2rbj/vXv37nRTyn1A6pv87r33Xpk3b150V5O7w8k1o9zdUe5OJ3dsvq/QLsznmg5L47P70xwn/vBzWfGTBfnymI9DPNl4wlkRT/zT9CTH040sCXpatPQsPXUjS4KeFi09S0/dyJKgp0VLz9JTN7Ik6GnR0rP01I0sCXpatAqfZeOp8MbQCO6OJfdydzy5u5/GjRvX5TE613TatGlTlzueMu98ggbLEgrpwnzrSKs0PNEs7lE795o4vFrWPPid6A4zXy/Ek40nfDUQT/zT9CTH040sCXpatPQsPXUjS4KeFi09S0/dyJKgp0VLz9JTN7Ik6GnR0rP01I0sCXpatAqfZeOp8MbqCKl9m1KP1uVqPI0aNSq9x9PKlSujO53cHVDTp08Xd/ysWbM63CmlDv7fgVAuzOMn2mTR03tlx9+ORjMbWHW6zL+hVr71zZvYeEKLAciFUi/dTZXzA4rAEKGnAQuI0hNAMkToacACovQEkAwRehqwgCg9ASRDhJ4GLCBKTwDJEKGnActDlI0nD8jaEO6ROXc3U2oT9FyNp8yN0t0jeZmv+vr66PG79evXR/tFWV7uwgzhVXHR56Vi6DXtU2k7ISe2PiLy7htFObV/rfuz6bz+uenvTHmGKUABClCAAhSgAAUoQAEKUCBMAZ9P9MQVZOMprmDM412jaMaMGR0eq8t87C718e5xutQdUe7P3Abkrlnl9nXK3HDcNa1Se0BZTi2EjvCelg/ke7/cJe6uJ/eaevl5MunSmuh/F+P8+KgdXqHFuH742etJzk83siToadHSs/TUjSwJelq09Cw9dSNLgp4WLT1LT93IkqCnRUvP0lM3siRC97RYZMuy8RRXMMbx2ZpOqabSmDFj0o2mzG+1Sw2X2YhK3fkU944nnx3TpC/M1uNtcs+TzbLv0LGIaNgFvWXudYOkskcFG08xarS7Q5NeP+0UOZ4mZHufnjYvLU1PTcj2Pj1tXlqanpqQ7X162ry0ND01Idv79LR5aWl6akK29+lp89LSvj2189HeZ+NJEyrQ++6b6KZOndrl01N3Nblm0pw5c9Lvt7W138XjXu6uJrenU+Zjd64R5V7lusfT8t+/Lmu3H4wMzjytUhZ8tVbO6dMzbeb7wkTG4x1P+MWFeOKfpic5nm5kSdDToqVn6akbWRL0tGjpWXrqRpYEPS1aepaeupElQU+Llp6lp25kSdDTolX4LBtPhTcuiRFK+cLcvv+oLHp6T9p51hcGyFV1fTu4F+P82HjCL41iXD/87PUk56cbWRL0tGjpWXrqRpYEPS1aepaeupElQU+Llp6lp25kSdDToqVn6akbWRKhe1ossmXZeIorGMjxpXqhvPfhcZn7i2Y5eLQ1WolRQ86S268Z2GVVinF+bDzhF08xrh9+9nqS89ONLAl6WrT0LD11I0uCnhYtPUtP3ciSoKdFS8/SUzeyJOhp0dKz9NSNLInQPS0WbDzF1Qr4+FK9UB787T55Ydc70cpU9+4pi75WGz1q1/lVjPNj4wm/oIpx/fCz15Ocn25kSdDToqVn6akbWRL0tGjpWXrqRpYEPS1aepaeupElQU+Llp6lp25kSYTuabFg4ymuVsDHl+KF8lzTYWl8dn96VeZed5EMH9A76yoh8/PdCPI9XpLli3hyPFyAnrgVkqQnooRn6IlbIUl6Ikp4hp64FZKkJ6KEZ+iJWyFJeiJKeIaeuBWSDN0TMciV4aN2cQUDOb7ULpS3jrRKwxPN4h61c6+Jw6tl2hXnd7sayPx8N4J8j5dkqSKeHA8XoCduhSTpiSjhGXriVkiSnogSnqEnboUk6Yko4Rl64lZIkp6IEp6hJ26FJEP3RAzYeIqrVAbHl9KFcvxEmyx6eq/s+NvRaGUGVp0u82+olZ6V7d/sl+2FzM93I8j3eEmWMeLJ8XABeuJWSJKeiBKeoSduhSTpiSjhGXriVkiSnogSnqEnboUk6Yko4Rl64lZIMnRPxCBXhnc8xRUM5PhSulCe+mOLrHz+jUi+skeF/OArQ+Siml45VwKZn+9GkO/xkixVxJPj4QL0xK2QJD0RJTxDT9wKSdITUcIz9MStkCQ9ESU8Q0/cCknSE1HCM/TErZBk6J6IARtPcZXK4PhSuVD2tHwg3/vlLnF3PbnX1MvPk0mX1qgrhMzPdyPI93gqkiGAeBo+To1yPJXIFKCniUsN01MlMgXoaeJSw/RUiUwBepq41DA9VSJTgJ4mLjVMT5XIFKCniUsN+/ZUT0gJ8I6nuIKBHO+7cLONd8eqv8iBd1vzFu338Z7ywJRPZD0emZ/vRpDv8fKGzXIg4snxcAF64lZIkp6IEp6hJ26FJOmJKOEZeuJWSJKeiBKeoSduhSTpiSjhGXriVkgydE/EIFeGjae4goEcXwwXyrSHX4mtufyWS9h4iq2of0Ax1It+lvknOL/87bIdSU96WgRYLxYtPUtP3ciSoKdFS8/SUzeyJOhp0dKz9NSNLAl6WrT0rG9P/YxyJ9h4iisYyPG+CzfbeDN/9qocPdb+LXX5vHqfXikPffPirIci8/N9B5Lv8fIx7e4YxJPj4QL0xK2QJD0RJTxDT9wKSdITUcIz9MStkCQ9ESU8Q0/cCknSE1HCM/TErZBk6J6IQa4MG09xBQM5vpgvlDfe+VAanmiWD1pPRNpjP3m2zBjb3ySPzM93I8j3eCYwJYx4cjxcgJ64FZKkJ6KEZ+iJWyFJeiJKeIaeuBWSpCeihGfoiVshSXoiSniGnrgVkgzdEzFg4ymuUhkcX6wXims2ff9Xu2TfoWPRKrhvr7vnS4OlV88eplVB5ue7EeR7PBMYG0+yYsWKJMlyfhZSn0meDMdLUlOEnvS0CLBeLFp6lp66kSVBT4uWnqWnbmRJ0NOipWfpqRtZEqF7WiyyZXnHU1zBQI4v1gul8dn98lzT4Uj5zNMqZf4NQ+S8s04zqyPz890I8j2eGS3HAYgnx8MF6IlbIUl6Ikp4hp64FZKkJ6KEZ+iJWyFJeiJKeIaeuBWSpCeihGfoiVshydA9EYNcGTae4goGcnwxXijPvHJQ/v13r6eF7xx/oVw2qE9e4sj8fDeCfI+XF1w3ByGeHA8XoCduhSTpiSjhGXriVkiSnogSnqEnboUk6Yko4Rl64lZIkp6IEp6hJ26FJEP3RAzYeIqrVAbHF9uF0vTm+zL/N7vl+Im2SP+Gy/rJjZ89N++VQObnuxHke7y88bIciHhyPFyAnrgVkqQnooRn6IlbIUl6Ikp4hp64FZKkJ6KEZ+iJWyFJeiJKeIaeuBWSDN0TMWDjKa5SGRxfTBfK4fc/knue3CUHj7ZG8sMH9JbvThgklT0q8l4JZH6+G0G+x8sbj42nJOmyfhZSn0meBMdLUpN7PCWrSU962gT488zmpaXpqQnZ3qenzUtL01MTsr1PT5uXlg7dU5u/9j4ftdOEyuT9YrlQ3B1OP1q3V7bvPxrJV/fuKQu+Wit9elXGWglkfr4bQb7HiwXY6WDEk+PhAvTErZAkPRElPENP3ApJ0hNRwjP0xK2QJD0RJTxDT9wKSdITUcIz9MStkGTonohBrgwbT3EFAzm+WC6U1VvflF+/fCBSdXc4ff/Lg2VIvzNiKyPz890I8j1ebMSMD0A8OR4uQE/cCknSE1HCM/TErZAkPRElPENP3ApJ0hNRwjP0xK2QJD0RJTxDT9wKSYbuiRiw8RRXqQyOL4YL5cU9R+T+Z/6a1v72VRfINcOqEtFH5ue7EeR7vEQg//tDEE+OhwvQE7dCkvRElPAMPXErJElPRAnP0BO3QpL0RJTwDD1xKyRJT0QJz9ATt0KSoXsiBmw8xVUqg+NP9YXyxjsfSsMTzfJB64lIe+wnz5YZY/snJo/Mz3cjyPd4iWEK92BJ0tJ9FlKfSY7J8ZLU5Polq0lPetoE+PPM5qWl6akJ2d6np81LS9NTE7K9T0+bl5YO3VObv/Y+H7XThMrk/VN5obhm0/d/tUv2HToWaV9U00vu+dJg6dWzR2L6yPx8N4J8j5cYJhslSVJGn4XUZ5KDcrwkNbl+yWrSk542Af48s3lpaXpqQrb36Wnz0tL01IRs79PT5qWlQ/fU5q+9z8aTJlQm75/KC6Xx2f3yXNPhSPrM0ypl/g1D5LyzTktUHpmf70aQ7/GSBEU8OR4uQE/cCknSE1HCM/TErZAkPRElPENP3ApJ0hNRwjP0xK2QJD0RJTxDT9wKSYbuiRjkyrDxFFcwkONP1YXyzCsH5d9/93pa8c7xF8plg/okrorMz3cjyPd4SaIinhwPF6AnboUk6Yko4Rl64lZIkp6IEp6hJ26FJOmJKOEZeuJWSJKeiBKeoSduhSRD90QM2HiKq1QGx5+KC+UHDzwi83+zW46faIuEb7isn9z42XMLoo3Mz3cjyPd4ScIinhwPF6AnboUk6Yko4Rl64lZIkp6IEp6hJ26FJOmJKOEZeuJWSJKeiBKeoSduhSRD90QM2HiKq1QGx/u+UG769gypGf9dOXi0NdIdPqC3fHfCIKnsUVEQbWR+vhtBvsdLEhbx5Hi4AD1xKyRJT0QJz9ATt0KS9ESU8Aw9cSskSU9ECc/QE7dCkvRElPAMPXErJBm6J2LAxlNcpTI43ueF4u5w+taP14hUDYlkq3v3lAVfrZU+vSoLJo3Mz3cjyPd4SeIinhwPF6AnboUk6Yko4Rl64lZIkp6IEp6hJ26FJOmJKOEZeuJWSJKeiBKeoSduhSRD90QM2HiKq1QGx/u8UFZvfVN+/fKBSNXd4fT9Lw+WIf3OKKgyMj/fjSDf4yUJjHhyPFyAnrgVkqQnooRn6IlbIUl6Ikp4hp64FZKkJ6KEZ+iJWyFJeiJKeIaeuBWSDN0TMWDjKa5SGRzv60J5cc8Ruf+Zv6ZFv33VBXLNsKqCCyPz890I8j1eksiIJ8fDBeiJWyFJeiJKeIaeuBWSpCeihGfoiVshSXoiSniGnrgVkqQnooRn6IlbIcnQPREDNp7iKpXB8T4ulDfe+VAanmiWD1pPRKJjP3m2zBjbv1td342Z0MdLsox91Evm+XK8JFdPhJ70tAiwXixaepaeupElQU+Llp6lp25kSdDToqVn6akbWRL0tGjp2dA9dYHciQr3amtra/9aMb7KVqDQF4prNn3/V7tk36Fj7cbvviEP3/b30qtnDzaewKqr/sH/6jZZ6PXrPDDHAxcNjNEThAJj9AShwBg9QSgwRk8QCozRE4QCY/QEocAYPUEoMEZPEAqM0ROEAmOhe4IM3cbYeIorGMjxhb5QGp/dL881HY60zjytUt79nw/Kikd+klMv9DuQfM8vyVItdL2w0ZXkanX9LK5fsr70pKdFgPVi0dKz9NSNLAl6WrT0LD11I0uCnhYtPUtP3ciSCN3TYpEty8ZTXMFAji/khfLMKwfl33/3elrqzvEXyo/mzpQVK1aw8WSoH97xlLteDJRqtJDXQ7bBOZ66JKYAPU1capieKpEpQE8Tlxqmp0pkCtDTxKWG6akSmQL0NHGpYXqqRKZA6J4mjCxhNp7iCgZyfKEulKY335f5v9ktx0+0P815w2X95MbPngvtMeP7jqDQx0uyVAtVL92dI8dLcvW4x1OymvSkp02AP89sXlqanpqQ7X162ry0ND01Idv79LR5aWl6akK290P3tGl0TbPxFFcwkOMLcaEcfv8juefJXXLwaGukNHxAb/nuhEFS2aOCjScR8d3oSrJUC1Evuc6P4yW5emyUJKtJT3raBPjzzOalpempCdnep6fNS0vTUxOyvU9Pm5eWpqcmZHs/dE+bBhtPcb0SP3727NnS2NgomzdvltGjR6c/f9WqVTJ16tT0P+/cuVNqa2ulublZhg4dGv354sWLpb6+Pp2pq6uTRx99tMPnoCec9IXi7nD60bq9sn3/0egUqnv3lAVfrZU+vSqjf0bG892YCX08tBaQHLJ+yOegGY6HSmE5emJOaIqeqBSWoyfmhKboiUphOXpiTmiKnqgUlqMn5oSm6IlKYTl6Yk5oyrcnel7d5XjHU1zBGMdXVFTIypUrowZTZuNpy5YtMmbMGEk1m5YsWSLLli2TpqYmcY2qsWPHypQpU8Qdn/pCQvfngwcP7tCIspxa0oW7euub8uuXD0Sn4O5w+v6XB8uQfmekTwkZL/RGkO/5WepByyLrp32G5X2OZ9HSs/TUjSwJelq09Cw9dSNLgp4WLT1LT93IkqCnRUvP0lM3siToadHSs/TUjSwJ356Wc8uWZeMprmACx7sGUmbjyTWadu/eLUuXLk1/eipz7733yrx586K7mtwdTq4Z5e6Ocnc6rV27Nu+zSbJwX9xzRO5/5q/pc/n2VRfINcOqOpwbMp7vxkzo4+VdHFkORNaP4+EC9MStkCQ9ESU8Q0/cCknSE1HCM/TErZAkPRElPENP3ApJ0hNRwjP0xK2QZOieiEGuDBtPcQUTOL5z42nixIkybty4Lo/RuabTpk2butzxlHnnU76nk9SF8sY7H0rDE83yQeuJ6FTGfvJsmTG2f5fTQsYLvRHke3751ka245D143i4AD1xKyRJT0QJz9ATt0KS9ESU8Aw9cSskSU9ECc/QE7dCkvRElPAMPXErJBm6J2LAxlNcpQIfb2k8jRo1Kr3Hk3tMz93p5O6Amj59evRo3qxZszrcKYWeehIXims2ff9Xu2TfoWPRsBfV9JJ7vjRYevXswcZTloVg4wmtTmxPMPzT9GQS14M+yskEx7No6Vl66kaWBD0tWnqWnrqRJUFPi5aepaduZEnQ06KlZ+mpG1kS9LRo6dnQPXWB3Ane8RRXMIHjLY0nt7dT6uUeyct8uY3G3eN369evjzYit7zchRL3VXHJV6Ti/EvbP+ajY3Ji68Mi7x/K+2P/te7PpmP/uenvTPnO4dDHi4XDgylAAQpQgAIUoAAFKEABClCgaARWrFhRNOeinQgbT5qQh/c7N57cRuHu1XmPp9Rm4+49twG5e/TO7euUueG4e0wvtQeU5dTjdmifeeWg/PvvXk8Peef4C+WyQX26PQVkPN93BIU+nqUetCyyftpnWN7neBYtPUtP3ciSoKdFS8/SUzeyJOhp0dKz9NSNLAl6WrT0LD11I0uCnhYtPUtP3ciS8O1pObdsWTae4gomcHznxlOub7VLDeeOyfzWO/fnce94yrdj2vTm+zL/N7vl+Im26PRuuKyf3PjZc3PKIBdK6I0g3/NLoFTTH4GsH8fDBeiJWyFJeiJKeIaeuBWSpCeihGfoiVshSXoiSniGnrgVkqQnooRn6IlbIcnQPRGDXBk2nuIK5nl8c3Nzeq+mzI/IbCbNmTMn/VZbW3tTx73cXU1uT6fMx+5cI8q9fO/xdPj9j+SeJ3fJwaOt0fjDB/SW704YJJU92s+nuxdyYfpuzIQ+Xp6lmvUwZP04Hi5AT9wKSdITUcIz9MStkCQ9ESU8Q0/cCknSE1HCM/TErZAkPRElPENP3ApJhu6JGOTKsPEUVzCQ47NdKHes+osceLe9oZTPq9/He8oDUz6Rd+Mi9EaQ7/nls4bdHRP6D1bOL8lq4ebwyWrSk542Af48s3lpaXpqQrb36Wnz0tL01IRs79PT5qWl6akJ2d737Wk7u65pNp7iCgZyfLbCnfbwK7Fnt/yWS9h46kaRjSe8vHz/YOV4+NogSXoiSniGnrgVkqQnooRn6IlbIUl6Ikp4hp64FZKkJ6KEZ+iJWyFJeiJK/jJsPPmzLuqRsl2YM3/2qhw9djzv8+59eqU89M2L2Xhi4ynvGkodyH9xxCbs8AH0pKdFgPVi0dKz9NSNLAl6WrT0LD11I0uCnhYtPUtP3ciSoKdFS8+G7qkL5E6w8RRXMJDj87lQ3DfZPbbtLRn/qSp1M/HOTMh4vu8ICn28JEsVWT+OhwvQE7dCkvRElPAMPXErJElPRAnP0BO3QpL0RJTwDD1xKyRJT0QJz9ATt0KSoXsiBrkybDzFFQzk+GK8UEJvBPmeX5KlWoz1wvnhAlw/3ApJ0hNRwjP0xK2QJD0RJTyhrr9XAAAgAElEQVR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L8YLJfRGkO/5JVnGxVgvnB8uwPXDrZAkPRElPENP3ApJ0hNRwjP0xK2QJD0RJTxDT9wKSdITUcIz9MStkKRvT+Sc2HiKq1QGx/suXGQ8342Z0MdLsoyR9eN4uAA9cSskSU9ECc/QE7dCkvRElPAMPXErJElPRAnP0BO3QpL0RJTwDD1xKyQZuidiwMZTXKUyOL4YL5TQG0G+55dkGRdjvXB+uADXD7dCkvRElPAMPXErJElPRAnP0BO3QpL0RJTwDD1xKyRJT0QJz9ATt0KSvj2Rc2LjKa5SGRzvu3CR8Xw3ZkIfL8kyRtaP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+kUHL9lyxYZM2ZMeuTNmzfL6NGjo3+uqKiI/v+sWbNk6dKl6czEiRNl+vTpMmXKFPMZIxdK6I2Z0OdnLoocByD1wvFwAXriVkiSnogSnqEnboUk6Yko4Rl64lZIkp6IEp6hJ26FJOmJKOEZeuJWSDJ0T8QgV6bCvdra2trifhCPT06gublZhg4dKqlm06pVq2Tq1KnilmnJkiXRQPX19VJXVyfr16+X2tra6M93797doRFlOSPkQgm9MRP6/Cz1oGWRetE+w/I+x7No6Vl66kaWBD0tWnqWnrqRJUFPi5aepaduZEnQ06KlZ+mpG1kS9LRo6Vl66kaWhG9Py7lly7LxFFewAMe7RtOjjz4qa9euTX+6azLde++9smnTJhk7dmx0V5O7w8nd8fTaa69Fdzo1NTXlfTZI4YbemAl9fnkXR5YDkXrheLgAPXErJElPRAnP0BO3QpL0RJTwDD1xKyRJT0QJz9ATt0KS9ESU8Aw9cSskGbonYpArw8ZTXMECHD979uzoUzs/Rjdu3Lj0aJl3PI0fPz5951O+p4NcKKE3ZkKfX761ke04pF44Hi5AT9wKSdITUcIz9MStkCQ9ESU8Q0/cCknSE1HCM/TErZAkPRElPENP3ApJhu6JGLDxFFfJ8/G5Gk+u4ZTa42nx4sXR43XuDih3h9S6detkwoQJHe6UQk8duVBCb8yEPj+0FpAcUi/I56AZjodKYTl6Yk5oip6oFJajJ+aEpuiJSmE5emJOaIqeqBSWoyfmhKboiUphOXpiTmjKtyd6Xt3leMdTXMECHK81nlJDukfyUo/euf/v7pByj9/NmzcvvRE5enpuM/Nzzz0XjTNHAQpQgAIUoAAFKEABClCAAhSgwCkQePPNN81/5z8Fp5keko2nU6nfzdhuo/ANGzZ02ePJ3dWU+mY7twG5e8TO7euUueG4a1ql9oAqwqnxlChAAQpQgAIUoAAFKEABClCAAhQoIwE2nopwsXN9q13qdN1m46lGVOrOpzh3PBUhA0+JAhSgAAUoQAEKUIACFKAABShAgRIXYOOpSBfQNZOmTp2aPrudO3dKbW1t9M/urqbBgweL2+8psxHlMvnu8VSkDDwtClCAAhSgAAUoQAEKUIACFKAABUpYgI2nEl48njoFKEABClCAAhSgAAUoQAEKUIACFChmATaeinl1eG4UoA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WK9NxWrVolTz75pOzcuVO2bduWPsuRI0fK5z73OfnGN74ho0ePTuzsOR49LcXEemG9FHO9IOfmanjgwIGJ/hzNNS7HQ1YFz9ATt0KS9ESU8Aw9cSskuWTJErnxxhultrYWicfOcLzYhB0+gJ70tAiEXi8Wi3yybDzlo1bGx8yePVsaGxsjgQkTJnSRWLduXfRnK1eulClTpsSW4nj0tBQR64X1Usz1gp7bxIkTZdy4cVJfX48eEivH8WLxdTmYnvS0CLBeMK0tW7bI9OnTo//o6V6TJ0+Wu+66S0aMGNHhA5LyfOihh6LPP3TokFRVVUW/086fP19qamo6jFdRUSGbN2+O/R8KOF47Kz2x64H1wnrBKqW4Umw8Fdd6FPXZvPzyy/LpT39aFi9e3O1fiFpaWuSee+6JmlPul4M4/wWI44nQE78kWC+sF7xaRHzXi+XckvqLEzomx0OlsBw9MSc0RU9UCsuVomdzc7O4u+pdE8j9R0/3u1HqjvvO/6EzifmtWbNGJk2aFDWcRo0aJU1NTdHvtO6fN27c2KHZlUSjhOOdbB7SU7+OWS+sF71KijPBxlNxrktRnpW7vfCxxx6TrVu3qudXV1cn3/3ud2XmzJlqtrsAxzspQ0+9jFgvrBe9Sk4mTkW9zJkzBz7FXA1+5EPc/DjeSSl65q4a1ktHH9ZLcdWLu7vj1ltvlZdeeind9HHNKHeXs7vTftasWbJ06dLopJNoPLm7m1xj6/nnn0/f4ZR5x1VmsyuJRgnHO/mUBD31f8OzXlgvepUUZ4KNp+Jcl6I8K/eL6YYNG2Tt2rXq+SXxL36Od5KZnmrJCeuF9aJXScfGk8+fZ6n/QukeD/nMZz6T81SXLVsmM2bMiPWoHcc7SUxP/cpgvbBe9Co5mfBdL7n+/Z5qmqaaT0n8vtTdZ7g7rW677TZZvXp1ekuJJBolHI+eluuP9cJ6sdRLMWXZeCqm1Sjyc0n9opH5X5yynXLqEZa4+zxxvHZdemIXBuuF9YJVSnvKd724Md0vi2effba4zX1zvZL4ixPHS7YRS096Wn6+sF6SrRd3x9PDDz/c7R337mfq1KlTozuf3J1QcffIc3eUDB06VBYsWJB12VP7Sbrfc924cfd44njt+8fSE/spw3phvWCVUnwpNp6Kb02K+ozct9a524/dv9zdho6f+tSn0uf7pz/9KWqSuF8AqqurO9yinO+kOB49LbXDemG9FHO9pJrI2v53STWeOF57NdATuypYL6wXrFI6/kcOHz/PXDPJNYJyjZVqPrmzi/uopPusefPmRXs7dffK/DKTuI0njifRY5OpLy+iZ+4rkfXCerH8rC6mLBtPxbQaJXAu7jbj++67L/qXg9vkMdvLPUqycOHCWBuLpz6X47V/cws9sYuD9cJ6wSqlPeW7XtyY7k6ryy+/vMs3I2Wet2sA9OnTJ5GfoRyv/a5RemJXBuuF9YJVSnvKZ700NDTIpZdemvMbk921fvXVV8sPf/jDWHuMph6py/ateZk+qWaX9iSAZsrx2oXoqVXKyd9d3COfrM/2Ox15/WF1UwwpNp6KYRVK9Bzcv+CPHDnS4exHjx5dsNlwvGRp6UlPiwDrxaLFLAUoQAEKUIACFKAABSiQEmDjibUQhID7ryQDBw6UQja+Ov9XLp/jBbFIRTQJ1ksRLUYJnIrvevFN4nt+vsfz7Rn6eL7Xz/d4oa+f7/mFvn5uc/Mbb7wxkTtUkbXxPR5yTszgAr7Xz/d4uASTiEBo68fGE7LqzJgFkvpFI/Pra91JuMfOst1amtQeHr7HQ2GT8gx9PN/r53u80NfP9/xCXz/f8/M9nu96CX083+vne7zQ18/3/EJfP7ehuft9020rUVVVFT3iN3/+/C6PSSfxrXZu7XyPh9aL77/4lup4vtfP93isl3aBpOqzWNcPXed8c2w85StXpsf5/EXDbSY5cuTI6F/6EyZMiPZjcRubu1fnb8xLovHkezw3D5+eoY/ne/18jxf6+vmeX+jr53t+vsfzXS+hj+d7/XyPF/r6+Z5f6OuX+tZT13AaNWpUtMm429jc/fPGjRujL9dJvZJoPPke71Q0unz/RdvneL7Xz/d4rJeTf+kv1eu9WNoWbDwVy0qUwHn4/kXD/Uvj1ltv7bBpnDsH980X69ati75Zb+nSpZFcEo0n3+P59gx9PN/r53u80NfP9/xCXz/f8/M9nu96CX083+vne7zQ18/3/EJfP3d3k/sPnc8//3z6DqfM/1CY+R8/k/iLqO/xfDcuQh/P9/r5Hi/09fM9P9/rV0wtBjaeimk1ivxcfP+i4W5n3LBhg6xdu7aLjHtvzpw56eZTEo0n3+P59gx9PN/r53u80NfP9/xCXz/f8/M9nu96CX083+vne7zQ18/3/EJfv+5+p0x9+9zq1avTd94n0XjyPZ7vv/iGPp7v9fM9Xujr53t+vtevmNoLbDwV02oU+bmcil80Hn74Ydm6dWtWmdTXrro7n9x/7Rs3bpzU19fnreh+cfM5nm/P0MfzvX6+xwt9/XzPL/T18z0/3+P5rpfQx/O9fr7HC339fM8v9PVzfxEdOnSoLFiwIOvvlO7O+8bGxqj55L7OffPmzbG+3Mb3eL7/4hv6eL7Xz/d4oa+f7/n5Xr+8/2JcgAPZeCoAaqgf6fsXDddMcv/id8/V19bW5mw+uTcXL14cq/HkezzfnqGP53v9fI8X+vr5nl/o6+d7fr7H810voY/ne/18jxf6+vmeX+jr5/7D5rx586K9nbp7pZpP7v24jSff4/n+i2/o4/leP9/jhb5+vufne/2KqS/BxlMxrUaRn4vvXzQcR0NDg1x66aXRt4l093r55Zfl6quvlh/+8Icyc+bMWIo+x/PtGfp4rBeR1F2ApdiI9V2fvusl9PmF7ul7/XyP53v9fI/n2zP08UJfv9Qjddm+RTnzl8zUv3NfeumlDhuOW38R9T2e77/4hj6e7/XzPV7o6+d7fr7Xz/rzqJB5Np4KqRvgZ/tszATI12VKvj1DHM/9AHevmpoaLyXje7zMSYW4fqdyfl4KJmMQ3+vne36+x/PtGeJ4vn+e+R7vVP58CbFefF/jp3L9TuVcCz2277/4hjqeazB390RGIdbQ93ipOYS6fqdqfoWojVL5TDaeSmWlTuF5+v5FkeMlu9ihe7q9LRYtWhTdFfelL31Jrr/++mQBO32a7/FCXz/OL9lypSc9LQK+f575Ho/Xg6Ua9Gzonr7/Ys/x9JqzJHx7ur2B3OOYkydPln/8x3+MddcbMk/f4/n25HhIFZR2ho2n0l4/L2fv+xdFjpfssobu6f5F9cgjj4j7lhm3H1hVVVVBm1C+xwt9/Tg/Xu8WAdaLRUvP+v555ns81oteA5ZE6J6+/2LP8SzVp2d9e27ZskVWrFgRbXNw6NChaF/aQjahfI/n25Pj6TVe6gk2nkp9BT2cv+9fFDlesosaumemltvvy22y6uuXAB/jhb5+nB+vd4sA68WiZcv6+Hnm++c168VWA1o6dE/ff7HneFrF2d737Zl5dmvWrJH/+I//iP4jqHuNHDlSbrnlFrn22msL8jiej/F8e3I8W72XYpqNp1JctVN4ziH+Yur7F2GO5+eWZPcv5d/85jddmlA333xzwX4JKPR4vP6S/eFHT3paBEKvl85/iSr0zzPf44W+fpyf5WrWsz7+Yh9646Kc5peaq3sc9ZlnnpEnn3yySxPqxhtvTHw/Ul/j8XrQf2ZYEr49LedWyCwbT4XUDfyzQ/yLve9fhDneZClUIyj0X3h4/SX7A5ae9LQIhF4v/PlpqQY9G3q9hDw/X3+xD71xUS7zy/xpkKqdH//4x7Jt27boLfco3g033BDdCZX0l+L4GI/XQ7JfZOTbU/+3VWETbDwV1rdsPt1355bjJVtaoXtqv/Dcf//9Mnr06GRRRaS7f6EkPV7o68f5JVua9KRnPgK+fp75/nnN6yGfauj+mJA9ffzFPvTGRTnNL3Ou7jFVdyfUww8/3KEJtXDhwoLche9jPF4PhWlC+WpUJvuTH/s0Np4wJ6ZAgVB/MfX9izDHK0wjqLtfeNxz+DNnzgSrPL9Y5r+gCzUer7/81qa7o+hJT4tA6PXCn5+WatCzoddL6PPz8Rf70BsX5TS/znN9/PHHZdmyZfKLX/zi/2/vbF6uqr44fvoDJBNHJSG9DAIj0XJgNUiofmhIg4w0CaHozQg0tKwcWVmIBYFlUiCRBr1MRKkc6CAQKoqgwkEGotFIyugP6Mf3yHo6nufc83LP2uve+9zPmWTPPWevvT977XX2WXvttZOfhiddTS2P8dBs87vcEc2zS9363IvjqQ89nq0l4PmhrQF45ZVX1oalespTWadPn66NgplkeW1U17N94yivTZ2GvUcJEufNm5d8MlFXv0nuv+jx3qaf4dmG0qV7sJ//RTtq5TKVo3mUjqD22tD9Tuxnv4UQ7Kfv+FPurFtuuaVWkT0/7FXWP//8UytzkuW1sQie7RtHeW3qNMw99u69+uqrk0RRta3TJPdf9HhvwzSaZ5s6DXsPjqdhyfFcKAEd4fv8888n3RtdbJDkffrpp9l3330X0s5oeSGNmjIheuFv3rx5Jpmkmn/VVVdlTz31VLZ161bXvfw6te+nn37KXn311UrKDz30UPbMM8+4bR+Mlhc93jXR+Oqrr/J8Y1U5F1566aXs5ptvzsR1Eq9ontH2LFreJOrAuNcZ++lnr6PH+1y3nzri/dtvv83t/3333ZetXr066XCSvOXLlw98v3sLj5bnXX/KyzKNQS1wWB4pMbn++uuzbdu2uUfz182H5CB5+umns0OHDrnNeaPlRY93bU0+f/78wH5Sfd54441G5/ekjAMcT5PSU2NYT00UFbr5999/V9Zu5cqVbh++5u2VM0iGVR/0KScB7733XrZnz57szJkzIeRTy9NLaenSpdn+/ftz42YT07rGydBt377drf0p9aVNe8oN8W7fbbfdluumHE2LFy/OxZ09ezZ79913s3vvvTf78ssv3ViqvSdOnBhYpl5Uq1atcuu/aHnR4930R3Zl9+7dsyYA3jylCCnHQ1nRonmmtmfl9qWWh/2cbbqwn+3NOfbT930UbT8VgffFF1/ki0q//fZb/kGvBNEPPvhgko9BzW0XLFiQvfPOO+2VrMedqeXJPj/55JPZjz/+mPPS+1QLPXXX119/7fb9IDn2DhwkU6fNXXfddUNRbNOecsGe7VPbbr311lyE5p/aHaJLc0Rx9rbVTfOhK664IvNsX7S86PFu+iO7cvDgwVl6781zKCV3fAjHkyPMaSpKH00aLEXvern95uTw5mL7Xk+ePJlPBCyqxPt0NDkSFP2gl/+wL6QubU8pz1Yhnn322Xy1Tob11KlTtdXzdBym1pc27Sk31rN9WrFYs2bNzMSqKMs+Wm3S1UUnqhwIf/zxR3b48OE8Gk9JysvXL7/8kk/yPMaf9CZSXhWbiPFuETMag+YoLK4wNU18uvZp6vFQV58InpKf0p5VtS+lPOznbOLYz+ZRj/28tD1tLtlPi+6yRVCLKpHjwuuEMnMkpIiWHvSOleMilTzNj95+++2ZubQiqM+dO1c7gPo4gsoFq8/uuuuu7K+//hoos8/8rE17yoI926eIIH0LffPNN7N0UE6/HTt2ZH/++WezwWq4Qxy1BXTLli35+33Dhg2zntDcVHOoPjyt0Gh5Vc2PGO+yj/Pnz88uXryYOwo1Dnft2jXTlzieeqsuBcwFAjK069evz44dO5Y87LiOlz7gZGzlUHn88cfdIjzUPnme61ZlPFcRouVF6+C46EuqdjetaOslvW7dut762TayS5NIRVj1nQhHy2vqn1Tjvdh/cmJqYiWn+osvvphvk3z44YddI8jGZTyk4hltz6LlNemp9+/joi/e7bLysJ8+9rqpf1KN92m1n+bE14f9kSNH3CJ05Eg4fvx47cKuZ0RJtLwmPfX+XVu/xDMiibd33duUV+fY1ZhfuHChSwRS28guOU48ovWi5TWxTjXei/2nd730VZdF3+N4auoZfp8KAk0TxdQQyqelKOrpo48+cnOCtYmg8VzxjZaXun/K5Y9aX1K3tynHjNeKb5sVdM+k5tHyBvVT6vFepZ/62+uvv55XSdsePB3box4PqXlG27NoeantCfbzcgLYz34al3q8T5v9LJ82pagnOTa8IuPbRNB4RsxEy+unzd2f9rIf3SXHPNGUo8vLcdEmAskzqXm0vEG9lXq8l/VT9nrnzp155JgWkbUI6ulojtHKwVLYajfqHphQ+Qqd3bhxY/brr7/2jqpoi2DQ0ZL333//xCb9bdv2FPfJqH/yySfZ999/X1n8pk2b3LhG60v0h2jddjr7zTM6UDx//vnn3hFUbfUqWp7qFTneBzmCVAdFPSmM3TPCMXo8RPNsq1eTfB/20y+HI/bTfyRgP32Z2ni3PE+WZ1Tbje644w5fYVNQmt6BR48ezd/zVZdnMmVFdGme65lns66Loh15luNw0FY7pV64cOGC27ea5ktLlixxW+hvUvdoebnbwKcAABX8SURBVKpP5Hgf5BgtRt/jeGrSEn6fCgIaLFrhKe5FTdVwS06o8uUBfu6557K7777bzZCmqve4liuP+o033pjveVfia53YoqiOG264If+3VvCUP8hzQhWpL01bxEyHPE8ps7DgquTikhd1QuK46lyXeo3beNckZNGiRa72JnI8jBvPLrowjvdiPy+9g7Gf46idWTZu433S7af0XA4nXUoq/sgjj4R9dI+nhvWrlT6o77zzzjw/64oVK/KUFpojKTWA/i3Gr732mlsEmdnrqoND+rWk+ummLWKac3s61qx9qk1VcnEtng06ATlF+ye9zHEb7xovnt9io+4fIp5G3QMTKl8e/b1799buQfeMEJA8nZ4nZ5NXOHMT+sgVbdWlGF1hdbNVNW/nniUctIi1osfdojEU3unFOlpfBvWtHdmt31Unz0tlv/nmm3l4bDGJpSZR+/btc3VaWL2LJ7VoMqMTY1JM8qMjyEYx3m0M6qROXSl5Ro+HUfDEfmI/u9hX7KdfBNkoxvtctp9ayLr22mtDFzsjI4LUd8XoChu3WoD03GJu5erDXomULQKpuBXM8k15LtRZ8m2dSDjoiogo0XztnnvuybZt2zbr5NwutrLq3kHfD3JEpXI6FeeFOtxJjsMUTpLoCLJRjHcbg3boU0qefXWt7/M4nvoSnNLnoz9Eoz+0o1e0i/LkqFi2bFne5B9++CFfafNKFm0cy1uLyqGeSob92GOPub0cR6UvVcPTWHsmAy3Lsb3pKVcpylFd5uhtyjc1jMkaRQRZsZ7SH8/cVVUMInmOajxEOSqxn9jPYeyMPYP97ENv9rPYTx+eUR/a0RFBRXlyCi1evDgHZif3eSWLtl4ozzeLjidLhu1xKprJi3Zc1GmbWK9duzZpmpKI8V6O6jLHXVO+qWFGYnQEWbGO0sfTp09nnrmrqhhE8hymDzyfwfHkSZOykhKI/DCMjggyeSdPnsyjVoqX5b/4+OOP3bY2SN77778/s/1LpyjouFWLAvI6hS2pQvQo3DvZpCXhrnM0eU4GTCfkbNLKSPHUtQjHmqFPHUG2efPmmS0OkqkIwBRHPo8Lzx4q3fgo9hP72agkLW/AfrYE1XAb9tOHY0QpkR+G0RFBkqdooKqTcG3bpn73ioCXPEVTWSSOUjxYFJDnKWwRejGMDK9k3yZbc8s6x4i388S+V3Rynfqy2B5zYv7777/DoOn0TMoIMs0JtfiunR92SWdTRKuNC89O8HvcjOOpBzwejSMQ/WEYHRHUdMpViom+jKhNJuy4bu0F16X99Z7JsOM0pVmSvRj379/vFtFl/ffss8/mSb/LiRflyLMXmMd++3JUU1k/vPWljmoqR5cxq8qZpW1wnolCx4lnswZ3vwP7+b9s1apVbsn4NeHFfmI/u4/E2U9gPz0opi0j+sMwOiKoab7g7SjRfPPll1/Ozpw5k3ecFj71txdeeGEmyt8zGXZa7ehWui0AeUZ0WZTRzTffnJ07d24mTYBqpneVdkxY+gePeX05qqmsH976Ukc4RQSZMZPcqpxZnmlkJGOceHbT5uHuxvE0HDeeKmT9jzgVLfrDMDoiqM542sTUVhe8lE/73vWisgSxevkrP5EZW8nzuqK3FhWTq1a1IcXWxeeff/4yUeYcMUeXXvjnz5/PdMJI39XDNo7RdevWuX1oN+lB08S16fny78pvsWbNmqxqclZ3AlZXOXb/KHhG5kDCft6YYT/bjw7s520Z9rO9vsx1+xn9YRgdEVS38Gnzl75zlqI2WaTfjh078gh//b8Y2+KcZ3S/5EZvtSsmp64aRSm2Liope/Eqpl44cOBAdvDgwezw4cPZ8ePHZxx+7Uf45Xe2cYxG5MyyWnk7uiwn2KBTAqW32iHidY0bT692DSoHx1NqwnO0/OgcHtETm1GsaMvxI7mHDh2aSUQtzjt37sz/7hnhMUgtJU+XkgR6XtE5guS4ePvtty9rwvz58/PcWVdeeWX2wAMPuLbR2mcv26KzSRFQypVgyTKLYeXDMi47ZoovLnPMeKxstalfygiyQTrvvRU0mif20z+iEvvpd8oc9nNpWMQv9rPNW+bye6LtZ/SHYXREkDl+lPi6mIha807lHI1ywkqe13a+osZE5wiy75ViHdQu5c5SknrP00AlQ+1T9JicSpJj81FFjSkNw/Lly/N+te+avtFWZcdM0fFjixZREWupIsgGRUin2Ao6Tjy7W+PuT+B46s6MJ7JLx/XK6xt1Klr0h6E6OWVEUJMjpqxkitDxPr56HBQ5ZY6LyPZVrRjaZFX1OHHixIzj0Cs6SM4XrUJqEqMJhxxammAoak3bgDxPhRlFBETRWVfuSy+GxXKjeWI/h4+oxH5e0lzs5/BWPnq8K9J10JUiAhf76XeqZPSHYeqIoCZHTFlPFb2tCJpy/tHhR994PJkyR1BkC6vmQ+YMeuWVVy7bZu4RHWRb0RYsWJA7JpWaQ1FcujT/9EgnUeQ3iggyc9ZV9aMHw2K50TwjdXMAvyuu+DciC9ioW4p8VwJtIpA8T0VT5SMnioNgeUUEtdl6Vq7DypV+xy2rbEXGyKEgo1d1bdq0yX1lpkqOV44LMb3pppvySCZLplin9J6npInjnj17Lgthtsimv//+O4njadDx45oA7Nq1yzWiKzoCom47XaqIrkie2M9+EZXYz/8sG/ZzuKlN5HjHfvq+j6Lt57h8GHpFBLXZelYeVYoS94xG0pj48MMPs4sXL1YO4ChHl0eOIJtv2uEydthMnWXyPCVNjhk5gSw9RjGySSkgitE7Xk4TyZCDSadu26XDX5Sna/v27cMZ5QFPRUeQ2Xx+0FY7LSJ4R3RF8nTtnCEKI+JpCGg8ciniKfpUtMiJ4lzv42LCQa1mjdLxJNl9I1hsu0JxX3s559KgPlX7i9sbh+l747lixYr8Jf/DDz/kL2TlKtDe+m+//TbTiYW6li7138ZhzkPPieEwHDyfsVXZquTiihDwjOgq1zs1T+ynp6bEl4X9/I859jNe/9pIxH765jicpg/DNvrV5x7bwSBHheZMVVeU40my+zpjyqkWukSUeUQHGU+bKynaUdHwR44cydauXZtHwCttwWeffZbnGPV2mmgxcNGiRa6LnX30q++ztpijcqqSi3v0WV0d5xrPcltxPPXV0Cl9fhQ5kIqoU38YSta4RASlUDG9KF9//fU8meOonRUeOS70ovjggw9mTvNQ35WTLVZxVDSSwoQ9TrjTy1+n2umFrxe98iUo7FiTK/3bVob0/7ZFtU/fqo2K2rL+M31V+Y8++mjSflWfeUaMVXEY5GhWaPe+ffsmepKD/cyyqIjKPmNs0LPYz0tksJ/DaRf2czhu9tSo7WfEh+G4RAT166nqp+WY0dV3wc+jbh45gmy+qXmXIu7Vd8rt2XTZAmXfnEuSY+8knV5ni8maA2uRTpclbvc6Ebi4w0Dlm77edddd7jlUixwtuswzYqyqnwY5muWIKuZBa+pjfp9NAMcTWjE0gZQ5kBQKrGSxdnKAjNzvv/8esvVLQEaxoh19ylUx79DQStDywegcQS2rld/WN9qqTlbRQWrh7R4h6zbxtmTmxeNfrT4ezq3yC3/z5s2zQqv1It66dWtSR5DGxj///JNZKHuX/q26dxy2amE/fbfyYj+/TDoGB4057Gc7a2R5e8pbU7Cf7fiV70ppP23uqXe2Lv1XER1e75+mFo8iIkgyjx49OjD1gmcEUkqbUcU2OkdQU/8Wf+8bbVUnyxykukfRTro8Dtax7zObY5q+asFVC69ezq1i29QWpW8xB5p+k7xt27ZlTzzxRBfkne/1XigYh62unSE4PoDjyREmRV1Kdqqr76lo5T38dce9puAevaIdfUqLOSq0/SsiYWR0josuOqG6XXPNNSEcutSr7l7pZzF5rOmrJgK6brzR//h45VjTS79q61uKiYYXq6pyuianVvsiInSwn8P1OvbT95TOLr2A/WxHC/vp62iuou5lP8uOkWhHSXREkEWd29Y3i5TRPF7/tgTSXtHxFh1elUOn3Wjqdld0jqAutdOirIczqIvMvvdKP4vJt01ftZ3PdEkOKC99KS6sVm19sxQbfdsV9XyXrZg2Jj0dv1HtHCQHx9Ooe2CC5Ecmb5ZHeP369Xnyuttvvz1fiVFOl7feemsgMc/Qy2hHV/QpgYJoqxZKBlh16WM7wik1QUOgtqrRERdFx5MSmWtyaCHA3hPl8qmSRRB1icD79K0+IrRKp+08VZd3sn0xmz9//mXb+OyYaX00WuLOYduE/RyWXPNz2M9mRuN+B/bzR9f3LfZz3tA8FfGk+ZHmRnrPbNmyJT/cZsOGDQOHkR1s4jHOvN/fTXVSRJCSfMtxoKsYhaPIMp2a651TUYxV5rp16yqrZ9vWmurO75cIREesmePJou+PHTuWrV69epb+ePRP+VTJYpn27rfdMR7yVIbaZVFiVWV67Fywcm3hrJyYXe9EbV3U3FNjdK5cOJ7mSk8mbscokjd38Qqr+Z5e7+iIoOhTWsSriW9fnpEf2onVv7H46IgLc/bIMauVJW3fKK4w2Yl6XiHITY5YTco1gfQ6zcQcPsWw6nIneOTlsjI1adu4cWNl7i2PU8Own41DqNcN2M8sec61Xh3U8DD2E/tZpyLR9lPzP+Vl1Du17WXb3tveX3dfdERQ2dFVdDxpbC5cuDDzyENkbW7Dtw/PUZ8y56EDXcqIjlgzZ48cJVoAVV6pM2fO5FUunqjntXBd54g1/eyjL2XW5vBRuwZdnuNBjrXvv/9+xvFblOlx6mIXXYq4F8dTBOU5IGNUyZvtBXL48OHGiCfPFSd1WWREUPQpVxZRJueSVvSqrj48oyeKox5io4i40MtKidEViltcEUkR6lze2lfm7b1Ca/pZXEVL2cdNjrW+7cN+zu49z4hK7Od/fD1OmUs51qrKxn7+77Ijz/vyx35eItg3+b0+ov/4449WEU/e+Z8iI4IUTaF8ORYxXVy4SvFhbxFlmrcod1bV1YfnqE+Z6zt+uz4fHbEmnXj44YfzbZjSm88//3wmulDsDxw4MOOI6tqWqvvLW/vK93jnyZJ+Ksqv2C6Pdgwqo2l+6d2+lG1pUzaOpzaUuKcXgaZB1aZwOyXCK6KijczUEUHFOkSf0tLkSGjDp+6eUX1o9633sM+PIuJiUF2lS0rE7bXaJDl12+nsN08nUZMjaNh+GvScfahVrWLZ6tfu3buTJ7EcNOlatWpVr2gy7Odrmbd+Fre6eusj9vNyR4wiKpVY1iuCs66/sJ/dtXmu20+9j5YsWTKzlag7oW5PpI4IKtdG/ffyyy/POAuKWw3t5LULFy70zt1qcpscCd1ozb57HE6Z69uGLs9HR6zV1a182nKXdgy6VwsTe/bsyapygtnBRd762XfO1aXd5uiqal+dbe0iY5zuxfE0Tr0xR+syiclHU0cEVXV1ylNayvKiQ7m7qLaHo7KLPI97oyMuPOrctQxzxFYlF9eRvZ45IOq2vnWtd5v7i1v7lCtr2bJl+WNnz57NIx91eZ8S2KZeugf72Y4U9vMSJ+xnO32Jvgv7+aub46JL302i/UwdEVTmZycu7tixI1+wKm91//jjj11zzMhWaxujvVu79GfqeycxuiQ6Yi11H1Tppw7M0VWVXFwpJyxaz6NudVvfPMovl2GLm/q7+nLx4sX5Leb0nbTDe5oY4XhqIsTvU0kgdURQW6hep7RUydNEWKdO7Nq1ayQTwkEMJnGiGB2x1lZ/PO+TLr755pvZu+++m+/pt0uOmn379rnrULR+qn07d+7MJ8Pl9tmE3JPnXC4L+zm63sV+jo59nWTs5y3j2TFjWKvUEUFtm6x5jdfJZEWZltNtVFHEde2fxFPmoiPW2uqP533SRTmYlM/ULqWZkCPK0+mkskehn3I+aTyU2ydH1Lh9o/XtVxxPfQny/JwkMM4RQR7A9aLau3dvVpe8uW9ycY96TlIZkREXo+ail6S28/XJw1DXBvRz1D3cTz720/ewi369MRlPYz/9+gn76cdyFCWNc0SQBw87pawuebtnsmiPOo9zGdERa6NmoTym8+YNf2plU/3RzyZC/X7H8dSPH0/PYQLREReRKGW4T506VSvS+7j6yPaNi6yUEWvj0sYU9UA/U1CNLRP7uTKZYza2J0cnDfs5HHvs53DcxuWpUURcRLZdjtFz587VivQ8rj6ybeMkK1XE2ji1MUVd0M8UVP8rE8dTWr6UPqEEWDGc0I6j2hCAwMgJYD9H3gVUAAIQmFACRFxMaMdRbQhAoJEAjqdGRNwwjQRYMZzGXqfNEICABwHspwdFyoAABKaRABEX09jrtBkC00EAx9N09DOthAAEIAABCEAAAhCAAAQgAAEIQAAC4QRwPIUjRyAEIAABCEAAAhCAAAQgAAEIQAACEJgOAjiepqOfaSUEIAABCEAAAhCAAAQgAAEIQAACEAgngOMpHDkCIQABCEAAAhCAAAQgAAEIQAACEIDAdBDA8TQd/UwrIQABCEAAAhCAAAQgAAEIQAACEIBAOAEcT+HIEQgBCEAAAhCAAAQgAAEIQAACEIAABKaDAI6n6ehnWgkBCEAAAhCAAAQgAAEIQAACEIAABMIJ4HgKR45ACEAAAhCAAAQgAAEIQAACEIAABCAwHQRwPE1HP9NKCEAAAhCAAAQgAAEIQAACEIAABCAQTgDHUzhyBEIAAhCAAAQgAAEIQAACEIAABCAAgekggONpOvqZVkIAAhCAAAQgAAEIQAACEIAABCAAgXACOJ7CkSMQAhCAAAQgAAEIQAACEIAABCAAAQhMBwEcT9PRz7QSAhCAAAQgAAEIQAACEIAABCAAAQiEE8DxFI4cgRCAAAQgAAEIQAACEIAABCAAAQhAYDoI4Hiajn6mlRCAAAQgAAEIQAACEIAABCAAAQhAIJwAjqdw5AiEAAQgAAEIQAACEIAABCAAAQhAAALTQQDH03T0M62EAAQgAAEIQAACEIAABCAAAQhAAALhBHA8hSNHIAQgAAEIQAACEIAABCAAAQhAAAI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yB1P4VIRCAEIQAACEIAABCAAAQhAAAIQgAAEIDAVBP4PSUvMkZPYWOAAAAAASUVORK5CYII="/>
          <p:cNvSpPr>
            <a:spLocks noChangeAspect="1" noChangeArrowheads="1"/>
          </p:cNvSpPr>
          <p:nvPr/>
        </p:nvSpPr>
        <p:spPr bwMode="auto">
          <a:xfrm>
            <a:off x="610264" y="609955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AutoShape 3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762652" y="762343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AutoShape 4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915042" y="914733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AutoShape 5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1067431" y="1067122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AutoShape 6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1219821" y="1219512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AutoShape 7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1372209" y="1371900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Espaço Reservado para Número de Slide 3">
            <a:extLst>
              <a:ext uri="{FF2B5EF4-FFF2-40B4-BE49-F238E27FC236}">
                <a16:creationId xmlns:a16="http://schemas.microsoft.com/office/drawing/2014/main" id="{2B271398-023E-2F0B-5739-03CFF07A1122}"/>
              </a:ext>
            </a:extLst>
          </p:cNvPr>
          <p:cNvSpPr txBox="1">
            <a:spLocks/>
          </p:cNvSpPr>
          <p:nvPr/>
        </p:nvSpPr>
        <p:spPr>
          <a:xfrm>
            <a:off x="19052418" y="500289"/>
            <a:ext cx="746198" cy="609557"/>
          </a:xfrm>
          <a:prstGeom prst="rect">
            <a:avLst/>
          </a:prstGeom>
        </p:spPr>
        <p:txBody>
          <a:bodyPr lIns="150781" tIns="75390" rIns="150781" bIns="75390" anchor="t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133" b="0" i="0" u="none" strike="noStrike" kern="1200" cap="none" spc="0" normalizeH="0" baseline="0" noProof="0" dirty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631681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/>
          <p:cNvSpPr txBox="1">
            <a:spLocks/>
          </p:cNvSpPr>
          <p:nvPr/>
        </p:nvSpPr>
        <p:spPr>
          <a:xfrm>
            <a:off x="604340" y="467709"/>
            <a:ext cx="18432329" cy="10698889"/>
          </a:xfrm>
          <a:prstGeom prst="rect">
            <a:avLst/>
          </a:prstGeom>
        </p:spPr>
        <p:txBody>
          <a:bodyPr vert="horz" wrap="square" lIns="0" tIns="13968" rIns="0" bIns="0" rtlCol="0" anchor="t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565" marR="0" lvl="0" indent="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596" b="1" i="0" u="none" strike="noStrike" kern="1200" cap="none" spc="-74" normalizeH="0" baseline="0" noProof="0" dirty="0">
                <a:ln>
                  <a:noFill/>
                </a:ln>
                <a:solidFill>
                  <a:srgbClr val="2C4272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Principais resultados do PE 22-26</a:t>
            </a:r>
            <a:endParaRPr kumimoji="0" lang="pt-BR" sz="2399" b="1" i="0" u="none" strike="noStrike" kern="1200" cap="none" spc="-74" normalizeH="0" baseline="0" noProof="0" dirty="0">
              <a:ln>
                <a:noFill/>
              </a:ln>
              <a:solidFill>
                <a:srgbClr val="2C4272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  <a:p>
            <a:pPr marL="869105" marR="0" lvl="0" indent="-85654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3199" b="0" i="0" u="none" strike="noStrike" kern="1200" cap="none" spc="-74" normalizeH="0" baseline="0" noProof="0" dirty="0">
              <a:ln>
                <a:noFill/>
              </a:ln>
              <a:solidFill>
                <a:srgbClr val="2C4272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  <a:p>
            <a:pPr marL="869105" marR="0" lvl="0" indent="-85654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3545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3ª Diretriz – Consolidar a estruturação da empresa e promover a transformação digital </a:t>
            </a:r>
            <a:endParaRPr kumimoji="0" lang="pt-BR" sz="3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pPr marL="1223688" lvl="2" defTabSz="914357">
              <a:spcBef>
                <a:spcPts val="110"/>
              </a:spcBef>
              <a:defRPr/>
            </a:pPr>
            <a:r>
              <a:rPr lang="pt-BR" sz="2800" dirty="0">
                <a:solidFill>
                  <a:srgbClr val="002060"/>
                </a:solidFill>
                <a:latin typeface="Calibri"/>
                <a:cs typeface="Calibri"/>
              </a:rPr>
              <a:t>Aprovação do Plano de Cargos e Salários (</a:t>
            </a:r>
            <a:r>
              <a:rPr lang="pt-BR" sz="2800" b="1" dirty="0">
                <a:solidFill>
                  <a:srgbClr val="002060"/>
                </a:solidFill>
                <a:latin typeface="Calibri"/>
                <a:cs typeface="Calibri"/>
              </a:rPr>
              <a:t>PCS</a:t>
            </a:r>
            <a:r>
              <a:rPr lang="pt-BR" sz="2800" dirty="0">
                <a:solidFill>
                  <a:srgbClr val="002060"/>
                </a:solidFill>
                <a:latin typeface="Calibri"/>
                <a:cs typeface="Calibri"/>
              </a:rPr>
              <a:t>) da PPSA</a:t>
            </a:r>
          </a:p>
          <a:p>
            <a:pPr marL="1223688" lvl="2" defTabSz="914357">
              <a:spcBef>
                <a:spcPts val="110"/>
              </a:spcBef>
              <a:defRPr/>
            </a:pPr>
            <a:r>
              <a:rPr kumimoji="0" lang="pt-BR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novação do </a:t>
            </a: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trato de remuneração</a:t>
            </a:r>
            <a:r>
              <a:rPr kumimoji="0" lang="pt-BR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da PPSA com o MME</a:t>
            </a:r>
          </a:p>
          <a:p>
            <a:pPr marL="1223688" lvl="2" defTabSz="914357">
              <a:spcBef>
                <a:spcPts val="110"/>
              </a:spcBef>
              <a:defRPr/>
            </a:pPr>
            <a:r>
              <a:rPr lang="pt-BR" sz="2800" dirty="0">
                <a:solidFill>
                  <a:srgbClr val="002060"/>
                </a:solidFill>
                <a:latin typeface="Calibri"/>
                <a:cs typeface="Calibri"/>
              </a:rPr>
              <a:t>Diagnóstico da </a:t>
            </a:r>
            <a:r>
              <a:rPr lang="pt-BR" sz="2800" b="1" dirty="0">
                <a:solidFill>
                  <a:srgbClr val="002060"/>
                </a:solidFill>
                <a:latin typeface="Calibri"/>
                <a:cs typeface="Calibri"/>
              </a:rPr>
              <a:t>gestão dos dados técnicos </a:t>
            </a:r>
            <a:r>
              <a:rPr lang="pt-BR" sz="2800" dirty="0">
                <a:solidFill>
                  <a:srgbClr val="002060"/>
                </a:solidFill>
                <a:latin typeface="Calibri"/>
                <a:cs typeface="Calibri"/>
              </a:rPr>
              <a:t>da PPSA</a:t>
            </a:r>
          </a:p>
          <a:p>
            <a:pPr marL="1223688" lvl="2" defTabSz="914357">
              <a:spcBef>
                <a:spcPts val="110"/>
              </a:spcBef>
              <a:defRPr/>
            </a:pPr>
            <a:r>
              <a:rPr lang="pt-BR" sz="2800" dirty="0">
                <a:solidFill>
                  <a:srgbClr val="002060"/>
                </a:solidFill>
                <a:latin typeface="Calibri"/>
                <a:cs typeface="Calibri"/>
              </a:rPr>
              <a:t>Implantação da Lei Geral de Proteção de Dados (</a:t>
            </a:r>
            <a:r>
              <a:rPr lang="pt-BR" sz="2800" b="1" dirty="0">
                <a:solidFill>
                  <a:srgbClr val="002060"/>
                </a:solidFill>
                <a:latin typeface="Calibri"/>
                <a:cs typeface="Calibri"/>
              </a:rPr>
              <a:t>LGPD</a:t>
            </a:r>
            <a:r>
              <a:rPr lang="pt-BR" sz="2800" dirty="0">
                <a:solidFill>
                  <a:srgbClr val="002060"/>
                </a:solidFill>
                <a:latin typeface="Calibri"/>
                <a:cs typeface="Calibri"/>
              </a:rPr>
              <a:t>)</a:t>
            </a:r>
          </a:p>
          <a:p>
            <a:pPr marL="1223688" lvl="2" defTabSz="914357">
              <a:spcBef>
                <a:spcPts val="110"/>
              </a:spcBef>
              <a:defRPr/>
            </a:pPr>
            <a:r>
              <a:rPr lang="pt-BR" sz="2800" dirty="0">
                <a:solidFill>
                  <a:srgbClr val="002060"/>
                </a:solidFill>
                <a:latin typeface="Calibri"/>
                <a:cs typeface="Calibri"/>
              </a:rPr>
              <a:t>Contratação de </a:t>
            </a:r>
            <a:r>
              <a:rPr lang="pt-BR" sz="2800" b="1" dirty="0">
                <a:solidFill>
                  <a:srgbClr val="002060"/>
                </a:solidFill>
                <a:latin typeface="Calibri"/>
                <a:cs typeface="Calibri"/>
              </a:rPr>
              <a:t>Firewall </a:t>
            </a:r>
            <a:r>
              <a:rPr lang="pt-BR" sz="2800" dirty="0">
                <a:solidFill>
                  <a:srgbClr val="002060"/>
                </a:solidFill>
                <a:latin typeface="Calibri"/>
                <a:cs typeface="Calibri"/>
              </a:rPr>
              <a:t>mais moderno para aumentar a segurança da informação</a:t>
            </a:r>
          </a:p>
          <a:p>
            <a:pPr marL="1223688" lvl="2" defTabSz="914357">
              <a:spcBef>
                <a:spcPts val="110"/>
              </a:spcBef>
              <a:defRPr/>
            </a:pPr>
            <a:r>
              <a:rPr kumimoji="0" lang="pt-BR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lanejamento da contratação do </a:t>
            </a: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GPP 2.0</a:t>
            </a:r>
          </a:p>
          <a:p>
            <a:pPr marL="1223688" lvl="2" defTabSz="914357">
              <a:spcBef>
                <a:spcPts val="110"/>
              </a:spcBef>
              <a:defRPr/>
            </a:pPr>
            <a:r>
              <a:rPr kumimoji="0" lang="pt-BR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umento do </a:t>
            </a: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ngajamento da PPSA</a:t>
            </a:r>
            <a:r>
              <a:rPr kumimoji="0" lang="pt-BR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com ações de Comunicação e realização do Fórum Técnico</a:t>
            </a:r>
          </a:p>
          <a:p>
            <a:pPr marL="12565" marR="0" lvl="0" indent="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199" b="0" i="0" u="none" strike="noStrike" kern="1200" cap="none" spc="-74" normalizeH="0" baseline="0" noProof="0" dirty="0">
              <a:ln>
                <a:noFill/>
              </a:ln>
              <a:solidFill>
                <a:srgbClr val="2C4272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  <a:p>
            <a:pPr marL="869105" marR="0" lvl="0" indent="-85654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3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4ª Diretriz – Promover a Gestão do Conhecimento</a:t>
            </a:r>
            <a:endParaRPr kumimoji="0" lang="pt-BR" sz="3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pPr marL="1223688" lvl="2" defTabSz="914357">
              <a:spcBef>
                <a:spcPts val="110"/>
              </a:spcBef>
              <a:defRPr/>
            </a:pPr>
            <a:r>
              <a:rPr lang="pt-BR" sz="2800" b="1" dirty="0">
                <a:solidFill>
                  <a:srgbClr val="002060"/>
                </a:solidFill>
                <a:latin typeface="Calibri"/>
                <a:cs typeface="Calibri"/>
              </a:rPr>
              <a:t>Implantação da Gestão do Conhecimento</a:t>
            </a:r>
            <a:r>
              <a:rPr lang="pt-BR" sz="2800" dirty="0">
                <a:solidFill>
                  <a:srgbClr val="002060"/>
                </a:solidFill>
                <a:latin typeface="Calibri"/>
                <a:cs typeface="Calibri"/>
              </a:rPr>
              <a:t>, com definição de mecanismos de transferência de conhecimento e realização de 25 ações, incluindo palestras, treinamentos e passagens de serviço.  </a:t>
            </a:r>
          </a:p>
          <a:p>
            <a:pPr marL="1223688" marR="0" lvl="2" indent="0" defTabSz="914357" fontAlgn="auto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sz="2800" dirty="0">
              <a:solidFill>
                <a:srgbClr val="002060"/>
              </a:solidFill>
              <a:latin typeface="Calibri"/>
              <a:cs typeface="Calibri"/>
            </a:endParaRPr>
          </a:p>
          <a:p>
            <a:pPr marL="869105" marR="0" lvl="0" indent="-85654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3545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5ª Diretriz – Fomentar a aplicação de soluções técnicas e inovações nos projetos de E&amp;P</a:t>
            </a:r>
          </a:p>
          <a:p>
            <a:pPr marL="1223688" marR="0" lvl="2" indent="0" defTabSz="914357" fontAlgn="auto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133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 </a:t>
            </a:r>
            <a:r>
              <a:rPr lang="pt-BR" sz="2800" b="1" dirty="0">
                <a:solidFill>
                  <a:srgbClr val="002060"/>
                </a:solidFill>
                <a:latin typeface="Calibri"/>
                <a:cs typeface="Calibri"/>
              </a:rPr>
              <a:t>Gestão Tecnológica </a:t>
            </a:r>
            <a:r>
              <a:rPr lang="pt-BR" sz="2800" dirty="0">
                <a:solidFill>
                  <a:srgbClr val="002060"/>
                </a:solidFill>
                <a:latin typeface="Calibri"/>
                <a:cs typeface="Calibri"/>
              </a:rPr>
              <a:t>- Processo definido com procedimento e identificação de oportunidades</a:t>
            </a:r>
            <a:endParaRPr lang="en-US" sz="2800" dirty="0">
              <a:solidFill>
                <a:srgbClr val="002060"/>
              </a:solidFill>
              <a:latin typeface="Calibri"/>
              <a:cs typeface="Calibri"/>
            </a:endParaRPr>
          </a:p>
          <a:p>
            <a:pPr marL="12565" marR="0" lvl="0" indent="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6599" b="1" i="0" u="none" strike="noStrike" kern="1200" cap="none" spc="-74" normalizeH="0" baseline="0" noProof="0" dirty="0">
                <a:ln>
                  <a:noFill/>
                </a:ln>
                <a:solidFill>
                  <a:srgbClr val="2C4272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 </a:t>
            </a:r>
          </a:p>
          <a:p>
            <a:pPr marL="12565" marR="0" lvl="0" indent="0" algn="l" defTabSz="914357" rtl="0" eaLnBrk="1" fontAlgn="auto" latinLnBrk="0" hangingPunct="1">
              <a:lnSpc>
                <a:spcPct val="1000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6599" b="1" i="0" u="none" strike="noStrike" kern="1200" cap="none" spc="-74" normalizeH="0" baseline="0" noProof="0" dirty="0">
              <a:ln>
                <a:noFill/>
              </a:ln>
              <a:solidFill>
                <a:srgbClr val="2C4272"/>
              </a:solidFill>
              <a:effectLst/>
              <a:uLnTx/>
              <a:uFillTx/>
              <a:latin typeface="Calibri"/>
              <a:ea typeface="+mj-ea"/>
              <a:cs typeface="Calibri"/>
            </a:endParaRPr>
          </a:p>
        </p:txBody>
      </p:sp>
      <p:sp>
        <p:nvSpPr>
          <p:cNvPr id="5" name="AutoShape 1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5/z418Mk19Frl+ypvSkp0WA9WLR0rP01I0sCXpatPQsPXUjS4KeFi09S0/dyJKgp0VLz/r21M8o0MbTT3/6U/nUpz4Vze5Pf/qT3HrrrdG+T5mv1J+3tbXf5cJX9wK+C9fneMt//7qs3X4wmvyZp1XKgq/Wyjl9eha0HHzOz02E4yW7nPSkp0WA9WLR0rP01I0sCXpatPQsPXUjS4KeFi09S0/dyJKgp0VLz9JTN7IkfHtazi1btmTveLJMnI0nXct34foab/v+o7Lo6T1pgFlfGCBX1fXVQWImfM0vdZocL+aCdTqcnvS0CLBeLFp6lp66kSVBT4uWnqWnbmRJ0NOipWfpqRtZEvS0aOlZeupGloRvT8u5BdN4WrVqlezduxea+6BBg2TKlClQ1ndo9uzZ0tjYGA07dOhQaWpqSp+Cm+PUqVPT/7xz506pra0V9w1+Luteixcv7vBNfnV1dfLoo4+mv+3PMh/fhetjvPc+PC5zf9EsB4+2RhSjhpwlt18z0MKSdxaZ38Hvfcb0+dU/+F/d5pHxTIMpYY6XpCbvWEtWk570tAnw55nNS0vTUxOyvU9Pm5eWpqcmZHufnjYvLU1PTcj2Pj1tXoVOl+QdT4VG8fH5bkN0tznz0qVLo+EmTpwYNZbcP6c2S081m5YsWSLLli2LGlOuWTV27NiomeY2WU/dzeX+fPDgwR0aUZZ5hHhhPvjbffLCrnfaGY4dkWX/18joUTsfL8STjSd8JRBP/NP0JMfTjSwJelq09Cw9dSNLgp4WLT1LT93IkqCnRUvP0lM3siToadHSs/TUjSwJelq0Cp9l46nwxtAIrrm0YcMGWbt2rbj/vXv37nRTyn1A6pv87r33Xpk3b150V5O7w8k1o9zdUe5OJ3dsvq/QLsznmg5L47P70xwn/vBzWfGTBfnymI9DPNl4wlkRT/zT9CTH040sCXpatPQsPXUjS4KeFi09S0/dyJKgp0VLz9JTN7Ik6GnR0rP01I0sCXpatAqfZeOp8MbQCO6OJfdydzy5u5/GjRvX5TE613TatGlTlzueMu98ggbLEgrpwnzrSKs0PNEs7lE795o4vFrWPPid6A4zXy/Ek40nfDUQT/zT9CTH040sCXpatPQsPXUjS4KeFi09S0/dyJKgp0VLz9JTN7Ik6GnR0rP01I0sCXpatAqfZeOp8MbqCKl9m1KP1uVqPI0aNSq9x9PKlSujO53cHVDTp08Xd/ysWbM63CmlDv7fgVAuzOMn2mTR03tlx9+ORjMbWHW6zL+hVr71zZvYeEKLAciFUi/dTZXzA4rAEKGnAQuI0hNAMkToacACovQEkAwRehqwgCg9ASRDhJ4GLCBKTwDJEKGnActDlI0nD8jaEO6ROXc3U2oT9FyNp8yN0t0jeZmv+vr66PG79evXR/tFWV7uwgzhVXHR56Vi6DXtU2k7ISe2PiLy7htFObV/rfuz6bz+uenvTHmGKUABClCAAhSgAAUoQAEKUCBMAZ9P9MQVZOMprmDM412jaMaMGR0eq8t87C718e5xutQdUe7P3Abkrlnl9nXK3HDcNa1Se0BZTi2EjvCelg/ke7/cJe6uJ/eaevl5MunSmuh/F+P8+KgdXqHFuH742etJzk83siToadHSs/TUjSwJelq09Cw9dSNLgp4WLT1LT93IkqCnRUvP0lM3siRC97RYZMuy8RRXMMbx2ZpOqabSmDFj0o2mzG+1Sw2X2YhK3fkU944nnx3TpC/M1uNtcs+TzbLv0LGIaNgFvWXudYOkskcFG08xarS7Q5NeP+0UOZ4mZHufnjYvLU1PTcj2Pj1tXlqanpqQ7X162ry0ND01Idv79LR5aWl6akK29+lp89LSvj2189HeZ+NJEyrQ++6b6KZOndrl01N3Nblm0pw5c9Lvt7W138XjXu6uJrenU+Zjd64R5V7lusfT8t+/Lmu3H4wMzjytUhZ8tVbO6dMzbeb7wkTG4x1P+MWFeOKfpic5nm5kSdDToqVn6akbWRL0tGjpWXrqRpYEPS1aepaeupElQU+Llp6lp25kSdDTolX4LBtPhTcuiRFK+cLcvv+oLHp6T9p51hcGyFV1fTu4F+P82HjCL41iXD/87PUk56cbWRL0tGjpWXrqRpYEPS1aepaeupElQU+Llp6lp25kSdDToqVn6akbWRKhe1ossmXZeIorGMjxpXqhvPfhcZn7i2Y5eLQ1WolRQ86S268Z2GVVinF+bDzhF08xrh9+9nqS89ONLAl6WrT0LD11I0uCnhYtPUtP3ciSoKdFS8/SUzeyJOhp0dKz9NSNLInQPS0WbDzF1Qr4+FK9UB787T55Ydc70cpU9+4pi75WGz1q1/lVjPNj4wm/oIpx/fCz15Ocn25kSdDToqVn6akbWRL0tGjpWXrqRpYEPS1aepaeupElQU+Llp6lp25kSYTuabFg4ymuVsDHl+KF8lzTYWl8dn96VeZed5EMH9A76yoh8/PdCPI9XpLli3hyPFyAnrgVkqQnooRn6IlbIUl6Ikp4hp64FZKkJ6KEZ+iJWyFJeiJKeIaeuBWSDN0TMciV4aN2cQUDOb7ULpS3jrRKwxPN4h61c6+Jw6tl2hXnd7sayPx8N4J8j5dkqSKeHA8XoCduhSTpiSjhGXriVkiSnogSnqEnboUk6Yko4Rl64lZIkp6IEp6hJ26FJEP3RAzYeIqrVAbHl9KFcvxEmyx6eq/s+NvRaGUGVp0u82+olZ6V7d/sl+2FzM93I8j3eEmWMeLJ8XABeuJWSJKeiBKeoSduhSTpiSjhGXriVkiSnogSnqEnboUk6Yko4Rl64lZIMnRPxCBXhnc8xRUM5PhSulCe+mOLrHz+jUi+skeF/OArQ+Siml45VwKZn+9GkO/xkixVxJPj4QL0xK2QJD0RJTxDT9wKSdITUcIz9MStkCQ9ESU8Q0/cCknSE1HCM/TErZBk6J6IARtPcZXK4PhSuVD2tHwg3/vlLnF3PbnX1MvPk0mX1qgrhMzPdyPI93gqkiGAeBo+To1yPJXIFKCniUsN01MlMgXoaeJSw/RUiUwBepq41DA9VSJTgJ4mLjVMT5XIFKCniUsN+/ZUT0gJ8I6nuIKBHO+7cLONd8eqv8iBd1vzFu338Z7ywJRPZD0emZ/vRpDv8fKGzXIg4snxcAF64lZIkp6IEp6hJ26FJOmJKOEZeuJWSJKeiBKeoSduhSTpiSjhGXriVkgydE/EIFeGjae4goEcXwwXyrSHX4mtufyWS9h4iq2of0Ax1It+lvknOL/87bIdSU96WgRYLxYtPUtP3ciSoKdFS8/SUzeyJOhp0dKz9NSNLAl6WrT0rG9P/YxyJ9h4iisYyPG+CzfbeDN/9qocPdb+LXX5vHqfXikPffPirIci8/N9B5Lv8fIx7e4YxJPj4QL0xK2QJD0RJTxDT9wKSdITUcIz9MStkCQ9ESU8Q0/cCknSE1HCM/TErZBk6J6IQa4MG09xBQM5vpgvlDfe+VAanmiWD1pPRNpjP3m2zBjb3ySPzM93I8j3eCYwJYx4cjxcgJ64FZKkJ6KEZ+iJWyFJeiJKeIaeuBWSpCeihGfoiVshSXoiSniGnrgVkgzdEzFg4ymuUhkcX6wXims2ff9Xu2TfoWPRKrhvr7vnS4OlV88eplVB5ue7EeR7PBMYG0+yYsWKJMlyfhZSn0meDMdLUlOEnvS0CLBeLFp6lp66kSVBT4uWnqWnbmRJ0NOipWfpqRtZEqF7WiyyZXnHU1zBQI4v1gul8dn98lzT4Uj5zNMqZf4NQ+S8s04zqyPz890I8j2eGS3HAYgnx8MF6IlbIUl6Ikp4hp64FZKkJ6KEZ+iJWyFJeiJKeIaeuBWSpCeihGfoiVshydA9EYNcGTae4goGcnwxXijPvHJQ/v13r6eF7xx/oVw2qE9e4sj8fDeCfI+XF1w3ByGeHA8XoCduhSTpiSjhGXriVkiSnogSnqEnboUk6Yko4Rl64lZIkp6IEp6hJ26FJEP3RAzYeIqrVAbHF9uF0vTm+zL/N7vl+Im2SP+Gy/rJjZ89N++VQObnuxHke7y88bIciHhyPFyAnrgVkqQnooRn6IlbIUl6Ikp4hp64FZKkJ6KEZ+iJWyFJeiJKeIaeuBWSDN0TMWDjKa5SGRxfTBfK4fc/knue3CUHj7ZG8sMH9JbvThgklT0q8l4JZH6+G0G+x8sbj42nJOmyfhZSn0meBMdLUpN7PCWrSU962gT488zmpaXpqQnZ3qenzUtL01MTsr1PT5uXlg7dU5u/9j4ftdOEyuT9YrlQ3B1OP1q3V7bvPxrJV/fuKQu+Wit9elXGWglkfr4bQb7HiwXY6WDEk+PhAvTErZAkPRElPENP3ApJ0hNRwjP0xK2QJD0RJTxDT9wKSdITUcIz9MStkGTonohBrgwbT3EFAzm+WC6U1VvflF+/fCBSdXc4ff/Lg2VIvzNiKyPz890I8j1ebMSMD0A8OR4uQE/cCknSE1HCM/TErZAkPRElPENP3ApJ0hNRwjP0xK2QJD0RJTxDT9wKSYbuiRiw8RRXqQyOL4YL5cU9R+T+Z/6a1v72VRfINcOqEtFH5ue7EeR7vEQg//tDEE+OhwvQE7dCkvRElPAMPXErJElPRAnP0BO3QpL0RJTwDD1xKyRJT0QJz9ATt0KSoXsiBmw8xVUqg+NP9YXyxjsfSsMTzfJB64lIe+wnz5YZY/snJo/Mz3cjyPd4iWEK92BJ0tJ9FlKfSY7J8ZLU5Polq0lPetoE+PPM5qWl6akJ2d6np81LS9NTE7K9T0+bl5YO3VObv/Y+H7XThMrk/VN5obhm0/d/tUv2HToWaV9U00vu+dJg6dWzR2L6yPx8N4J8j5cYJhslSVJGn4XUZ5KDcrwkNbl+yWrSk542Af48s3lpaXpqQrb36Wnz0tL01IRs79PT5qWlQ/fU5q+9z8aTJlQm75/KC6Xx2f3yXNPhSPrM0ypl/g1D5LyzTktUHpmf70aQ7/GSBEU8OR4uQE/cCknSE1HCM/TErZAkPRElPENP3ApJ0hNRwjP0xK2QJD0RJTxDT9wKSYbuiRjkyrDxFFcwkONP1YXyzCsH5d9/93pa8c7xF8plg/okrorMz3cjyPd4SaIinhwPF6AnboUk6Yko4Rl64lZIkp6IEp6hJ26FJOmJKOEZeuJWSJKeiBKeoSduhSRD90QM2HiKq1QGx5+KC+UHDzwi83+zW46faIuEb7isn9z42XMLoo3Mz3cjyPd4ScIinhwPF6AnboUk6Yko4Rl64lZIkp6IEp6hJ26FJOmJKOEZeuJWSJKeiBKeoSduhSRD90QM2HiKq1QGx/u+UG769gypGf9dOXi0NdIdPqC3fHfCIKnsUVEQbWR+vhtBvsdLEhbx5Hi4AD1xKyRJT0QJz9ATt0KS9ESU8Aw9cSskSU9ECc/QE7dCkvRElPAMPXErJBm6J2LAxlNcpTI43ueF4u5w+taP14hUDYlkq3v3lAVfrZU+vSoLJo3Mz3cjyPd4SeIinhwPF6AnboUk6Yko4Rl64lZIkp6IEp6hJ26FJOmJKOEZeuJWSJKeiBKeoSduhSRD90QM2HiKq1QGx/u8UFZvfVN+/fKBSNXd4fT9Lw+WIf3OKKgyMj/fjSDf4yUJjHhyPFyAnrgVkqQnooRn6IlbIUl6Ikp4hp64FZKkJ6KEZ+iJWyFJeiJKeIaeuBWSDN0TMWDjKa5SGRzv60J5cc8Ruf+Zv6ZFv33VBXLNsKqCCyPz890I8j1eksiIJ8fDBeiJWyFJeiJKeIaeuBWSpCeihGfoiVshSXoiSniGnrgVkqQnooRn6IlbIcnQPREDNp7iKpXB8T4ulDfe+VAanmiWD1pPRKJjP3m2zBjbv1td342Z0MdLsox91Evm+XK8JFdPhJ70tAiwXixaepaeupElQU+Llp6lp25kSdDToqVn6akbWRL0tGjp2dA9dYHciQr3amtra/9aMb7KVqDQF4prNn3/V7tk36Fj7cbvviEP3/b30qtnDzaewKqr/sH/6jZZ6PXrPDDHAxcNjNEThAJj9AShwBg9QSgwRk8QCozRE4QCY/QEocAYPUEoMEZPEAqM0ROEAmOhe4IM3cbYeIorGMjxhb5QGp/dL881HY60zjytUt79nw/Kikd+klMv9DuQfM8vyVItdL2w0ZXkanX9LK5fsr70pKdFgPVi0dKz9NSNLAl6WrT0LD11I0uCnhYtPUtP3ciSCN3TYpEty8ZTXMFAji/khfLMKwfl33/3elrqzvEXyo/mzpQVK1aw8WSoH97xlLteDJRqtJDXQ7bBOZ66JKYAPU1capieKpEpQE8Tlxqmp0pkCtDTxKWG6akSmQL0NHGpYXqqRKZA6J4mjCxhNp7iCgZyfKEulKY335f5v9ktx0+0P815w2X95MbPngvtMeP7jqDQx0uyVAtVL92dI8dLcvW4x1OymvSkp02AP89sXlqanpqQ7X162ry0ND01Idv79LR5aWl6akK290P3tGl0TbPxFFcwkOMLcaEcfv8juefJXXLwaGukNHxAb/nuhEFS2aOCjScR8d3oSrJUC1Evuc6P4yW5emyUJKtJT3raBPjzzOalpempCdnep6fNS0vTUxOyvU9Pm5eWpqcmZHs/dE+bBhtPcb0SP3727NnS2NgomzdvltGjR6c/f9WqVTJ16tT0P+/cuVNqa2ulublZhg4dGv354sWLpb6+Pp2pq6uTRx99tMPnoCec9IXi7nD60bq9sn3/0egUqnv3lAVfrZU+vSqjf0bG892YCX08tBaQHLJ+yOegGY6HSmE5emJOaIqeqBSWoyfmhKboiUphOXpiTmiKnqgUlqMn5oSm6IlKYTl6Yk5oyrcnel7d5XjHU1zBGMdXVFTIypUrowZTZuNpy5YtMmbMGEk1m5YsWSLLli2TpqYmcY2qsWPHypQpU8Qdn/pCQvfngwcP7tCIspxa0oW7euub8uuXD0Sn4O5w+v6XB8uQfmekTwkZL/RGkO/5WepByyLrp32G5X2OZ9HSs/TUjSwJelq09Cw9dSNLgp4WLT1LT93IkqCnRUvP0lM3siToadHSs/TUjSwJ356Wc8uWZeMprmACx7sGUmbjyTWadu/eLUuXLk1/eipz7733yrx586K7mtwdTq4Z5e6Ocnc6rV27Nu+zSbJwX9xzRO5/5q/pc/n2VRfINcOqOpwbMp7vxkzo4+VdHFkORNaP4+EC9MStkCQ9ESU8Q0/cCknSE1HCM/TErZAkPRElPENP3ApJ0hNRwjP0xK2QZOieiEGuDBtPcQUTOL5z42nixIkybty4Lo/RuabTpk2butzxlHnnU76nk9SF8sY7H0rDE83yQeuJ6FTGfvJsmTG2f5fTQsYLvRHke3751ka245D143i4AD1xKyRJT0QJz9ATt0KS9ESU8Aw9cSskSU9ECc/QE7dCkvRElPAMPXErJBm6J2LAxlNcpQIfb2k8jRo1Kr3Hk3tMz93p5O6Amj59evRo3qxZszrcKYWeehIXims2ff9Xu2TfoWPRsBfV9JJ7vjRYevXswcZTloVg4wmtTmxPMPzT9GQS14M+yskEx7No6Vl66kaWBD0tWnqWnrqRJUFPi5aepaduZEnQ06KlZ+mpG1kS9LRo6dnQPXWB3Ane8RRXMIHjLY0nt7dT6uUeyct8uY3G3eN369evjzYit7zchRL3VXHJV6Ti/EvbP+ajY3Ji68Mi7x/K+2P/te7PpmP/uenvTPnO4dDHi4XDgylAAQpQgAIUoAAFKEABClCgaARWrFhRNOeinQgbT5qQh/c7N57cRuHu1XmPp9Rm4+49twG5e/TO7euUueG4e0wvtQeU5dTjdmifeeWg/PvvXk8Peef4C+WyQX26PQVkPN93BIU+nqUetCyyftpnWN7neBYtPUtP3ciSoKdFS8/SUzeyJOhp0dKz9NSNLAl6WrT0LD11I0uCnhYtPUtP3ciS8O1pObdsWTae4gomcHznxlOub7VLDeeOyfzWO/fnce94yrdj2vTm+zL/N7vl+Im26PRuuKyf3PjZc3PKIBdK6I0g3/NLoFTTH4GsH8fDBeiJWyFJeiJKeIaeuBWSpCeihGfoiVshSXoiSniGnrgVkqQnooRn6IlbIcnQPRGDXBk2nuIK5nl8c3Nzeq+mzI/IbCbNmTMn/VZbW3tTx73cXU1uT6fMx+5cI8q9fO/xdPj9j+SeJ3fJwaOt0fjDB/SW704YJJU92s+nuxdyYfpuzIQ+Xp6lmvUwZP04Hi5AT9wKSdITUcIz9MStkCQ9ESU8Q0/cCknSE1HCM/TErZAkPRElPENP3ApJhu6JGOTKsPEUVzCQ47NdKHes+osceLe9oZTPq9/He8oDUz6Rd+Mi9EaQ7/nls4bdHRP6D1bOL8lq4ebwyWrSk542Af48s3lpaXpqQrb36Wnz0tL01IRs79PT5qWl6akJ2d737Wk7u65pNp7iCgZyfLbCnfbwK7Fnt/yWS9h46kaRjSe8vHz/YOV4+NogSXoiSniGnrgVkqQnooRn6IlbIUl6Ikp4hp64FZKkJ6KEZ+iJWyFJeiJK/jJsPPmzLuqRsl2YM3/2qhw9djzv8+59eqU89M2L2Xhi4ynvGkodyH9xxCbs8AH0pKdFgPVi0dKz9NSNLAl6WrT0LD11I0uCnhYtPUtP3ciSoKdFS8+G7qkL5E6w8RRXMJDj87lQ3DfZPbbtLRn/qSp1M/HOTMh4vu8ICn28JEsVWT+OhwvQE7dCkvRElPAMPXErJElPRAnP0BO3QpL0RJTwDD1xKyRJT0QJz9ATt0KSoXsiBrkybDzFFQzk+GK8UEJvBPmeX5KlWoz1wvnhAlw/3ApJ0hNRwjP0xK2QJD0RJTyhrr9XAAAgAElEQVR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L8YLJfRGkO/5JVnGxVgvnB8uwPXDrZAkPRElPENP3ApJ0hNRwjP0xK2QJD0RJTxDT9wKSdITUcIz9MStkKRvT+Sc2HiKq1QGx/suXGQ8342Z0MdLsoyR9eN4uAA9cSskSU9ECc/QE7dCkvRElPAMPXErJElPRAnP0BO3QpL0RJTwDD1xKyQZuidiwMZTXKUyOL4YL5TQG0G+55dkGRdjvXB+uADXD7dCkvRElPAMPXErJElPRAnP0BO3QpL0RJTwDD1xKyRJT0QJz9ATt0KSvj2Rc2LjKa5SGRzvu3CR8Xw3ZkIfL8kyRtaP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+kUHL9lyxYZM2ZMeuTNmzfL6NGjo3+uqKiI/v+sWbNk6dKl6czEiRNl+vTpMmXKFPMZIxdK6I2Z0OdnLoocByD1wvFwAXriVkiSnogSnqEnboUk6Yko4Rl64lZIkp6IEp6hJ26FJOmJKOEZeuJWSDJ0T8QgV6bCvdra2trifhCPT06gublZhg4dKqlm06pVq2Tq1KnilmnJkiXRQPX19VJXVyfr16+X2tra6M93797doRFlOSPkQgm9MRP6/Cz1oGWRetE+w/I+x7No6Vl66kaWBD0tWnqWnrqRJUFPi5aepaduZEnQ06KlZ+mpG1kS9LRo6Vl66kaWhG9Py7lly7LxFFewAMe7RtOjjz4qa9euTX+6azLde++9smnTJhk7dmx0V5O7w8nd8fTaa69Fdzo1NTXlfTZI4YbemAl9fnkXR5YDkXrheLgAPXErJElPRAnP0BO3QpL0RJTwDD1xKyRJT0QJz9ATt0KS9ESU8Aw9cSskGbonYpArw8ZTXMECHD979uzoUzs/Rjdu3Lj0aJl3PI0fPz5951O+p4NcKKE3ZkKfX761ke04pF44Hi5AT9wKSdITUcIz9MStkCQ9ESU8Q0/cCknSE1HCM/TErZAkPRElPENP3ApJhu6JGLDxFFfJ8/G5Gk+u4ZTa42nx4sXR43XuDih3h9S6detkwoQJHe6UQk8duVBCb8yEPj+0FpAcUi/I56AZjodKYTl6Yk5oip6oFJajJ+aEpuiJSmE5emJOaIqeqBSWoyfmhKboiUphOXpiTmjKtyd6Xt3leMdTXMECHK81nlJDukfyUo/euf/v7pByj9/NmzcvvRE5enpuM/Nzzz0XjTNHAQpQgAIUoAAFKEABClCAAhSgwCkQePPNN81/5z8Fp5keko2nU6nfzdhuo/ANGzZ02ePJ3dWU+mY7twG5e8TO7euUueG4a1ql9oAqwqnxlChAAQpQgAIUoAAFKEABClCAAhQoIwE2nopwsXN9q13qdN1m46lGVOrOpzh3PBUhA0+JAhSgAAUoQAEKUIACFKAABShAgRIXYOOpSBfQNZOmTp2aPrudO3dKbW1t9M/urqbBgweL2+8psxHlMvnu8VSkDDwtClCAAhSgAAUoQAEKUIACFKAABUpYgI2nEl48njoFKEABClCAAhSgAAUoQAEKUIACFChmATaeinl1eG4UoA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WK9NxWrVolTz75pOzcuVO2bduWPsuRI0fK5z73OfnGN74ho0ePTuzsOR49LcXEemG9FHO9IOfmanjgwIGJ/hzNNS7HQ1YFz9ATt0KS9ESU8Aw9cSskuWTJErnxxhultrYWicfOcLzYhB0+gJ70tAiEXi8Wi3yybDzlo1bGx8yePVsaGxsjgQkTJnSRWLduXfRnK1eulClTpsSW4nj0tBQR64X1Usz1gp7bxIkTZdy4cVJfX48eEivH8WLxdTmYnvS0CLBeMK0tW7bI9OnTo//o6V6TJ0+Wu+66S0aMGNHhA5LyfOihh6LPP3TokFRVVUW/086fP19qamo6jFdRUSGbN2+O/R8KOF47Kz2x64H1wnrBKqW4Umw8Fdd6FPXZvPzyy/LpT39aFi9e3O1fiFpaWuSee+6JmlPul4M4/wWI44nQE78kWC+sF7xaRHzXi+XckvqLEzomx0OlsBw9MSc0RU9UCsuVomdzc7O4u+pdE8j9R0/3u1HqjvvO/6EzifmtWbNGJk2aFDWcRo0aJU1NTdHvtO6fN27c2KHZlUSjhOOdbB7SU7+OWS+sF71KijPBxlNxrktRnpW7vfCxxx6TrVu3qudXV1cn3/3ud2XmzJlqtrsAxzspQ0+9jFgvrBe9Sk4mTkW9zJkzBz7FXA1+5EPc/DjeSSl65q4a1ktHH9ZLcdWLu7vj1ltvlZdeeind9HHNKHeXs7vTftasWbJ06dLopJNoPLm7m1xj6/nnn0/f4ZR5x1VmsyuJRgnHO/mUBD31f8OzXlgvepUUZ4KNp+Jcl6I8K/eL6YYNG2Tt2rXq+SXxL36Od5KZnmrJCeuF9aJXScfGk8+fZ6n/QukeD/nMZz6T81SXLVsmM2bMiPWoHcc7SUxP/cpgvbBe9Co5mfBdL7n+/Z5qmqaaT0n8vtTdZ7g7rW677TZZvXp1ekuJJBolHI+eluuP9cJ6sdRLMWXZeCqm1Sjyc0n9opH5X5yynXLqEZa4+zxxvHZdemIXBuuF9YJVSnvKd724Md0vi2effba4zX1zvZL4ixPHS7YRS096Wn6+sF6SrRd3x9PDDz/c7R337mfq1KlTozuf3J1QcffIc3eUDB06VBYsWJB12VP7Sbrfc924cfd44njt+8fSE/spw3phvWCVUnwpNp6Kb02K+ozct9a524/dv9zdho6f+tSn0uf7pz/9KWqSuF8AqqurO9yinO+kOB49LbXDemG9FHO9pJrI2v53STWeOF57NdATuypYL6wXrFI6/kcOHz/PXDPJNYJyjZVqPrmzi/uopPusefPmRXs7dffK/DKTuI0njifRY5OpLy+iZ+4rkfXCerH8rC6mLBtPxbQaJXAu7jbj++67L/qXg9vkMdvLPUqycOHCWBuLpz6X47V/cws9sYuD9cJ6wSqlPeW7XtyY7k6ryy+/vMs3I2Wet2sA9OnTJ5GfoRyv/a5RemJXBuuF9YJVSnvKZ700NDTIpZdemvMbk921fvXVV8sPf/jDWHuMph6py/ateZk+qWaX9iSAZsrx2oXoqVXKyd9d3COfrM/2Ox15/WF1UwwpNp6KYRVK9Bzcv+CPHDnS4exHjx5dsNlwvGRp6UlPiwDrxaLFLAUoQAEKUIACFKAABSiQEmDjibUQhID7ryQDBw6UQja+Ov9XLp/jBbFIRTQJ1ksRLUYJnIrvevFN4nt+vsfz7Rn6eL7Xz/d4oa+f7/mFvn5uc/Mbb7wxkTtUkbXxPR5yTszgAr7Xz/d4uASTiEBo68fGE7LqzJgFkvpFI/Pra91JuMfOst1amtQeHr7HQ2GT8gx9PN/r53u80NfP9/xCXz/f8/M9nu96CX083+vne7zQ18/3/EJfP7ehuft9020rUVVVFT3iN3/+/C6PSSfxrXZu7XyPh9aL77/4lup4vtfP93isl3aBpOqzWNcPXed8c2w85StXpsf5/EXDbSY5cuTI6F/6EyZMiPZjcRubu1fnb8xLovHkezw3D5+eoY/ne/18jxf6+vmeX+jr53t+vsfzXS+hj+d7/XyPF/r6+Z5f6OuX+tZT13AaNWpUtMm429jc/fPGjRujL9dJvZJoPPke71Q0unz/RdvneL7Xz/d4rJeTf+kv1eu9WNoWbDwVy0qUwHn4/kXD/Uvj1ltv7bBpnDsH980X69ati75Zb+nSpZFcEo0n3+P59gx9PN/r53u80NfP9/xCXz/f8/M9nu96CX083+vne7zQ18/3/EJfP3d3k/sPnc8//3z6DqfM/1CY+R8/k/iLqO/xfDcuQh/P9/r5Hi/09fM9P9/rV0wtBjaeimk1ivxcfP+i4W5n3LBhg6xdu7aLjHtvzpw56eZTEo0n3+P59gx9PN/r53u80NfP9/xCXz/f8/M9nu96CX083+vne7zQ18/3/EJfv+5+p0x9+9zq1avTd94n0XjyPZ7vv/iGPp7v9fM9Xujr53t+vtevmNoLbDwV02oU+bmcil80Hn74Ydm6dWtWmdTXrro7n9x/7Rs3bpzU19fnreh+cfM5nm/P0MfzvX6+xwt9/XzPL/T18z0/3+P5rpfQx/O9fr7HC339fM8v9PVzfxEdOnSoLFiwIOvvlO7O+8bGxqj55L7OffPmzbG+3Mb3eL7/4hv6eL7Xz/d4oa+f7/n5Xr+8/2JcgAPZeCoAaqgf6fsXDddMcv/id8/V19bW5mw+uTcXL14cq/HkezzfnqGP53v9fI8X+vr5nl/o6+d7fr7H810voY/ne/18jxf6+vmeX+jr5/7D5rx586K9nbp7pZpP7v24jSff4/n+i2/o4/leP9/jhb5+vufne/2KqS/BxlMxrUaRn4vvXzQcR0NDg1x66aXRt4l093r55Zfl6quvlh/+8Icyc+bMWIo+x/PtGfp4rBeR1F2ApdiI9V2fvusl9PmF7ul7/XyP53v9fI/n2zP08UJfv9Qjddm+RTnzl8zUv3NfeumlDhuOW38R9T2e77/4hj6e7/XzPV7o6+d7fr7Xz/rzqJB5Np4KqRvgZ/tszATI12VKvj1DHM/9AHevmpoaLyXje7zMSYW4fqdyfl4KJmMQ3+vne36+x/PtGeJ4vn+e+R7vVP58CbFefF/jp3L9TuVcCz2277/4hjqeazB390RGIdbQ93ipOYS6fqdqfoWojVL5TDaeSmWlTuF5+v5FkeMlu9ihe7q9LRYtWhTdFfelL31Jrr/++mQBO32a7/FCXz/OL9lypSc9LQK+f575Ho/Xg6Ua9Gzonr7/Ys/x9JqzJHx7ur2B3OOYkydPln/8x3+MddcbMk/f4/n25HhIFZR2ho2n0l4/L2fv+xdFjpfssobu6f5F9cgjj4j7lhm3H1hVVVVBm1C+xwt9/Tg/Xu8WAdaLRUvP+v555ns81oteA5ZE6J6+/2LP8SzVp2d9e27ZskVWrFgRbXNw6NChaF/aQjahfI/n25Pj6TVe6gk2nkp9BT2cv+9fFDlesosaumemltvvy22y6uuXAB/jhb5+nB+vd4sA68WiZcv6+Hnm++c168VWA1o6dE/ff7HneFrF2d737Zl5dmvWrJH/+I//iP4jqHuNHDlSbrnlFrn22msL8jiej/F8e3I8W72XYpqNp1JctVN4ziH+Yur7F2GO5+eWZPcv5d/85jddmlA333xzwX4JKPR4vP6S/eFHT3paBEKvl85/iSr0zzPf44W+fpyf5WrWsz7+Yh9646Kc5peaq3sc9ZlnnpEnn3yySxPqxhtvTHw/Ul/j8XrQf2ZYEr49LedWyCwbT4XUDfyzQ/yLve9fhDneZClUIyj0X3h4/SX7A5ae9LQIhF4v/PlpqQY9G3q9hDw/X3+xD71xUS7zy/xpkKqdH//4x7Jt27boLfco3g033BDdCZX0l+L4GI/XQ7JfZOTbU/+3VWETbDwV1rdsPt1355bjJVtaoXtqv/Dcf//9Mnr06GRRRaS7f6EkPV7o68f5JVua9KRnPgK+fp75/nnN6yGfauj+mJA9ffzFPvTGRTnNL3Ou7jFVdyfUww8/3KEJtXDhwoLche9jPF4PhWlC+WpUJvuTH/s0Np4wJ6ZAgVB/MfX9izDHK0wjqLtfeNxz+DNnzgSrPL9Y5r+gCzUer7/81qa7o+hJT4tA6PXCn5+WatCzoddL6PPz8Rf70BsX5TS/znN9/PHHZdmyZfKLX/zi/2/vbF6uqr44fvoDJBNHJSG9DAIj0XJgNUiofmhIg4w0CaHozQg0tKwcWVmIBYFlUiCRBr1MRKkc6CAQKoqgwkEGotFIyugP6Mf3yHo6nufc83LP2uve+9zPmWTPPWevvT977XX2WXvttZOfhiddTS2P8dBs87vcEc2zS9363IvjqQ89nq0l4PmhrQF45ZVX1oalespTWadPn66NgplkeW1U17N94yivTZ2GvUcJEufNm5d8MlFXv0nuv+jx3qaf4dmG0qV7sJ//RTtq5TKVo3mUjqD22tD9Tuxnv4UQ7Kfv+FPurFtuuaVWkT0/7FXWP//8UytzkuW1sQie7RtHeW3qNMw99u69+uqrk0RRta3TJPdf9HhvwzSaZ5s6DXsPjqdhyfFcKAEd4fv8888n3RtdbJDkffrpp9l3330X0s5oeSGNmjIheuFv3rx5Jpmkmn/VVVdlTz31VLZ161bXvfw6te+nn37KXn311UrKDz30UPbMM8+4bR+Mlhc93jXR+Oqrr/J8Y1U5F1566aXs5ptvzsR1Eq9ontH2LFreJOrAuNcZ++lnr6PH+1y3nzri/dtvv83t/3333ZetXr066XCSvOXLlw98v3sLj5bnXX/KyzKNQS1wWB4pMbn++uuzbdu2uUfz182H5CB5+umns0OHDrnNeaPlRY93bU0+f/78wH5Sfd54441G5/ekjAMcT5PSU2NYT00UFbr5999/V9Zu5cqVbh++5u2VM0iGVR/0KScB7733XrZnz57szJkzIeRTy9NLaenSpdn+/ftz42YT07rGydBt377drf0p9aVNe8oN8W7fbbfdluumHE2LFy/OxZ09ezZ79913s3vvvTf78ssv3ViqvSdOnBhYpl5Uq1atcuu/aHnR4930R3Zl9+7dsyYA3jylCCnHQ1nRonmmtmfl9qWWh/2cbbqwn+3NOfbT930UbT8VgffFF1/ki0q//fZb/kGvBNEPPvhgko9BzW0XLFiQvfPOO+2VrMedqeXJPj/55JPZjz/+mPPS+1QLPXXX119/7fb9IDn2DhwkU6fNXXfddUNRbNOecsGe7VPbbr311lyE5p/aHaJLc0Rx9rbVTfOhK664IvNsX7S86PFu+iO7cvDgwVl6781zKCV3fAjHkyPMaSpKH00aLEXvern95uTw5mL7Xk+ePJlPBCyqxPt0NDkSFP2gl/+wL6QubU8pz1Yhnn322Xy1Tob11KlTtdXzdBym1pc27Sk31rN9WrFYs2bNzMSqKMs+Wm3S1UUnqhwIf/zxR3b48OE8Gk9JysvXL7/8kk/yPMaf9CZSXhWbiPFuETMag+YoLK4wNU18uvZp6vFQV58InpKf0p5VtS+lPOznbOLYz+ZRj/28tD1tLtlPi+6yRVCLKpHjwuuEMnMkpIiWHvSOleMilTzNj95+++2ZubQiqM+dO1c7gPo4gsoFq8/uuuuu7K+//hoos8/8rE17yoI926eIIH0LffPNN7N0UE6/HTt2ZH/++WezwWq4Qxy1BXTLli35+33Dhg2zntDcVHOoPjyt0Gh5Vc2PGO+yj/Pnz88uXryYOwo1Dnft2jXTlzieeqsuBcwFAjK069evz44dO5Y87LiOlz7gZGzlUHn88cfdIjzUPnme61ZlPFcRouVF6+C46EuqdjetaOslvW7dut762TayS5NIRVj1nQhHy2vqn1Tjvdh/cmJqYiWn+osvvphvk3z44YddI8jGZTyk4hltz6LlNemp9+/joi/e7bLysJ8+9rqpf1KN92m1n+bE14f9kSNH3CJ05Eg4fvx47cKuZ0RJtLwmPfX+XVu/xDMiibd33duUV+fY1ZhfuHChSwRS28guOU48ovWi5TWxTjXei/2nd730VZdF3+N4auoZfp8KAk0TxdQQyqelKOrpo48+cnOCtYmg8VzxjZaXun/K5Y9aX1K3tynHjNeKb5sVdM+k5tHyBvVT6vFepZ/62+uvv55XSdsePB3box4PqXlG27NoeantCfbzcgLYz34al3q8T5v9LJ82pagnOTa8IuPbRNB4RsxEy+unzd2f9rIf3SXHPNGUo8vLcdEmAskzqXm0vEG9lXq8l/VT9nrnzp155JgWkbUI6ulojtHKwVLYajfqHphQ+Qqd3bhxY/brr7/2jqpoi2DQ0ZL333//xCb9bdv2FPfJqH/yySfZ999/X1n8pk2b3LhG60v0h2jddjr7zTM6UDx//vnn3hFUbfUqWp7qFTneBzmCVAdFPSmM3TPCMXo8RPNsq1eTfB/20y+HI/bTfyRgP32Z2ni3PE+WZ1Tbje644w5fYVNQmt6BR48ezd/zVZdnMmVFdGme65lns66Loh15luNw0FY7pV64cOGC27ea5ktLlixxW+hvUvdoebnbwKcAABX8SURBVKpP5Hgf5BgtRt/jeGrSEn6fCgIaLFrhKe5FTdVwS06o8uUBfu6557K7777bzZCmqve4liuP+o033pjveVfia53YoqiOG264If+3VvCUP8hzQhWpL01bxEyHPE8ps7DgquTikhd1QuK46lyXeo3beNckZNGiRa72JnI8jBvPLrowjvdiPy+9g7Gf46idWTZu433S7af0XA4nXUoq/sgjj4R9dI+nhvWrlT6o77zzzjw/64oVK/KUFpojKTWA/i3Gr732mlsEmdnrqoND+rWk+ummLWKac3s61qx9qk1VcnEtng06ATlF+ye9zHEb7xovnt9io+4fIp5G3QMTKl8e/b1799buQfeMEJA8nZ4nZ5NXOHMT+sgVbdWlGF1hdbNVNW/nniUctIi1osfdojEU3unFOlpfBvWtHdmt31Unz0tlv/nmm3l4bDGJpSZR+/btc3VaWL2LJ7VoMqMTY1JM8qMjyEYx3m0M6qROXSl5Ro+HUfDEfmI/u9hX7KdfBNkoxvtctp9ayLr22mtDFzsjI4LUd8XoChu3WoD03GJu5erDXomULQKpuBXM8k15LtRZ8m2dSDjoiogo0XztnnvuybZt2zbr5NwutrLq3kHfD3JEpXI6FeeFOtxJjsMUTpLoCLJRjHcbg3boU0qefXWt7/M4nvoSnNLnoz9Eoz+0o1e0i/LkqFi2bFne5B9++CFfafNKFm0cy1uLyqGeSob92GOPub0cR6UvVcPTWHsmAy3Lsb3pKVcpylFd5uhtyjc1jMkaRQRZsZ7SH8/cVVUMInmOajxEOSqxn9jPYeyMPYP97ENv9rPYTx+eUR/a0RFBRXlyCi1evDgHZif3eSWLtl4ozzeLjidLhu1xKprJi3Zc1GmbWK9duzZpmpKI8V6O6jLHXVO+qWFGYnQEWbGO0sfTp09nnrmrqhhE8hymDzyfwfHkSZOykhKI/DCMjggyeSdPnsyjVoqX5b/4+OOP3bY2SN77778/s/1LpyjouFWLAvI6hS2pQvQo3DvZpCXhrnM0eU4GTCfkbNLKSPHUtQjHmqFPHUG2efPmmS0OkqkIwBRHPo8Lzx4q3fgo9hP72agkLW/AfrYE1XAb9tOHY0QpkR+G0RFBkqdooKqTcG3bpn73ioCXPEVTWSSOUjxYFJDnKWwRejGMDK9k3yZbc8s6x4i388S+V3Rynfqy2B5zYv7777/DoOn0TMoIMs0JtfiunR92SWdTRKuNC89O8HvcjOOpBzwejSMQ/WEYHRHUdMpViom+jKhNJuy4bu0F16X99Z7JsOM0pVmSvRj379/vFtFl/ffss8/mSb/LiRflyLMXmMd++3JUU1k/vPWljmoqR5cxq8qZpW1wnolCx4lnswZ3vwP7+b9s1apVbsn4NeHFfmI/u4/E2U9gPz0opi0j+sMwOiKoab7g7SjRfPPll1/Ozpw5k3ecFj71txdeeGEmyt8zGXZa7ehWui0AeUZ0WZTRzTffnJ07d24mTYBqpneVdkxY+gePeX05qqmsH976Ukc4RQSZMZPcqpxZnmlkJGOceHbT5uHuxvE0HDeeKmT9jzgVLfrDMDoiqM542sTUVhe8lE/73vWisgSxevkrP5EZW8nzuqK3FhWTq1a1IcXWxeeff/4yUeYcMUeXXvjnz5/PdMJI39XDNo7RdevWuX1oN+lB08S16fny78pvsWbNmqxqclZ3AlZXOXb/KHhG5kDCft6YYT/bjw7s520Z9rO9vsx1+xn9YRgdEVS38Gnzl75zlqI2WaTfjh078gh//b8Y2+KcZ3S/5EZvtSsmp64aRSm2Liope/Eqpl44cOBAdvDgwezw4cPZ8ePHZxx+7Uf45Xe2cYxG5MyyWnk7uiwn2KBTAqW32iHidY0bT692DSoHx1NqwnO0/OgcHtETm1GsaMvxI7mHDh2aSUQtzjt37sz/7hnhMUgtJU+XkgR6XtE5guS4ePvtty9rwvz58/PcWVdeeWX2wAMPuLbR2mcv26KzSRFQypVgyTKLYeXDMi47ZoovLnPMeKxstalfygiyQTrvvRU0mif20z+iEvvpd8oc9nNpWMQv9rPNW+bye6LtZ/SHYXREkDl+lPi6mIha807lHI1ywkqe13a+osZE5wiy75ViHdQu5c5SknrP00AlQ+1T9JicSpJj81FFjSkNw/Lly/N+te+avtFWZcdM0fFjixZREWupIsgGRUin2Ao6Tjy7W+PuT+B46s6MJ7JLx/XK6xt1Klr0h6E6OWVEUJMjpqxkitDxPr56HBQ5ZY6LyPZVrRjaZFX1OHHixIzj0Cs6SM4XrUJqEqMJhxxammAoak3bgDxPhRlFBETRWVfuSy+GxXKjeWI/h4+oxH5e0lzs5/BWPnq8K9J10JUiAhf76XeqZPSHYeqIoCZHTFlPFb2tCJpy/tHhR994PJkyR1BkC6vmQ+YMeuWVVy7bZu4RHWRb0RYsWJA7JpWaQ1FcujT/9EgnUeQ3iggyc9ZV9aMHw2K50TwjdXMAvyuu+DciC9ioW4p8VwJtIpA8T0VT5SMnioNgeUUEtdl6Vq7DypV+xy2rbEXGyKEgo1d1bdq0yX1lpkqOV44LMb3pppvySCZLplin9J6npInjnj17Lgthtsimv//+O4njadDx45oA7Nq1yzWiKzoCom47XaqIrkie2M9+EZXYz/8sG/ZzuKlN5HjHfvq+j6Lt57h8GHpFBLXZelYeVYoS94xG0pj48MMPs4sXL1YO4ChHl0eOIJtv2uEydthMnWXyPCVNjhk5gSw9RjGySSkgitE7Xk4TyZCDSadu26XDX5Sna/v27cMZ5QFPRUeQ2Xx+0FY7LSJ4R3RF8nTtnCEKI+JpCGg8ciniKfpUtMiJ4lzv42LCQa1mjdLxJNl9I1hsu0JxX3s559KgPlX7i9sbh+l747lixYr8Jf/DDz/kL2TlKtDe+m+//TbTiYW6li7138ZhzkPPieEwHDyfsVXZquTiihDwjOgq1zs1T+ynp6bEl4X9/I859jNe/9pIxH765jicpg/DNvrV5x7bwSBHheZMVVeU40my+zpjyqkWukSUeUQHGU+bKynaUdHwR44cydauXZtHwCttwWeffZbnGPV2mmgxcNGiRa6LnX30q++ztpijcqqSi3v0WV0d5xrPcltxPPXV0Cl9fhQ5kIqoU38YSta4RASlUDG9KF9//fU8meOonRUeOS70ovjggw9mTvNQ35WTLVZxVDSSwoQ9TrjTy1+n2umFrxe98iUo7FiTK/3bVob0/7ZFtU/fqo2K2rL+M31V+Y8++mjSflWfeUaMVXEY5GhWaPe+ffsmepKD/cyyqIjKPmNs0LPYz0tksJ/DaRf2czhu9tSo7WfEh+G4RAT166nqp+WY0dV3wc+jbh45gmy+qXmXIu7Vd8rt2XTZAmXfnEuSY+8knV5ni8maA2uRTpclbvc6Ebi4w0Dlm77edddd7jlUixwtuswzYqyqnwY5muWIKuZBa+pjfp9NAMcTWjE0gZQ5kBQKrGSxdnKAjNzvv/8esvVLQEaxoh19ylUx79DQStDywegcQS2rld/WN9qqTlbRQWrh7R4h6zbxtmTmxeNfrT4ezq3yC3/z5s2zQqv1It66dWtSR5DGxj///JNZKHuX/q26dxy2amE/fbfyYj+/TDoGB4057Gc7a2R5e8pbU7Cf7fiV70ppP23uqXe2Lv1XER1e75+mFo8iIkgyjx49OjD1gmcEUkqbUcU2OkdQU/8Wf+8bbVUnyxykukfRTro8Dtax7zObY5q+asFVC69ezq1i29QWpW8xB5p+k7xt27ZlTzzxRBfkne/1XigYh62unSE4PoDjyREmRV1Kdqqr76lo5T38dce9puAevaIdfUqLOSq0/SsiYWR0josuOqG6XXPNNSEcutSr7l7pZzF5rOmrJgK6brzR//h45VjTS79q61uKiYYXq6pyuianVvsiInSwn8P1OvbT95TOLr2A/WxHC/vp62iuou5lP8uOkWhHSXREkEWd29Y3i5TRPF7/tgTSXtHxFh1elUOn3Wjqdld0jqAutdOirIczqIvMvvdKP4vJt01ftZ3PdEkOKC99KS6sVm19sxQbfdsV9XyXrZg2Jj0dv1HtHCQHx9Ooe2CC5Ecmb5ZHeP369Xnyuttvvz1fiVFOl7feemsgMc/Qy2hHV/QpgYJoqxZKBlh16WM7wik1QUOgtqrRERdFx5MSmWtyaCHA3hPl8qmSRRB1icD79K0+IrRKp+08VZd3sn0xmz9//mXb+OyYaX00WuLOYduE/RyWXPNz2M9mRuN+B/bzR9f3LfZz3tA8FfGk+ZHmRnrPbNmyJT/cZsOGDQOHkR1s4jHOvN/fTXVSRJCSfMtxoKsYhaPIMp2a651TUYxV5rp16yqrZ9vWmurO75cIREesmePJou+PHTuWrV69epb+ePRP+VTJYpn27rfdMR7yVIbaZVFiVWV67Fywcm3hrJyYXe9EbV3U3FNjdK5cOJ7mSk8mbscokjd38Qqr+Z5e7+iIoOhTWsSriW9fnpEf2onVv7H46IgLc/bIMauVJW3fKK4w2Yl6XiHITY5YTco1gfQ6zcQcPsWw6nIneOTlsjI1adu4cWNl7i2PU8Own41DqNcN2M8sec61Xh3U8DD2E/tZpyLR9lPzP+Vl1Du17WXb3tveX3dfdERQ2dFVdDxpbC5cuDDzyENkbW7Dtw/PUZ8y56EDXcqIjlgzZ48cJVoAVV6pM2fO5FUunqjntXBd54g1/eyjL2XW5vBRuwZdnuNBjrXvv/9+xvFblOlx6mIXXYq4F8dTBOU5IGNUyZvtBXL48OHGiCfPFSd1WWREUPQpVxZRJueSVvSqrj48oyeKox5io4i40MtKidEViltcEUkR6lze2lfm7b1Ca/pZXEVL2cdNjrW+7cN+zu49z4hK7Od/fD1OmUs51qrKxn7+77Ijz/vyx35eItg3+b0+ov/4449WEU/e+Z8iI4IUTaF8ORYxXVy4SvFhbxFlmrcod1bV1YfnqE+Z6zt+uz4fHbEmnXj44YfzbZjSm88//3wmulDsDxw4MOOI6tqWqvvLW/vK93jnyZJ+Ksqv2C6Pdgwqo2l+6d2+lG1pUzaOpzaUuKcXgaZB1aZwOyXCK6KijczUEUHFOkSf0tLkSGjDp+6eUX1o9633sM+PIuJiUF2lS0rE7bXaJDl12+nsN08nUZMjaNh+GvScfahVrWLZ6tfu3buTJ7EcNOlatWpVr2gy7Odrmbd+Fre6eusj9vNyR4wiKpVY1iuCs66/sJ/dtXmu20+9j5YsWTKzlag7oW5PpI4IKtdG/ffyyy/POAuKWw3t5LULFy70zt1qcpscCd1ozb57HE6Z69uGLs9HR6zV1a182nKXdgy6VwsTe/bsyapygtnBRd762XfO1aXd5uiqal+dbe0iY5zuxfE0Tr0xR+syiclHU0cEVXV1ylNayvKiQ7m7qLaHo7KLPI97oyMuPOrctQxzxFYlF9eRvZ45IOq2vnWtd5v7i1v7lCtr2bJl+WNnz57NIx91eZ8S2KZeugf72Y4U9vMSJ+xnO32Jvgv7+aub46JL302i/UwdEVTmZycu7tixI1+wKm91//jjj11zzMhWaxujvVu79GfqeycxuiQ6Yi11H1Tppw7M0VWVXFwpJyxaz6NudVvfPMovl2GLm/q7+nLx4sX5Leb0nbTDe5oY4XhqIsTvU0kgdURQW6hep7RUydNEWKdO7Nq1ayQTwkEMJnGiGB2x1lZ/PO+TLr755pvZu+++m+/pt0uOmn379rnrULR+qn07d+7MJ8Pl9tmE3JPnXC4L+zm63sV+jo59nWTs5y3j2TFjWKvUEUFtm6x5jdfJZEWZltNtVFHEde2fxFPmoiPW2uqP533SRTmYlM/ULqWZkCPK0+mkskehn3I+aTyU2ydH1Lh9o/XtVxxPfQny/JwkMM4RQR7A9aLau3dvVpe8uW9ycY96TlIZkREXo+ail6S28/XJw1DXBvRz1D3cTz720/ewi369MRlPYz/9+gn76cdyFCWNc0SQBw87pawuebtnsmiPOo9zGdERa6NmoTym8+YNf2plU/3RzyZC/X7H8dSPH0/PYQLREReRKGW4T506VSvS+7j6yPaNi6yUEWvj0sYU9UA/U1CNLRP7uTKZYza2J0cnDfs5HHvs53DcxuWpUURcRLZdjtFz587VivQ8rj6ybeMkK1XE2ji1MUVd0M8UVP8rE8dTWr6UPqEEWDGc0I6j2hCAwMgJYD9H3gVUAAIQmFACRFxMaMdRbQhAoJEAjqdGRNwwjQRYMZzGXqfNEICABwHspwdFyoAABKaRABEX09jrtBkC00EAx9N09DOthAAEIAABCEAAAhCAAAQgAAEIQAAC4QRwPIUjRyAEIAABCEAAAhCAAAQgAAEIQAACEJgOAjiepqOfaSUEIAABCEAAAhCAAAQgAAEIQAACEAgngOMpHDkCIQABCEAAAhCAAAQgAAEIQAACEIDAdBDA8TQd/UwrIQABCEAAAhCAAAQgAAEIQAACEIBAOAEcT+HIEQgBCEAAAhCAAAQgAAEIQAACEIAABKaDAI6n6ehnWgkBCEAAAhCAAAQgAAEIQAACEIAABMIJ4HgKR45ACEAAAhCAAAQgAAEIQAACEIAABCAwHQRwPE1HP9NKCEAAAhCAAAQgAAEIQAACEIAABCAQTgDHUzhyBEIAAhCAAAQgAAEIQAACEIAABCAAgekggONpOvqZVkIAAhCAAAQgAAEIQAACEIAABCAAgXACOJ7CkSMQAhCAAAQgAAEIQAACEIAABCAAAQhMBwEcT9PRz7QSAhCAAAQgAAEIQAACEIAABCAAAQiEE8DxFI4cgRCAAAQgAAEIQAACEIAABCAAAQhAYDoI4Hiajn6mlRCAAAQgAAEIQAACEIAABCAAAQhAIJwAjqdw5AiEAAQgAAEIQAACEIAABCAAAQhAAALTQQDH03T0M62EAAQgAAEIQAACEIAABCAAAQhAAALhBHA8hSNHIAQgAAEIQAACEIAABCAAAQhAAAI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yB1P4VIRCAEIQAACEIAABCAAAQhAAAIQgAAEIDAVBP4PSUvMkZPYWOAAAAAASUVORK5CYII="/>
          <p:cNvSpPr>
            <a:spLocks noChangeAspect="1" noChangeArrowheads="1"/>
          </p:cNvSpPr>
          <p:nvPr/>
        </p:nvSpPr>
        <p:spPr bwMode="auto">
          <a:xfrm>
            <a:off x="706" y="398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AutoShape 2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5/z418Mk19Frl+ypvSkp0WA9WLR0rP01I0sCXpatPQsPXUjS4KeFi09S0/dyJKgp0VLz/r21M8o0MbTT3/6U/nUpz4Vze5Pf/qT3HrrrdG+T5mv1J+3tbXf5cJX9wK+C9fneMt//7qs3X4wmvyZp1XKgq/Wyjl9eha0HHzOz02E4yW7nPSkp0WA9WLR0rP01I0sCXpatPQsPXUjS4KeFi09S0/dyJKgp0VLz9JTN7IkfHtazi1btmTveLJMnI0nXct34foab/v+o7Lo6T1pgFlfGCBX1fXVQWImfM0vdZocL+aCdTqcnvS0CLBeLFp6lp66kSVBT4uWnqWnbmRJ0NOipWfpqRtZEvS0aOlZeupGloRvT8u5BdN4WrVqlezduxea+6BBg2TKlClQ1ndo9uzZ0tjYGA07dOhQaWpqSp+Cm+PUqVPT/7xz506pra0V9w1+Luteixcv7vBNfnV1dfLoo4+mv+3PMh/fhetjvPc+PC5zf9EsB4+2RhSjhpwlt18z0MKSdxaZ38Hvfcb0+dU/+F/d5pHxTIMpYY6XpCbvWEtWk570tAnw55nNS0vTUxOyvU9Pm5eWpqcmZHufnjYvLU1PTcj2Pj1tXoVOl+QdT4VG8fH5bkN0tznz0qVLo+EmTpwYNZbcP6c2S081m5YsWSLLli2LGlOuWTV27NiomeY2WU/dzeX+fPDgwR0aUZZ5hHhhPvjbffLCrnfaGY4dkWX/18joUTsfL8STjSd8JRBP/NP0JMfTjSwJelq09Cw9dSNLgp4WLT1LT93IkqCnRUvP0lM3siToadHSs/TUjSwJelq0Cp9l46nwxtAIrrm0YcMGWbt2rbj/vXv37nRTyn1A6pv87r33Xpk3b150V5O7w8k1o9zdUe5OJ3dsvq/QLsznmg5L47P70xwn/vBzWfGTBfnymI9DPNl4wlkRT/zT9CTH040sCXpatPQsPXUjS4KeFi09S0/dyJKgp0VLz9JTN7Ik6GnR0rP01I0sCXpatAqfZeOp8MbQCO6OJfdydzy5u5/GjRvX5TE613TatGlTlzueMu98ggbLEgrpwnzrSKs0PNEs7lE795o4vFrWPPid6A4zXy/Ek40nfDUQT/zT9CTH040sCXpatPQsPXUjS4KeFi09S0/dyJKgp0VLz9JTN7Ik6GnR0rP01I0sCXpatAqfZeOp8MbqCKl9m1KP1uVqPI0aNSq9x9PKlSujO53cHVDTp08Xd/ysWbM63CmlDv7fgVAuzOMn2mTR03tlx9+ORjMbWHW6zL+hVr71zZvYeEKLAciFUi/dTZXzA4rAEKGnAQuI0hNAMkToacACovQEkAwRehqwgCg9ASRDhJ4GLCBKTwDJEKGnActDlI0nD8jaEO6ROXc3U2oT9FyNp8yN0t0jeZmv+vr66PG79evXR/tFWV7uwgzhVXHR56Vi6DXtU2k7ISe2PiLy7htFObV/rfuz6bz+uenvTHmGKUABClCAAhSgAAUoQAEKUCBMAZ9P9MQVZOMprmDM412jaMaMGR0eq8t87C718e5xutQdUe7P3Abkrlnl9nXK3HDcNa1Se0BZTi2EjvCelg/ke7/cJe6uJ/eaevl5MunSmuh/F+P8+KgdXqHFuH742etJzk83siToadHSs/TUjSwJelq09Cw9dSNLgp4WLT1LT93IkqCnRUvP0lM3siRC97RYZMuy8RRXMMbx2ZpOqabSmDFj0o2mzG+1Sw2X2YhK3fkU944nnx3TpC/M1uNtcs+TzbLv0LGIaNgFvWXudYOkskcFG08xarS7Q5NeP+0UOZ4mZHufnjYvLU1PTcj2Pj1tXlqanpqQ7X162ry0ND01Idv79LR5aWl6akK29+lp89LSvj2189HeZ+NJEyrQ++6b6KZOndrl01N3Nblm0pw5c9Lvt7W138XjXu6uJrenU+Zjd64R5V7lusfT8t+/Lmu3H4wMzjytUhZ8tVbO6dMzbeb7wkTG4x1P+MWFeOKfpic5nm5kSdDToqVn6akbWRL0tGjpWXrqRpYEPS1aepaeupElQU+Llp6lp25kSdDTolX4LBtPhTcuiRFK+cLcvv+oLHp6T9p51hcGyFV1fTu4F+P82HjCL41iXD/87PUk56cbWRL0tGjpWXrqRpYEPS1aepaeupElQU+Llp6lp25kSdDToqVn6akbWRKhe1ossmXZeIorGMjxpXqhvPfhcZn7i2Y5eLQ1WolRQ86S268Z2GVVinF+bDzhF08xrh9+9nqS89ONLAl6WrT0LD11I0uCnhYtPUtP3ciSoKdFS8/SUzeyJOhp0dKz9NSNLInQPS0WbDzF1Qr4+FK9UB787T55Ydc70cpU9+4pi75WGz1q1/lVjPNj4wm/oIpx/fCz15Ocn25kSdDToqVn6akbWRL0tGjpWXrqRpYEPS1aepaeupElQU+Llp6lp25kSYTuabFg4ymuVsDHl+KF8lzTYWl8dn96VeZed5EMH9A76yoh8/PdCPI9XpLli3hyPFyAnrgVkqQnooRn6IlbIUl6Ikp4hp64FZKkJ6KEZ+iJWyFJeiJKeIaeuBWSDN0TMciV4aN2cQUDOb7ULpS3jrRKwxPN4h61c6+Jw6tl2hXnd7sayPx8N4J8j5dkqSKeHA8XoCduhSTpiSjhGXriVkiSnogSnqEnboUk6Yko4Rl64lZIkp6IEp6hJ26FJEP3RAzYeIqrVAbHl9KFcvxEmyx6eq/s+NvRaGUGVp0u82+olZ6V7d/sl+2FzM93I8j3eEmWMeLJ8XABeuJWSJKeiBKeoSduhSTpiSjhGXriVkiSnogSnqEnboUk6Yko4Rl64lZIMnRPxCBXhnc8xRUM5PhSulCe+mOLrHz+jUi+skeF/OArQ+Siml45VwKZn+9GkO/xkixVxJPj4QL0xK2QJD0RJTxDT9wKSdITUcIz9MStkCQ9ESU8Q0/cCknSE1HCM/TErZBk6J6IARtPcZXK4PhSuVD2tHwg3/vlLnF3PbnX1MvPk0mX1qgrhMzPdyPI93gqkiGAeBo+To1yPJXIFKCniUsN01MlMgXoaeJSw/RUiUwBepq41DA9VSJTgJ4mLjVMT5XIFKCniUsN+/ZUT0gJ8I6nuIKBHO+7cLONd8eqv8iBd1vzFu338Z7ywJRPZD0emZ/vRpDv8fKGzXIg4snxcAF64lZIkp6IEp6hJ26FJOmJKOEZeuJWSJKeiBKeoSduhSTpiSjhGXriVkgydE/EIFeGjae4goEcXwwXyrSHX4mtufyWS9h4iq2of0Ax1It+lvknOL/87bIdSU96WgRYLxYtPUtP3ciSoKdFS8/SUzeyJOhp0dKz9NSNLAl6WrT0rG9P/YxyJ9h4iisYyPG+CzfbeDN/9qocPdb+LXX5vHqfXikPffPirIci8/N9B5Lv8fIx7e4YxJPj4QL0xK2QJD0RJTxDT9wKSdITUcIz9MStkCQ9ESU8Q0/cCknSE1HCM/TErZBk6J6IQa4MG09xBQM5vpgvlDfe+VAanmiWD1pPRNpjP3m2zBjb3ySPzM93I8j3eCYwJYx4cjxcgJ64FZKkJ6KEZ+iJWyFJeiJKeIaeuBWSpCeihGfoiVshSXoiSniGnrgVkgzdEzFg4ymuUhkcX6wXims2ff9Xu2TfoWPRKrhvr7vnS4OlV88eplVB5ue7EeR7PBMYG0+yYsWKJMlyfhZSn0meDMdLUlOEnvS0CLBeLFp6lp66kSVBT4uWnqWnbmRJ0NOipWfpqRtZEqF7WiyyZXnHU1zBQI4v1gul8dn98lzT4Uj5zNMqZf4NQ+S8s04zqyPz890I8j2eGS3HAYgnx8MF6IlbIUl6Ikp4hp64FZKkJ6KEZ+iJWyFJeiJKeIaeuBWSpCeihGfoiVshydA9EYNcGTae4goGcnwxXijPvHJQ/v13r6eF7xx/oVw2qE9e4sj8fDeCfI+XF1w3ByGeHA8XoCduhSTpiSjhGXriVkiSnogSnqEnboUk6Yko4Rl64lZIkp6IEp6hJ26FJEP3RAzYeIqrVAbHF9uF0vTm+zL/N7vl+Im2SP+Gy/rJjZ89N++VQObnuxHke7y88bIciHhyPFyAnrgVkqQnooRn6IlbIUl6Ikp4hp64FZKkJ6KEZ+iJWyFJeiJKeIaeuBWSDN0TMWDjKa5SGRxfTBfK4fc/knue3CUHj7ZG8sMH9JbvThgklT0q8l4JZH6+G0G+x8sbj42nJOmyfhZSn0meBMdLUpN7PCWrSU962gT488zmpaXpqQnZ3qenzUtL01MTsr1PT5uXlg7dU5u/9j4ftdOEyuT9YrlQ3B1OP1q3V7bvPxrJV/fuKQu+Wit9elXGWglkfr4bQb7HiwXY6WDEk+PhAvTErZAkPRElPENP3ApJ0hNRwjP0xK2QJD0RJTxDT9wKSdITUcIz9MStkGTonohBrgwbT3EFAzm+WC6U1VvflF+/fCBSdXc4ff/Lg2VIvzNiKyPz890I8j1ebMSMD0A8OR4uQE/cCknSE1HCM/TErZAkPRElPENP3ApJ0hNRwjP0xK2QJD0RJTxDT9wKSYbuiRiw8RRXqQyOL4YL5cU9R+T+Z/6a1v72VRfINcOqEtFH5ue7EeR7vEQg//tDEE+OhwvQE7dCkvRElPAMPXErJElPRAnP0BO3QpL0RJTwDD1xKyRJT0QJz9ATt0KSoXsiBmw8xVUqg+NP9YXyxjsfSsMTzfJB64lIe+wnz5YZY/snJo/Mz3cjyPd4iWEK92BJ0tJ9FlKfSY7J8ZLU5Polq0lPetoE+PPM5qWl6akJ2d6np81LS9NTE7K9T0+bl5YO3VObv/Y+H7XThMrk/VN5obhm0/d/tUv2HToWaV9U00vu+dJg6dWzR2L6yPx8N4J8j5cYJhslSVJGn4XUZ5KDcrwkNbl+yWrSk542Af48s3lpaXpqQrb36Wnz0tL01IRs79PT5qWlQ/fU5q+9z8aTJlQm75/KC6Xx2f3yXNPhSPrM0ypl/g1D5LyzTktUHpmf70aQ7/GSBEU8OR4uQE/cCknSE1HCM/TErZAkPRElPENP3ApJ0hNRwjP0xK2QJD0RJTxDT9wKSYbuiRjkyrDxFFcwkONP1YXyzCsH5d9/93pa8c7xF8plg/okrorMz3cjyPd4SaIinhwPF6AnboUk6Yko4Rl64lZIkp6IEp6hJ26FJOmJKOEZeuJWSJKeiBKeoSduhSRD90QM2HiKq1QGx5+KC+UHDzwi83+zW46faIuEb7isn9z42XMLoo3Mz3cjyPd4ScIinhwPF6AnboUk6Yko4Rl64lZIkp6IEp6hJ26FJOmJKOEZeuJWSJKeiBKeoSduhSRD90QM2HiKq1QGx/u+UG769gypGf9dOXi0NdIdPqC3fHfCIKnsUVEQbWR+vhtBvsdLEhbx5Hi4AD1xKyRJT0QJz9ATt0KS9ESU8Aw9cSskSU9ECc/QE7dCkvRElPAMPXErJBm6J2LAxlNcpTI43ueF4u5w+taP14hUDYlkq3v3lAVfrZU+vSoLJo3Mz3cjyPd4SeIinhwPF6AnboUk6Yko4Rl64lZIkp6IEp6hJ26FJOmJKOEZeuJWSJKeiBKeoSduhSRD90QM2HiKq1QGx/u8UFZvfVN+/fKBSNXd4fT9Lw+WIf3OKKgyMj/fjSDf4yUJjHhyPFyAnrgVkqQnooRn6IlbIUl6Ikp4hp64FZKkJ6KEZ+iJWyFJeiJKeIaeuBWSDN0TMWDjKa5SGRzv60J5cc8Ruf+Zv6ZFv33VBXLNsKqCCyPz890I8j1eksiIJ8fDBeiJWyFJeiJKeIaeuBWSpCeihGfoiVshSXoiSniGnrgVkqQnooRn6IlbIcnQPREDNp7iKpXB8T4ulDfe+VAanmiWD1pPRKJjP3m2zBjbv1td342Z0MdLsox91Evm+XK8JFdPhJ70tAiwXixaepaeupElQU+Llp6lp25kSdDToqVn6akbWRL0tGjp2dA9dYHciQr3amtra/9aMb7KVqDQF4prNn3/V7tk36Fj7cbvviEP3/b30qtnDzaewKqr/sH/6jZZ6PXrPDDHAxcNjNEThAJj9AShwBg9QSgwRk8QCozRE4QCY/QEocAYPUEoMEZPEAqM0ROEAmOhe4IM3cbYeIorGMjxhb5QGp/dL881HY60zjytUt79nw/Kikd+klMv9DuQfM8vyVItdL2w0ZXkanX9LK5fsr70pKdFgPVi0dKz9NSNLAl6WrT0LD11I0uCnhYtPUtP3ciSCN3TYpEty8ZTXMFAji/khfLMKwfl33/3elrqzvEXyo/mzpQVK1aw8WSoH97xlLteDJRqtJDXQ7bBOZ66JKYAPU1capieKpEpQE8Tlxqmp0pkCtDTxKWG6akSmQL0NHGpYXqqRKZA6J4mjCxhNp7iCgZyfKEulKY335f5v9ktx0+0P815w2X95MbPngvtMeP7jqDQx0uyVAtVL92dI8dLcvW4x1OymvSkp02AP89sXlqanpqQ7X162ry0ND01Idv79LR5aWl6akK290P3tGl0TbPxFFcwkOMLcaEcfv8juefJXXLwaGukNHxAb/nuhEFS2aOCjScR8d3oSrJUC1Evuc6P4yW5emyUJKtJT3raBPjzzOalpempCdnep6fNS0vTUxOyvU9Pm5eWpqcmZHs/dE+bBhtPcb0SP3727NnS2NgomzdvltGjR6c/f9WqVTJ16tT0P+/cuVNqa2ulublZhg4dGv354sWLpb6+Pp2pq6uTRx99tMPnoCec9IXi7nD60bq9sn3/0egUqnv3lAVfrZU+vSqjf0bG892YCX08tBaQHLJ+yOegGY6HSmE5emJOaIqeqBSWoyfmhKboiUphOXpiTmiKnqgUlqMn5oSm6IlKYTl6Yk5oyrcnel7d5XjHU1zBGMdXVFTIypUrowZTZuNpy5YtMmbMGEk1m5YsWSLLli2TpqYmcY2qsWPHypQpU8Qdn/pCQvfngwcP7tCIspxa0oW7euub8uuXD0Sn4O5w+v6XB8uQfmekTwkZL/RGkO/5WepByyLrp32G5X2OZ9HSs/TUjSwJelq09Cw9dSNLgp4WLT1LT93IkqCnRUvP0lM3siToadHSs/TUjSwJ356Wc8uWZeMprmACx7sGUmbjyTWadu/eLUuXLk1/eipz7733yrx586K7mtwdTq4Z5e6Ocnc6rV27Nu+zSbJwX9xzRO5/5q/pc/n2VRfINcOqOpwbMp7vxkzo4+VdHFkORNaP4+EC9MStkCQ9ESU8Q0/cCknSE1HCM/TErZAkPRElPENP3ApJ0hNRwjP0xK2QZOieiEGuDBtPcQUTOL5z42nixIkybty4Lo/RuabTpk2butzxlHnnU76nk9SF8sY7H0rDE83yQeuJ6FTGfvJsmTG2f5fTQsYLvRHke3751ka245D143i4AD1xKyRJT0QJz9ATt0KS9ESU8Aw9cSskSU9ECc/QE7dCkvRElPAMPXErJBm6J2LAxlNcpQIfb2k8jRo1Kr3Hk3tMz93p5O6Amj59evRo3qxZszrcKYWeehIXims2ff9Xu2TfoWPRsBfV9JJ7vjRYevXswcZTloVg4wmtTmxPMPzT9GQS14M+yskEx7No6Vl66kaWBD0tWnqWnrqRJUFPi5aepaduZEnQ06KlZ+mpG1kS9LRo6dnQPXWB3Ane8RRXMIHjLY0nt7dT6uUeyct8uY3G3eN369evjzYit7zchRL3VXHJV6Ti/EvbP+ajY3Ji68Mi7x/K+2P/te7PpmP/uenvTPnO4dDHi4XDgylAAQpQgAIUoAAFKEABClCgaARWrFhRNOeinQgbT5qQh/c7N57cRuHu1XmPp9Rm4+49twG5e/TO7euUueG4e0wvtQeU5dTjdmifeeWg/PvvXk8Peef4C+WyQX26PQVkPN93BIU+nqUetCyyftpnWN7neBYtPUtP3ciSoKdFS8/SUzeyJOhp0dKz9NSNLAl6WrT0LD11I0uCnhYtPUtP3ciS8O1pObdsWTae4gomcHznxlOub7VLDeeOyfzWO/fnce94yrdj2vTm+zL/N7vl+Im26PRuuKyf3PjZc3PKIBdK6I0g3/NLoFTTH4GsH8fDBeiJWyFJeiJKeIaeuBWSpCeihGfoiVshSXoiSniGnrgVkqQnooRn6IlbIcnQPRGDXBk2nuIK5nl8c3Nzeq+mzI/IbCbNmTMn/VZbW3tTx73cXU1uT6fMx+5cI8q9fO/xdPj9j+SeJ3fJwaOt0fjDB/SW704YJJU92s+nuxdyYfpuzIQ+Xp6lmvUwZP04Hi5AT9wKSdITUcIz9MStkCQ9ESU8Q0/cCknSE1HCM/TErZAkPRElPENP3ApJhu6JGOTKsPEUVzCQ47NdKHes+osceLe9oZTPq9/He8oDUz6Rd+Mi9EaQ7/nls4bdHRP6D1bOL8lq4ebwyWrSk542Af48s3lpaXpqQrb36Wnz0tL01IRs79PT5qWl6akJ2d737Wk7u65pNp7iCgZyfLbCnfbwK7Fnt/yWS9h46kaRjSe8vHz/YOV4+NogSXoiSniGnrgVkqQnooRn6IlbIUl6Ikp4hp64FZKkJ6KEZ+iJWyFJeiJK/jJsPPmzLuqRsl2YM3/2qhw9djzv8+59eqU89M2L2Xhi4ynvGkodyH9xxCbs8AH0pKdFgPVi0dKz9NSNLAl6WrT0LD11I0uCnhYtPUtP3ciSoKdFS8+G7qkL5E6w8RRXMJDj87lQ3DfZPbbtLRn/qSp1M/HOTMh4vu8ICn28JEsVWT+OhwvQE7dCkvRElPAMPXErJElPRAnP0BO3QpL0RJTwDD1xKyRJT0QJz9ATt0KSoXsiBrkybDzFFQzk+GK8UEJvBPmeX5KlWoz1wvnhAlw/3ApJ0hNRwjP0xK2QJD0RJTyhrr9XAAAgAElEQVR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L8YLJfRGkO/5JVnGxVgvnB8uwPXDrZAkPRElPENP3ApJ0hNRwjP0xK2QJD0RJTxDT9wKSdITUcIz9MStkKRvT+Sc2HiKq1QGx/suXGQ8342Z0MdLsoyR9eN4uAA9cSskSU9ECc/QE7dCkvRElPAMPXErJElPRAnP0BO3QpL0RJTwDD1xKyQZuidiwMZTXKUyOL4YL5TQG0G+55dkGRdjvXB+uADXD7dCkvRElPAMPXErJElPRAnP0BO3QpL0RJTwDD1xKyRJT0QJz9ATt0KSvj2Rc2LjKa5SGRzvu3CR8Xw3ZkIfL8kyRtaP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+kUHL9lyxYZM2ZMeuTNmzfL6NGjo3+uqKiI/v+sWbNk6dKl6czEiRNl+vTpMmXKFPMZIxdK6I2Z0OdnLoocByD1wvFwAXriVkiSnogSnqEnboUk6Yko4Rl64lZIkp6IEp6hJ26FJOmJKOEZeuJWSDJ0T8QgV6bCvdra2trifhCPT06gublZhg4dKqlm06pVq2Tq1KnilmnJkiXRQPX19VJXVyfr16+X2tra6M93797doRFlOSPkQgm9MRP6/Cz1oGWRetE+w/I+x7No6Vl66kaWBD0tWnqWnrqRJUFPi5aepaduZEnQ06KlZ+mpG1kS9LRo6Vl66kaWhG9Py7lly7LxFFewAMe7RtOjjz4qa9euTX+6azLde++9smnTJhk7dmx0V5O7w8nd8fTaa69Fdzo1NTXlfTZI4YbemAl9fnkXR5YDkXrheLgAPXErJElPRAnP0BO3QpL0RJTwDD1xKyRJT0QJz9ATt0KS9ESU8Aw9cSskGbonYpArw8ZTXMECHD979uzoUzs/Rjdu3Lj0aJl3PI0fPz5951O+p4NcKKE3ZkKfX761ke04pF44Hi5AT9wKSdITUcIz9MStkCQ9ESU8Q0/cCknSE1HCM/TErZAkPRElPENP3ApJhu6JGLDxFFfJ8/G5Gk+u4ZTa42nx4sXR43XuDih3h9S6detkwoQJHe6UQk8duVBCb8yEPj+0FpAcUi/I56AZjodKYTl6Yk5oip6oFJajJ+aEpuiJSmE5emJOaIqeqBSWoyfmhKboiUphOXpiTmjKtyd6Xt3leMdTXMECHK81nlJDukfyUo/euf/v7pByj9/NmzcvvRE5enpuM/Nzzz0XjTNHAQpQgAIUoAAFKEABClCAAhSgwCkQePPNN81/5z8Fp5keko2nU6nfzdhuo/ANGzZ02ePJ3dWU+mY7twG5e8TO7euUueG4a1ql9oAqwqnxlChAAQpQgAIUoAAFKEABClCAAhQoIwE2nopwsXN9q13qdN1m46lGVOrOpzh3PBUhA0+JAhSgAAUoQAEKUIACFKAABShAgRIXYOOpSBfQNZOmTp2aPrudO3dKbW1t9M/urqbBgweL2+8psxHlMvnu8VSkDDwtClCAAhSgAAUoQAEKUIACFKAABUpYgI2nEl48njoFKEABClCAAhSgAAUoQAEKUIACFChmATaeinl1eG4UoA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WK9NxWrVolTz75pOzcuVO2bduWPsuRI0fK5z73OfnGN74ho0ePTuzsOR49LcXEemG9FHO9IOfmanjgwIGJ/hzNNS7HQ1YFz9ATt0KS9ESU8Aw9cSskuWTJErnxxhultrYWicfOcLzYhB0+gJ70tAiEXi8Wi3yybDzlo1bGx8yePVsaGxsjgQkTJnSRWLduXfRnK1eulClTpsSW4nj0tBQR64X1Usz1gp7bxIkTZdy4cVJfX48eEivH8WLxdTmYnvS0CLBeMK0tW7bI9OnTo//o6V6TJ0+Wu+66S0aMGNHhA5LyfOihh6LPP3TokFRVVUW/086fP19qamo6jFdRUSGbN2+O/R8KOF47Kz2x64H1wnrBKqW4Umw8Fdd6FPXZvPzyy/LpT39aFi9e3O1fiFpaWuSee+6JmlPul4M4/wWI44nQE78kWC+sF7xaRHzXi+XckvqLEzomx0OlsBw9MSc0RU9UCsuVomdzc7O4u+pdE8j9R0/3u1HqjvvO/6EzifmtWbNGJk2aFDWcRo0aJU1NTdHvtO6fN27c2KHZlUSjhOOdbB7SU7+OWS+sF71KijPBxlNxrktRnpW7vfCxxx6TrVu3qudXV1cn3/3ud2XmzJlqtrsAxzspQ0+9jFgvrBe9Sk4mTkW9zJkzBz7FXA1+5EPc/DjeSSl65q4a1ktHH9ZLcdWLu7vj1ltvlZdeeind9HHNKHeXs7vTftasWbJ06dLopJNoPLm7m1xj6/nnn0/f4ZR5x1VmsyuJRgnHO/mUBD31f8OzXlgvepUUZ4KNp+Jcl6I8K/eL6YYNG2Tt2rXq+SXxL36Od5KZnmrJCeuF9aJXScfGk8+fZ6n/QukeD/nMZz6T81SXLVsmM2bMiPWoHcc7SUxP/cpgvbBe9Co5mfBdL7n+/Z5qmqaaT0n8vtTdZ7g7rW677TZZvXp1ekuJJBolHI+eluuP9cJ6sdRLMWXZeCqm1Sjyc0n9opH5X5yynXLqEZa4+zxxvHZdemIXBuuF9YJVSnvKd724Md0vi2effba4zX1zvZL4ixPHS7YRS096Wn6+sF6SrRd3x9PDDz/c7R337mfq1KlTozuf3J1QcffIc3eUDB06VBYsWJB12VP7Sbrfc924cfd44njt+8fSE/spw3phvWCVUnwpNp6Kb02K+ozct9a524/dv9zdho6f+tSn0uf7pz/9KWqSuF8AqqurO9yinO+kOB49LbXDemG9FHO9pJrI2v53STWeOF57NdATuypYL6wXrFI6/kcOHz/PXDPJNYJyjZVqPrmzi/uopPusefPmRXs7dffK/DKTuI0njifRY5OpLy+iZ+4rkfXCerH8rC6mLBtPxbQaJXAu7jbj++67L/qXg9vkMdvLPUqycOHCWBuLpz6X47V/cws9sYuD9cJ6wSqlPeW7XtyY7k6ryy+/vMs3I2Wet2sA9OnTJ5GfoRyv/a5RemJXBuuF9YJVSnvKZ700NDTIpZdemvMbk921fvXVV8sPf/jDWHuMph6py/ateZk+qWaX9iSAZsrx2oXoqVXKyd9d3COfrM/2Ox15/WF1UwwpNp6KYRVK9Bzcv+CPHDnS4exHjx5dsNlwvGRp6UlPiwDrxaLFLAUoQAEKUIACFKAABSiQEmDjibUQhID7ryQDBw6UQja+Ov9XLp/jBbFIRTQJ1ksRLUYJnIrvevFN4nt+vsfz7Rn6eL7Xz/d4oa+f7/mFvn5uc/Mbb7wxkTtUkbXxPR5yTszgAr7Xz/d4uASTiEBo68fGE7LqzJgFkvpFI/Pra91JuMfOst1amtQeHr7HQ2GT8gx9PN/r53u80NfP9/xCXz/f8/M9nu96CX083+vne7zQ18/3/EJfP7ehuft9020rUVVVFT3iN3/+/C6PSSfxrXZu7XyPh9aL77/4lup4vtfP93isl3aBpOqzWNcPXed8c2w85StXpsf5/EXDbSY5cuTI6F/6EyZMiPZjcRubu1fnb8xLovHkezw3D5+eoY/ne/18jxf6+vmeX+jr53t+vsfzXS+hj+d7/XyPF/r6+Z5f6OuX+tZT13AaNWpUtMm429jc/fPGjRujL9dJvZJoPPke71Q0unz/RdvneL7Xz/d4rJeTf+kv1eu9WNoWbDwVy0qUwHn4/kXD/Uvj1ltv7bBpnDsH980X69ati75Zb+nSpZFcEo0n3+P59gx9PN/r53u80NfP9/xCXz/f8/M9nu96CX083+vne7zQ18/3/EJfP3d3k/sPnc8//3z6DqfM/1CY+R8/k/iLqO/xfDcuQh/P9/r5Hi/09fM9P9/rV0wtBjaeimk1ivxcfP+i4W5n3LBhg6xdu7aLjHtvzpw56eZTEo0n3+P59gx9PN/r53u80NfP9/xCXz/f8/M9nu96CX083+vne7zQ18/3/EJfv+5+p0x9+9zq1avTd94n0XjyPZ7vv/iGPp7v9fM9Xujr53t+vtevmNoLbDwV02oU+bmcil80Hn74Ydm6dWtWmdTXrro7n9x/7Rs3bpzU19fnreh+cfM5nm/P0MfzvX6+xwt9/XzPL/T18z0/3+P5rpfQx/O9fr7HC339fM8v9PVzfxEdOnSoLFiwIOvvlO7O+8bGxqj55L7OffPmzbG+3Mb3eL7/4hv6eL7Xz/d4oa+f7/n5Xr+8/2JcgAPZeCoAaqgf6fsXDddMcv/id8/V19bW5mw+uTcXL14cq/HkezzfnqGP53v9fI8X+vr5nl/o6+d7fr7H810voY/ne/18jxf6+vmeX+jr5/7D5rx586K9nbp7pZpP7v24jSff4/n+i2/o4/leP9/jhb5+vufne/2KqS/BxlMxrUaRn4vvXzQcR0NDg1x66aXRt4l093r55Zfl6quvlh/+8Icyc+bMWIo+x/PtGfp4rBeR1F2ApdiI9V2fvusl9PmF7ul7/XyP53v9fI/n2zP08UJfv9Qjddm+RTnzl8zUv3NfeumlDhuOW38R9T2e77/4hj6e7/XzPV7o6+d7fr7Xz/rzqJB5Np4KqRvgZ/tszATI12VKvj1DHM/9AHevmpoaLyXje7zMSYW4fqdyfl4KJmMQ3+vne36+x/PtGeJ4vn+e+R7vVP58CbFefF/jp3L9TuVcCz2277/4hjqeazB390RGIdbQ93ipOYS6fqdqfoWojVL5TDaeSmWlTuF5+v5FkeMlu9ihe7q9LRYtWhTdFfelL31Jrr/++mQBO32a7/FCXz/OL9lypSc9LQK+f575Ho/Xg6Ua9Gzonr7/Ys/x9JqzJHx7ur2B3OOYkydPln/8x3+MddcbMk/f4/n25HhIFZR2ho2n0l4/L2fv+xdFjpfssobu6f5F9cgjj4j7lhm3H1hVVVVBm1C+xwt9/Tg/Xu8WAdaLRUvP+v555ns81oteA5ZE6J6+/2LP8SzVp2d9e27ZskVWrFgRbXNw6NChaF/aQjahfI/n25Pj6TVe6gk2nkp9BT2cv+9fFDlesosaumemltvvy22y6uuXAB/jhb5+nB+vd4sA68WiZcv6+Hnm++c168VWA1o6dE/ff7HneFrF2d737Zl5dmvWrJH/+I//iP4jqHuNHDlSbrnlFrn22msL8jiej/F8e3I8W72XYpqNp1JctVN4ziH+Yur7F2GO5+eWZPcv5d/85jddmlA333xzwX4JKPR4vP6S/eFHT3paBEKvl85/iSr0zzPf44W+fpyf5WrWsz7+Yh9646Kc5peaq3sc9ZlnnpEnn3yySxPqxhtvTHw/Ul/j8XrQf2ZYEr49LedWyCwbT4XUDfyzQ/yLve9fhDneZClUIyj0X3h4/SX7A5ae9LQIhF4v/PlpqQY9G3q9hDw/X3+xD71xUS7zy/xpkKqdH//4x7Jt27boLfco3g033BDdCZX0l+L4GI/XQ7JfZOTbU/+3VWETbDwV1rdsPt1355bjJVtaoXtqv/Dcf//9Mnr06GRRRaS7f6EkPV7o68f5JVua9KRnPgK+fp75/nnN6yGfauj+mJA9ffzFPvTGRTnNL3Ou7jFVdyfUww8/3KEJtXDhwoLche9jPF4PhWlC+WpUJvuTH/s0Np4wJ6ZAgVB/MfX9izDHK0wjqLtfeNxz+DNnzgSrPL9Y5r+gCzUer7/81qa7o+hJT4tA6PXCn5+WatCzoddL6PPz8Rf70BsX5TS/znN9/PHHZdmyZfKLX/zi/2/vbF6uqr44fvoDJBNHJSG9DAIj0XJgNUiofmhIg4w0CaHozQg0tKwcWVmIBYFlUiCRBr1MRKkc6CAQKoqgwkEGotFIyugP6Mf3yHo6nufc83LP2uve+9zPmWTPPWevvT977XX2WXvttZOfhiddTS2P8dBs87vcEc2zS9363IvjqQ89nq0l4PmhrQF45ZVX1oalespTWadPn66NgplkeW1U17N94yivTZ2GvUcJEufNm5d8MlFXv0nuv+jx3qaf4dmG0qV7sJ//RTtq5TKVo3mUjqD22tD9Tuxnv4UQ7Kfv+FPurFtuuaVWkT0/7FXWP//8UytzkuW1sQie7RtHeW3qNMw99u69+uqrk0RRta3TJPdf9HhvwzSaZ5s6DXsPjqdhyfFcKAEd4fv8888n3RtdbJDkffrpp9l3330X0s5oeSGNmjIheuFv3rx5Jpmkmn/VVVdlTz31VLZ161bXvfw6te+nn37KXn311UrKDz30UPbMM8+4bR+Mlhc93jXR+Oqrr/J8Y1U5F1566aXs5ptvzsR1Eq9ontH2LFreJOrAuNcZ++lnr6PH+1y3nzri/dtvv83t/3333ZetXr066XCSvOXLlw98v3sLj5bnXX/KyzKNQS1wWB4pMbn++uuzbdu2uUfz182H5CB5+umns0OHDrnNeaPlRY93bU0+f/78wH5Sfd54441G5/ekjAMcT5PSU2NYT00UFbr5999/V9Zu5cqVbh++5u2VM0iGVR/0KScB7733XrZnz57szJkzIeRTy9NLaenSpdn+/ftz42YT07rGydBt377drf0p9aVNe8oN8W7fbbfdluumHE2LFy/OxZ09ezZ79913s3vvvTf78ssv3ViqvSdOnBhYpl5Uq1atcuu/aHnR4930R3Zl9+7dsyYA3jylCCnHQ1nRonmmtmfl9qWWh/2cbbqwn+3NOfbT930UbT8VgffFF1/ki0q//fZb/kGvBNEPPvhgko9BzW0XLFiQvfPOO+2VrMedqeXJPj/55JPZjz/+mPPS+1QLPXXX119/7fb9IDn2DhwkU6fNXXfddUNRbNOecsGe7VPbbr311lyE5p/aHaJLc0Rx9rbVTfOhK664IvNsX7S86PFu+iO7cvDgwVl6781zKCV3fAjHkyPMaSpKH00aLEXvern95uTw5mL7Xk+ePJlPBCyqxPt0NDkSFP2gl/+wL6QubU8pz1Yhnn322Xy1Tob11KlTtdXzdBym1pc27Sk31rN9WrFYs2bNzMSqKMs+Wm3S1UUnqhwIf/zxR3b48OE8Gk9JysvXL7/8kk/yPMaf9CZSXhWbiPFuETMag+YoLK4wNU18uvZp6vFQV58InpKf0p5VtS+lPOznbOLYz+ZRj/28tD1tLtlPi+6yRVCLKpHjwuuEMnMkpIiWHvSOleMilTzNj95+++2ZubQiqM+dO1c7gPo4gsoFq8/uuuuu7K+//hoos8/8rE17yoI926eIIH0LffPNN7N0UE6/HTt2ZH/++WezwWq4Qxy1BXTLli35+33Dhg2zntDcVHOoPjyt0Gh5Vc2PGO+yj/Pnz88uXryYOwo1Dnft2jXTlzieeqsuBcwFAjK069evz44dO5Y87LiOlz7gZGzlUHn88cfdIjzUPnme61ZlPFcRouVF6+C46EuqdjetaOslvW7dut762TayS5NIRVj1nQhHy2vqn1Tjvdh/cmJqYiWn+osvvphvk3z44YddI8jGZTyk4hltz6LlNemp9+/joi/e7bLysJ8+9rqpf1KN92m1n+bE14f9kSNH3CJ05Eg4fvx47cKuZ0RJtLwmPfX+XVu/xDMiibd33duUV+fY1ZhfuHChSwRS28guOU48ovWi5TWxTjXei/2nd730VZdF3+N4auoZfp8KAk0TxdQQyqelKOrpo48+cnOCtYmg8VzxjZaXun/K5Y9aX1K3tynHjNeKb5sVdM+k5tHyBvVT6vFepZ/62+uvv55XSdsePB3box4PqXlG27NoeantCfbzcgLYz34al3q8T5v9LJ82pagnOTa8IuPbRNB4RsxEy+unzd2f9rIf3SXHPNGUo8vLcdEmAskzqXm0vEG9lXq8l/VT9nrnzp155JgWkbUI6ulojtHKwVLYajfqHphQ+Qqd3bhxY/brr7/2jqpoi2DQ0ZL333//xCb9bdv2FPfJqH/yySfZ999/X1n8pk2b3LhG60v0h2jddjr7zTM6UDx//vnn3hFUbfUqWp7qFTneBzmCVAdFPSmM3TPCMXo8RPNsq1eTfB/20y+HI/bTfyRgP32Z2ni3PE+WZ1Tbje644w5fYVNQmt6BR48ezd/zVZdnMmVFdGme65lns66Loh15luNw0FY7pV64cOGC27ea5ktLlixxW+hvUvdoebnbwKcAABX8SURBVKpP5Hgf5BgtRt/jeGrSEn6fCgIaLFrhKe5FTdVwS06o8uUBfu6557K7777bzZCmqve4liuP+o033pjveVfia53YoqiOG264If+3VvCUP8hzQhWpL01bxEyHPE8ps7DgquTikhd1QuK46lyXeo3beNckZNGiRa72JnI8jBvPLrowjvdiPy+9g7Gf46idWTZu433S7af0XA4nXUoq/sgjj4R9dI+nhvWrlT6o77zzzjw/64oVK/KUFpojKTWA/i3Gr732mlsEmdnrqoND+rWk+ummLWKac3s61qx9qk1VcnEtng06ATlF+ye9zHEb7xovnt9io+4fIp5G3QMTKl8e/b1799buQfeMEJA8nZ4nZ5NXOHMT+sgVbdWlGF1hdbNVNW/nniUctIi1osfdojEU3unFOlpfBvWtHdmt31Unz0tlv/nmm3l4bDGJpSZR+/btc3VaWL2LJ7VoMqMTY1JM8qMjyEYx3m0M6qROXSl5Ro+HUfDEfmI/u9hX7KdfBNkoxvtctp9ayLr22mtDFzsjI4LUd8XoChu3WoD03GJu5erDXomULQKpuBXM8k15LtRZ8m2dSDjoiogo0XztnnvuybZt2zbr5NwutrLq3kHfD3JEpXI6FeeFOtxJjsMUTpLoCLJRjHcbg3boU0qefXWt7/M4nvoSnNLnoz9Eoz+0o1e0i/LkqFi2bFne5B9++CFfafNKFm0cy1uLyqGeSob92GOPub0cR6UvVcPTWHsmAy3Lsb3pKVcpylFd5uhtyjc1jMkaRQRZsZ7SH8/cVVUMInmOajxEOSqxn9jPYeyMPYP97ENv9rPYTx+eUR/a0RFBRXlyCi1evDgHZif3eSWLtl4ozzeLjidLhu1xKprJi3Zc1GmbWK9duzZpmpKI8V6O6jLHXVO+qWFGYnQEWbGO0sfTp09nnrmrqhhE8hymDzyfwfHkSZOykhKI/DCMjggyeSdPnsyjVoqX5b/4+OOP3bY2SN77778/s/1LpyjouFWLAvI6hS2pQvQo3DvZpCXhrnM0eU4GTCfkbNLKSPHUtQjHmqFPHUG2efPmmS0OkqkIwBRHPo8Lzx4q3fgo9hP72agkLW/AfrYE1XAb9tOHY0QpkR+G0RFBkqdooKqTcG3bpn73ioCXPEVTWSSOUjxYFJDnKWwRejGMDK9k3yZbc8s6x4i388S+V3Rynfqy2B5zYv7777/DoOn0TMoIMs0JtfiunR92SWdTRKuNC89O8HvcjOOpBzwejSMQ/WEYHRHUdMpViom+jKhNJuy4bu0F16X99Z7JsOM0pVmSvRj379/vFtFl/ffss8/mSb/LiRflyLMXmMd++3JUU1k/vPWljmoqR5cxq8qZpW1wnolCx4lnswZ3vwP7+b9s1apVbsn4NeHFfmI/u4/E2U9gPz0opi0j+sMwOiKoab7g7SjRfPPll1/Ozpw5k3ecFj71txdeeGEmyt8zGXZa7ehWui0AeUZ0WZTRzTffnJ07d24mTYBqpneVdkxY+gePeX05qqmsH976Ukc4RQSZMZPcqpxZnmlkJGOceHbT5uHuxvE0HDeeKmT9jzgVLfrDMDoiqM542sTUVhe8lE/73vWisgSxevkrP5EZW8nzuqK3FhWTq1a1IcXWxeeff/4yUeYcMUeXXvjnz5/PdMJI39XDNo7RdevWuX1oN+lB08S16fny78pvsWbNmqxqclZ3AlZXOXb/KHhG5kDCft6YYT/bjw7s520Z9rO9vsx1+xn9YRgdEVS38Gnzl75zlqI2WaTfjh078gh//b8Y2+KcZ3S/5EZvtSsmp64aRSm2Liope/Eqpl44cOBAdvDgwezw4cPZ8ePHZxx+7Uf45Xe2cYxG5MyyWnk7uiwn2KBTAqW32iHidY0bT692DSoHx1NqwnO0/OgcHtETm1GsaMvxI7mHDh2aSUQtzjt37sz/7hnhMUgtJU+XkgR6XtE5guS4ePvtty9rwvz58/PcWVdeeWX2wAMPuLbR2mcv26KzSRFQypVgyTKLYeXDMi47ZoovLnPMeKxstalfygiyQTrvvRU0mif20z+iEvvpd8oc9nNpWMQv9rPNW+bye6LtZ/SHYXREkDl+lPi6mIha807lHI1ywkqe13a+osZE5wiy75ViHdQu5c5SknrP00AlQ+1T9JicSpJj81FFjSkNw/Lly/N+te+avtFWZcdM0fFjixZREWupIsgGRUin2Ao6Tjy7W+PuT+B46s6MJ7JLx/XK6xt1Klr0h6E6OWVEUJMjpqxkitDxPr56HBQ5ZY6LyPZVrRjaZFX1OHHixIzj0Cs6SM4XrUJqEqMJhxxammAoak3bgDxPhRlFBETRWVfuSy+GxXKjeWI/h4+oxH5e0lzs5/BWPnq8K9J10JUiAhf76XeqZPSHYeqIoCZHTFlPFb2tCJpy/tHhR994PJkyR1BkC6vmQ+YMeuWVVy7bZu4RHWRb0RYsWJA7JpWaQ1FcujT/9EgnUeQ3iggyc9ZV9aMHw2K50TwjdXMAvyuu+DciC9ioW4p8VwJtIpA8T0VT5SMnioNgeUUEtdl6Vq7DypV+xy2rbEXGyKEgo1d1bdq0yX1lpkqOV44LMb3pppvySCZLplin9J6npInjnj17Lgthtsimv//+O4njadDx45oA7Nq1yzWiKzoCom47XaqIrkie2M9+EZXYz/8sG/ZzuKlN5HjHfvq+j6Lt57h8GHpFBLXZelYeVYoS94xG0pj48MMPs4sXL1YO4ChHl0eOIJtv2uEydthMnWXyPCVNjhk5gSw9RjGySSkgitE7Xk4TyZCDSadu26XDX5Sna/v27cMZ5QFPRUeQ2Xx+0FY7LSJ4R3RF8nTtnCEKI+JpCGg8ciniKfpUtMiJ4lzv42LCQa1mjdLxJNl9I1hsu0JxX3s559KgPlX7i9sbh+l747lixYr8Jf/DDz/kL2TlKtDe+m+//TbTiYW6li7138ZhzkPPieEwHDyfsVXZquTiihDwjOgq1zs1T+ynp6bEl4X9/I859jNe/9pIxH765jicpg/DNvrV5x7bwSBHheZMVVeU40my+zpjyqkWukSUeUQHGU+bKynaUdHwR44cydauXZtHwCttwWeffZbnGPV2mmgxcNGiRa6LnX30q++ztpijcqqSi3v0WV0d5xrPcltxPPXV0Cl9fhQ5kIqoU38YSta4RASlUDG9KF9//fU8meOonRUeOS70ovjggw9mTvNQ35WTLVZxVDSSwoQ9TrjTy1+n2umFrxe98iUo7FiTK/3bVob0/7ZFtU/fqo2K2rL+M31V+Y8++mjSflWfeUaMVXEY5GhWaPe+ffsmepKD/cyyqIjKPmNs0LPYz0tksJ/DaRf2czhu9tSo7WfEh+G4RAT166nqp+WY0dV3wc+jbh45gmy+qXmXIu7Vd8rt2XTZAmXfnEuSY+8knV5ni8maA2uRTpclbvc6Ebi4w0Dlm77edddd7jlUixwtuswzYqyqnwY5muWIKuZBa+pjfp9NAMcTWjE0gZQ5kBQKrGSxdnKAjNzvv/8esvVLQEaxoh19ylUx79DQStDywegcQS2rld/WN9qqTlbRQWrh7R4h6zbxtmTmxeNfrT4ezq3yC3/z5s2zQqv1It66dWtSR5DGxj///JNZKHuX/q26dxy2amE/fbfyYj+/TDoGB4057Gc7a2R5e8pbU7Cf7fiV70ppP23uqXe2Lv1XER1e75+mFo8iIkgyjx49OjD1gmcEUkqbUcU2OkdQU/8Wf+8bbVUnyxykukfRTro8Dtax7zObY5q+asFVC69ezq1i29QWpW8xB5p+k7xt27ZlTzzxRBfkne/1XigYh62unSE4PoDjyREmRV1Kdqqr76lo5T38dce9puAevaIdfUqLOSq0/SsiYWR0josuOqG6XXPNNSEcutSr7l7pZzF5rOmrJgK6brzR//h45VjTS79q61uKiYYXq6pyuianVvsiInSwn8P1OvbT95TOLr2A/WxHC/vp62iuou5lP8uOkWhHSXREkEWd29Y3i5TRPF7/tgTSXtHxFh1elUOn3Wjqdld0jqAutdOirIczqIvMvvdKP4vJt01ftZ3PdEkOKC99KS6sVm19sxQbfdsV9XyXrZg2Jj0dv1HtHCQHx9Ooe2CC5Ecmb5ZHeP369Xnyuttvvz1fiVFOl7feemsgMc/Qy2hHV/QpgYJoqxZKBlh16WM7wik1QUOgtqrRERdFx5MSmWtyaCHA3hPl8qmSRRB1icD79K0+IrRKp+08VZd3sn0xmz9//mXb+OyYaX00WuLOYduE/RyWXPNz2M9mRuN+B/bzR9f3LfZz3tA8FfGk+ZHmRnrPbNmyJT/cZsOGDQOHkR1s4jHOvN/fTXVSRJCSfMtxoKsYhaPIMp2a651TUYxV5rp16yqrZ9vWmurO75cIREesmePJou+PHTuWrV69epb+ePRP+VTJYpn27rfdMR7yVIbaZVFiVWV67Fywcm3hrJyYXe9EbV3U3FNjdK5cOJ7mSk8mbscokjd38Qqr+Z5e7+iIoOhTWsSriW9fnpEf2onVv7H46IgLc/bIMauVJW3fKK4w2Yl6XiHITY5YTco1gfQ6zcQcPsWw6nIneOTlsjI1adu4cWNl7i2PU8Own41DqNcN2M8sec61Xh3U8DD2E/tZpyLR9lPzP+Vl1Du17WXb3tveX3dfdERQ2dFVdDxpbC5cuDDzyENkbW7Dtw/PUZ8y56EDXcqIjlgzZ48cJVoAVV6pM2fO5FUunqjntXBd54g1/eyjL2XW5vBRuwZdnuNBjrXvv/9+xvFblOlx6mIXXYq4F8dTBOU5IGNUyZvtBXL48OHGiCfPFSd1WWREUPQpVxZRJueSVvSqrj48oyeKox5io4i40MtKidEViltcEUkR6lze2lfm7b1Ca/pZXEVL2cdNjrW+7cN+zu49z4hK7Od/fD1OmUs51qrKxn7+77Ijz/vyx35eItg3+b0+ov/4449WEU/e+Z8iI4IUTaF8ORYxXVy4SvFhbxFlmrcod1bV1YfnqE+Z6zt+uz4fHbEmnXj44YfzbZjSm88//3wmulDsDxw4MOOI6tqWqvvLW/vK93jnyZJ+Ksqv2C6Pdgwqo2l+6d2+lG1pUzaOpzaUuKcXgaZB1aZwOyXCK6KijczUEUHFOkSf0tLkSGjDp+6eUX1o9633sM+PIuJiUF2lS0rE7bXaJDl12+nsN08nUZMjaNh+GvScfahVrWLZ6tfu3buTJ7EcNOlatWpVr2gy7Odrmbd+Fre6eusj9vNyR4wiKpVY1iuCs66/sJ/dtXmu20+9j5YsWTKzlag7oW5PpI4IKtdG/ffyyy/POAuKWw3t5LULFy70zt1qcpscCd1ozb57HE6Z69uGLs9HR6zV1a182nKXdgy6VwsTe/bsyapygtnBRd762XfO1aXd5uiqal+dbe0iY5zuxfE0Tr0xR+syiclHU0cEVXV1ylNayvKiQ7m7qLaHo7KLPI97oyMuPOrctQxzxFYlF9eRvZ45IOq2vnWtd5v7i1v7lCtr2bJl+WNnz57NIx91eZ8S2KZeugf72Y4U9vMSJ+xnO32Jvgv7+aub46JL302i/UwdEVTmZycu7tixI1+wKm91//jjj11zzMhWaxujvVu79GfqeycxuiQ6Yi11H1Tppw7M0VWVXFwpJyxaz6NudVvfPMovl2GLm/q7+nLx4sX5Leb0nbTDe5oY4XhqIsTvU0kgdURQW6hep7RUydNEWKdO7Nq1ayQTwkEMJnGiGB2x1lZ/PO+TLr755pvZu+++m+/pt0uOmn379rnrULR+qn07d+7MJ8Pl9tmE3JPnXC4L+zm63sV+jo59nWTs5y3j2TFjWKvUEUFtm6x5jdfJZEWZltNtVFHEde2fxFPmoiPW2uqP533SRTmYlM/ULqWZkCPK0+mkskehn3I+aTyU2ydH1Lh9o/XtVxxPfQny/JwkMM4RQR7A9aLau3dvVpe8uW9ycY96TlIZkREXo+ail6S28/XJw1DXBvRz1D3cTz720/ewi369MRlPYz/9+gn76cdyFCWNc0SQBw87pawuebtnsmiPOo9zGdERa6NmoTym8+YNf2plU/3RzyZC/X7H8dSPH0/PYQLREReRKGW4T506VSvS+7j6yPaNi6yUEWvj0sYU9UA/U1CNLRP7uTKZYza2J0cnDfs5HHvs53DcxuWpUURcRLZdjtFz587VivQ8rj6ybeMkK1XE2ji1MUVd0M8UVP8rE8dTWr6UPqEEWDGc0I6j2hCAwMgJYD9H3gVUAAIQmFACRFxMaMdRbQhAoJEAjqdGRNwwjQRYMZzGXqfNEICABwHspwdFyoAABKaRABEX09jrtBkC00EAx9N09DOthAAEIAABCEAAAhCAAAQgAAEIQAAC4QRwPIUjRyAEIAABCEAAAhCAAAQgAAEIQAACEJgOAjiepqOfaSUEIAABCEAAAhCAAAQgAAEIQAACEAgngOMpHDkCIQABCEAAAhCAAAQgAAEIQAACEIDAdBDA8TQd/UwrIQABCEAAAhCAAAQgAAEIQAACEIBAOAEcT+HIEQgBCEAAAhCAAAQgAAEIQAACEIAABKaDAI6n6ehnWgkBCEAAAhCAAAQgAAEIQAACEIAABMIJ4HgKR45ACEAAAhCAAAQgAAEIQAACEIAABCAwHQRwPE1HP9NKCEAAAhCAAAQgAAEIQAACEIAABCAQTgDHUzhyBEIAAhCAAAQgAAEIQAACEIAABCAAgekggONpOvqZVkIAAhCAAAQgAAEIQAACEIAABCAAgXACOJ7CkSMQAhCAAAQgAAEIQAACEIAABCAAAQhMBwEcT9PRz7QSAhCAAAQgAAEIQAACEIAABCAAAQiEE8DxFI4cgRCAAAQgAAEIQAACEIAABCAAAQhAYDoI4Hiajn6mlRCAAAQgAAEIQAACEIAABCAAAQhAIJwAjqdw5AiEAAQgAAEIQAACEIAABCAAAQhAAALTQQDH03T0M62EAAQgAAEIQAACEIAABCAAAQhAAALhBHA8hSNHIAQgAAEIQAACEIAABCAAAQhAAAI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yB1P4VIRCAEIQAACEIAABCAAAQhAAAIQgAAEIDAVBP4PSUvMkZPYWOAAAAAASUVORK5CYII="/>
          <p:cNvSpPr>
            <a:spLocks noChangeAspect="1" noChangeArrowheads="1"/>
          </p:cNvSpPr>
          <p:nvPr/>
        </p:nvSpPr>
        <p:spPr bwMode="auto">
          <a:xfrm>
            <a:off x="153095" y="152786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AutoShape 3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5/z418Mk19Frl+ypvSkp0WA9WLR0rP01I0sCXpatPQsPXUjS4KeFi09S0/dyJKgp0VLz/r21M8o0MbTT3/6U/nUpz4Vze5Pf/qT3HrrrdG+T5mv1J+3tbXf5cJX9wK+C9fneMt//7qs3X4wmvyZp1XKgq/Wyjl9eha0HHzOz02E4yW7nPSkp0WA9WLR0rP01I0sCXpatPQsPXUjS4KeFi09S0/dyJKgp0VLz9JTN7IkfHtazi1btmTveLJMnI0nXct34foab/v+o7Lo6T1pgFlfGCBX1fXVQWImfM0vdZocL+aCdTqcnvS0CLBeLFp6lp66kSVBT4uWnqWnbmRJ0NOipWfpqRtZEvS0aOlZeupGloRvT8u5BdN4WrVqlezduxea+6BBg2TKlClQ1ndo9uzZ0tjYGA07dOhQaWpqSp+Cm+PUqVPT/7xz506pra0V9w1+Luteixcv7vBNfnV1dfLoo4+mv+3PMh/fhetjvPc+PC5zf9EsB4+2RhSjhpwlt18z0MKSdxaZ38Hvfcb0+dU/+F/d5pHxTIMpYY6XpCbvWEtWk570tAnw55nNS0vTUxOyvU9Pm5eWpqcmZHufnjYvLU1PTcj2Pj1tXoVOl+QdT4VG8fH5bkN0tznz0qVLo+EmTpwYNZbcP6c2S081m5YsWSLLli2LGlOuWTV27NiomeY2WU/dzeX+fPDgwR0aUZZ5hHhhPvjbffLCrnfaGY4dkWX/18joUTsfL8STjSd8JRBP/NP0JMfTjSwJelq09Cw9dSNLgp4WLT1LT93IkqCnRUvP0lM3siToadHSs/TUjSwJelq0Cp9l46nwxtAIrrm0YcMGWbt2rbj/vXv37nRTyn1A6pv87r33Xpk3b150V5O7w8k1o9zdUe5OJ3dsvq/QLsznmg5L47P70xwn/vBzWfGTBfnymI9DPNl4wlkRT/zT9CTH040sCXpatPQsPXUjS4KeFi09S0/dyJKgp0VLz9JTN7Ik6GnR0rP01I0sCXpatAqfZeOp8MbQCO6OJfdydzy5u5/GjRvX5TE613TatGlTlzueMu98ggbLEgrpwnzrSKs0PNEs7lE795o4vFrWPPid6A4zXy/Ek40nfDUQT/zT9CTH040sCXpatPQsPXUjS4KeFi09S0/dyJKgp0VLz9JTN7Ik6GnR0rP01I0sCXpatAqfZeOp8MbqCKl9m1KP1uVqPI0aNSq9x9PKlSujO53cHVDTp08Xd/ysWbM63CmlDv7fgVAuzOMn2mTR03tlx9+ORjMbWHW6zL+hVr71zZvYeEKLAciFUi/dTZXzA4rAEKGnAQuI0hNAMkToacACovQEkAwRehqwgCg9ASRDhJ4GLCBKTwDJEKGnActDlI0nD8jaEO6ROXc3U2oT9FyNp8yN0t0jeZmv+vr66PG79evXR/tFWV7uwgzhVXHR56Vi6DXtU2k7ISe2PiLy7htFObV/rfuz6bz+uenvTHmGKUABClCAAhSgAAUoQAEKUCBMAZ9P9MQVZOMprmDM412jaMaMGR0eq8t87C718e5xutQdUe7P3Abkrlnl9nXK3HDcNa1Se0BZTi2EjvCelg/ke7/cJe6uJ/eaevl5MunSmuh/F+P8+KgdXqHFuH742etJzk83siToadHSs/TUjSwJelq09Cw9dSNLgp4WLT1LT93IkqCnRUvP0lM3siRC97RYZMuy8RRXMMbx2ZpOqabSmDFj0o2mzG+1Sw2X2YhK3fkU944nnx3TpC/M1uNtcs+TzbLv0LGIaNgFvWXudYOkskcFG08xarS7Q5NeP+0UOZ4mZHufnjYvLU1PTcj2Pj1tXlqanpqQ7X162ry0ND01Idv79LR5aWl6akK29+lp89LSvj2189HeZ+NJEyrQ++6b6KZOndrl01N3Nblm0pw5c9Lvt7W138XjXu6uJrenU+Zjd64R5V7lusfT8t+/Lmu3H4wMzjytUhZ8tVbO6dMzbeb7wkTG4x1P+MWFeOKfpic5nm5kSdDToqVn6akbWRL0tGjpWXrqRpYEPS1aepaeupElQU+Llp6lp25kSdDTolX4LBtPhTcuiRFK+cLcvv+oLHp6T9p51hcGyFV1fTu4F+P82HjCL41iXD/87PUk56cbWRL0tGjpWXrqRpYEPS1aepaeupElQU+Llp6lp25kSdDToqVn6akbWRKhe1ossmXZeIorGMjxpXqhvPfhcZn7i2Y5eLQ1WolRQ86S268Z2GVVinF+bDzhF08xrh9+9nqS89ONLAl6WrT0LD11I0uCnhYtPUtP3ciSoKdFS8/SUzeyJOhp0dKz9NSNLInQPS0WbDzF1Qr4+FK9UB787T55Ydc70cpU9+4pi75WGz1q1/lVjPNj4wm/oIpx/fCz15Ocn25kSdDToqVn6akbWRL0tGjpWXrqRpYEPS1aepaeupElQU+Llp6lp25kSYTuabFg4ymuVsDHl+KF8lzTYWl8dn96VeZed5EMH9A76yoh8/PdCPI9XpLli3hyPFyAnrgVkqQnooRn6IlbIUl6Ikp4hp64FZKkJ6KEZ+iJWyFJeiJKeIaeuBWSDN0TMciV4aN2cQUDOb7ULpS3jrRKwxPN4h61c6+Jw6tl2hXnd7sayPx8N4J8j5dkqSKeHA8XoCduhSTpiSjhGXriVkiSnogSnqEnboUk6Yko4Rl64lZIkp6IEp6hJ26FJEP3RAzYeIqrVAbHl9KFcvxEmyx6eq/s+NvRaGUGVp0u82+olZ6V7d/sl+2FzM93I8j3eEmWMeLJ8XABeuJWSJKeiBKeoSduhSTpiSjhGXriVkiSnogSnqEnboUk6Yko4Rl64lZIMnRPxCBXhnc8xRUM5PhSulCe+mOLrHz+jUi+skeF/OArQ+Siml45VwKZn+9GkO/xkixVxJPj4QL0xK2QJD0RJTxDT9wKSdITUcIz9MStkCQ9ESU8Q0/cCknSE1HCM/TErZBk6J6IARtPcZXK4PhSuVD2tHwg3/vlLnF3PbnX1MvPk0mX1qgrhMzPdyPI93gqkiGAeBo+To1yPJXIFKCniUsN01MlMgXoaeJSw/RUiUwBepq41DA9VSJTgJ4mLjVMT5XIFKCniUsN+/ZUT0gJ8I6nuIKBHO+7cLONd8eqv8iBd1vzFu338Z7ywJRPZD0emZ/vRpDv8fKGzXIg4snxcAF64lZIkp6IEp6hJ26FJOmJKOEZeuJWSJKeiBKeoSduhSTpiSjhGXriVkgydE/EIFeGjae4goEcXwwXyrSHX4mtufyWS9h4iq2of0Ax1It+lvknOL/87bIdSU96WgRYLxYtPUtP3ciSoKdFS8/SUzeyJOhp0dKz9NSNLAl6WrT0rG9P/YxyJ9h4iisYyPG+CzfbeDN/9qocPdb+LXX5vHqfXikPffPirIci8/N9B5Lv8fIx7e4YxJPj4QL0xK2QJD0RJTxDT9wKSdITUcIz9MStkCQ9ESU8Q0/cCknSE1HCM/TErZBk6J6IQa4MG09xBQM5vpgvlDfe+VAanmiWD1pPRNpjP3m2zBjb3ySPzM93I8j3eCYwJYx4cjxcgJ64FZKkJ6KEZ+iJWyFJeiJKeIaeuBWSpCeihGfoiVshSXoiSniGnrgVkgzdEzFg4ymuUhkcX6wXims2ff9Xu2TfoWPRKrhvr7vnS4OlV88eplVB5ue7EeR7PBMYG0+yYsWKJMlyfhZSn0meDMdLUlOEnvS0CLBeLFp6lp66kSVBT4uWnqWnbmRJ0NOipWfpqRtZEqF7WiyyZXnHU1zBQI4v1gul8dn98lzT4Uj5zNMqZf4NQ+S8s04zqyPz890I8j2eGS3HAYgnx8MF6IlbIUl6Ikp4hp64FZKkJ6KEZ+iJWyFJeiJKeIaeuBWSpCeihGfoiVshydA9EYNcGTae4goGcnwxXijPvHJQ/v13r6eF7xx/oVw2qE9e4sj8fDeCfI+XF1w3ByGeHA8XoCduhSTpiSjhGXriVkiSnogSnqEnboUk6Yko4Rl64lZIkp6IEp6hJ26FJEP3RAzYeIqrVAbHF9uF0vTm+zL/N7vl+Im2SP+Gy/rJjZ89N++VQObnuxHke7y88bIciHhyPFyAnrgVkqQnooRn6IlbIUl6Ikp4hp64FZKkJ6KEZ+iJWyFJeiJKeIaeuBWSDN0TMWDjKa5SGRxfTBfK4fc/knue3CUHj7ZG8sMH9JbvThgklT0q8l4JZH6+G0G+x8sbj42nJOmyfhZSn0meBMdLUpN7PCWrSU962gT488zmpaXpqQnZ3qenzUtL01MTsr1PT5uXlg7dU5u/9j4ftdOEyuT9YrlQ3B1OP1q3V7bvPxrJV/fuKQu+Wit9elXGWglkfr4bQb7HiwXY6WDEk+PhAvTErZAkPRElPENP3ApJ0hNRwjP0xK2QJD0RJTxDT9wKSdITUcIz9MStkGTonohBrgwbT3EFAzm+WC6U1VvflF+/fCBSdXc4ff/Lg2VIvzNiKyPz890I8j1ebMSMD0A8OR4uQE/cCknSE1HCM/TErZAkPRElPENP3ApJ0hNRwjP0xK2QJD0RJTxDT9wKSYbuiRiw8RRXqQyOL4YL5cU9R+T+Z/6a1v72VRfINcOqEtFH5ue7EeR7vEQg//tDEE+OhwvQE7dCkvRElPAMPXErJElPRAnP0BO3QpL0RJTwDD1xKyRJT0QJz9ATt0KSoXsiBmw8xVUqg+NP9YXyxjsfSsMTzfJB64lIe+wnz5YZY/snJo/Mz3cjyPd4iWEK92BJ0tJ9FlKfSY7J8ZLU5Polq0lPetoE+PPM5qWl6akJ2d6np81LS9NTE7K9T0+bl5YO3VObv/Y+H7XThMrk/VN5obhm0/d/tUv2HToWaV9U00vu+dJg6dWzR2L6yPx8N4J8j5cYJhslSVJGn4XUZ5KDcrwkNbl+yWrSk542Af48s3lpaXpqQrb36Wnz0tL01IRs79PT5qWlQ/fU5q+9z8aTJlQm75/KC6Xx2f3yXNPhSPrM0ypl/g1D5LyzTktUHpmf70aQ7/GSBEU8OR4uQE/cCknSE1HCM/TErZAkPRElPENP3ApJ0hNRwjP0xK2QJD0RJTxDT9wKSYbuiRjkyrDxFFcwkONP1YXyzCsH5d9/93pa8c7xF8plg/okrorMz3cjyPd4SaIinhwPF6AnboUk6Yko4Rl64lZIkp6IEp6hJ26FJOmJKOEZeuJWSJKeiBKeoSduhSRD90QM2HiKq1QGx5+KC+UHDzwi83+zW46faIuEb7isn9z42XMLoo3Mz3cjyPd4ScIinhwPF6AnboUk6Yko4Rl64lZIkp6IEp6hJ26FJOmJKOEZeuJWSJKeiBKeoSduhSRD90QM2HiKq1QGx/u+UG769gypGf9dOXi0NdIdPqC3fHfCIKnsUVEQbWR+vhtBvsdLEhbx5Hi4AD1xKyRJT0QJz9ATt0KS9ESU8Aw9cSskSU9ECc/QE7dCkvRElPAMPXErJBm6J2LAxlNcpTI43ueF4u5w+taP14hUDYlkq3v3lAVfrZU+vSoLJo3Mz3cjyPd4SeIinhwPF6AnboUk6Yko4Rl64lZIkp6IEp6hJ26FJOmJKOEZeuJWSJKeiBKeoSduhSRD90QM2HiKq1QGx/u8UFZvfVN+/fKBSNXd4fT9Lw+WIf3OKKgyMj/fjSDf4yUJjHhyPFyAnrgVkqQnooRn6IlbIUl6Ikp4hp64FZKkJ6KEZ+iJWyFJeiJKeIaeuBWSDN0TMWDjKa5SGRzv60J5cc8Ruf+Zv6ZFv33VBXLNsKqCCyPz890I8j1eksiIJ8fDBeiJWyFJeiJKeIaeuBWSpCeihGfoiVshSXoiSniGnrgVkqQnooRn6IlbIcnQPREDNp7iKpXB8T4ulDfe+VAanmiWD1pPRKJjP3m2zBjbv1td342Z0MdLsox91Evm+XK8JFdPhJ70tAiwXixaepaeupElQU+Llp6lp25kSdDToqVn6akbWRL0tGjp2dA9dYHciQr3amtra/9aMb7KVqDQF4prNn3/V7tk36Fj7cbvviEP3/b30qtnDzaewKqr/sH/6jZZ6PXrPDDHAxcNjNEThAJj9AShwBg9QSgwRk8QCozRE4QCY/QEocAYPUEoMEZPEAqM0ROEAmOhe4IM3cbYeIorGMjxhb5QGp/dL881HY60zjytUt79nw/Kikd+klMv9DuQfM8vyVItdL2w0ZXkanX9LK5fsr70pKdFgPVi0dKz9NSNLAl6WrT0LD11I0uCnhYtPUtP3ciSCN3TYpEty8ZTXMFAji/khfLMKwfl33/3elrqzvEXyo/mzpQVK1aw8WSoH97xlLteDJRqtJDXQ7bBOZ66JKYAPU1capieKpEpQE8Tlxqmp0pkCtDTxKWG6akSmQL0NHGpYXqqRKZA6J4mjCxhNp7iCgZyfKEulKY335f5v9ktx0+0P815w2X95MbPngvtMeP7jqDQx0uyVAtVL92dI8dLcvW4x1OymvSkp02AP89sXlqanpqQ7X162ry0ND01Idv79LR5aWl6akK290P3tGl0TbPxFFcwkOMLcaEcfv8juefJXXLwaGukNHxAb/nuhEFS2aOCjScR8d3oSrJUC1Evuc6P4yW5emyUJKtJT3raBPjzzOalpempCdnep6fNS0vTUxOyvU9Pm5eWpqcmZHs/dE+bBhtPcb0SP3727NnS2NgomzdvltGjR6c/f9WqVTJ16tT0P+/cuVNqa2ulublZhg4dGv354sWLpb6+Pp2pq6uTRx99tMPnoCec9IXi7nD60bq9sn3/0egUqnv3lAVfrZU+vSqjf0bG892YCX08tBaQHLJ+yOegGY6HSmE5emJOaIqeqBSWoyfmhKboiUphOXpiTmiKnqgUlqMn5oSm6IlKYTl6Yk5oyrcnel7d5XjHU1zBGMdXVFTIypUrowZTZuNpy5YtMmbMGEk1m5YsWSLLli2TpqYmcY2qsWPHypQpU8Qdn/pCQvfngwcP7tCIspxa0oW7euub8uuXD0Sn4O5w+v6XB8uQfmekTwkZL/RGkO/5WepByyLrp32G5X2OZ9HSs/TUjSwJelq09Cw9dSNLgp4WLT1LT93IkqCnRUvP0lM3siToadHSs/TUjSwJ356Wc8uWZeMprmACx7sGUmbjyTWadu/eLUuXLk1/eipz7733yrx586K7mtwdTq4Z5e6Ocnc6rV27Nu+zSbJwX9xzRO5/5q/pc/n2VRfINcOqOpwbMp7vxkzo4+VdHFkORNaP4+EC9MStkCQ9ESU8Q0/cCknSE1HCM/TErZAkPRElPENP3ApJ0hNRwjP0xK2QZOieiEGuDBtPcQUTOL5z42nixIkybty4Lo/RuabTpk2butzxlHnnU76nk9SF8sY7H0rDE83yQeuJ6FTGfvJsmTG2f5fTQsYLvRHke3751ka245D143i4AD1xKyRJT0QJz9ATt0KS9ESU8Aw9cSskSU9ECc/QE7dCkvRElPAMPXErJBm6J2LAxlNcpQIfb2k8jRo1Kr3Hk3tMz93p5O6Amj59evRo3qxZszrcKYWeehIXims2ff9Xu2TfoWPRsBfV9JJ7vjRYevXswcZTloVg4wmtTmxPMPzT9GQS14M+yskEx7No6Vl66kaWBD0tWnqWnrqRJUFPi5aepaduZEnQ06KlZ+mpG1kS9LRo6dnQPXWB3Ane8RRXMIHjLY0nt7dT6uUeyct8uY3G3eN369evjzYit7zchRL3VXHJV6Ti/EvbP+ajY3Ji68Mi7x/K+2P/te7PpmP/uenvTPnO4dDHi4XDgylAAQpQgAIUoAAFKEABClCgaARWrFhRNOeinQgbT5qQh/c7N57cRuHu1XmPp9Rm4+49twG5e/TO7euUueG4e0wvtQeU5dTjdmifeeWg/PvvXk8Peef4C+WyQX26PQVkPN93BIU+nqUetCyyftpnWN7neBYtPUtP3ciSoKdFS8/SUzeyJOhp0dKz9NSNLAl6WrT0LD11I0uCnhYtPUtP3ciS8O1pObdsWTae4gomcHznxlOub7VLDeeOyfzWO/fnce94yrdj2vTm+zL/N7vl+Im26PRuuKyf3PjZc3PKIBdK6I0g3/NLoFTTH4GsH8fDBeiJWyFJeiJKeIaeuBWSpCeihGfoiVshSXoiSniGnrgVkqQnooRn6IlbIcnQPRGDXBk2nuIK5nl8c3Nzeq+mzI/IbCbNmTMn/VZbW3tTx73cXU1uT6fMx+5cI8q9fO/xdPj9j+SeJ3fJwaOt0fjDB/SW704YJJU92s+nuxdyYfpuzIQ+Xp6lmvUwZP04Hi5AT9wKSdITUcIz9MStkCQ9ESU8Q0/cCknSE1HCM/TErZAkPRElPENP3ApJhu6JGOTKsPEUVzCQ47NdKHes+osceLe9oZTPq9/He8oDUz6Rd+Mi9EaQ7/nls4bdHRP6D1bOL8lq4ebwyWrSk542Af48s3lpaXpqQrb36Wnz0tL01IRs79PT5qWl6akJ2d737Wk7u65pNp7iCgZyfLbCnfbwK7Fnt/yWS9h46kaRjSe8vHz/YOV4+NogSXoiSniGnrgVkqQnooRn6IlbIUl6Ikp4hp64FZKkJ6KEZ+iJWyFJeiJK/jJsPPmzLuqRsl2YM3/2qhw9djzv8+59eqU89M2L2Xhi4ynvGkodyH9xxCbs8AH0pKdFgPVi0dKz9NSNLAl6WrT0LD11I0uCnhYtPUtP3ciSoKdFS8+G7qkL5E6w8RRXMJDj87lQ3DfZPbbtLRn/qSp1M/HOTMh4vu8ICn28JEsVWT+OhwvQE7dCkvRElPAMPXErJElPRAnP0BO3QpL0RJTwDD1xKyRJT0QJz9ATt0KSoXsiBrkybDzFFQzk+GK8UEJvBPmeX5KlWoz1wvnhAlw/3ApJ0hNRwjP0xK2QJD0RJTyhrr9XAAAgAElEQVR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L8YLJfRGkO/5JVnGxVgvnB8uwPXDrZAkPRElPENP3ApJ0hNRwjP0xK2QJD0RJTxDT9wKSdITUcIz9MStkKRvT+Sc2HiKq1QGx/suXGQ8342Z0MdLsoyR9eN4uAA9cSskSU9ECc/QE7dCkvRElPAMPXErJElPRAnP0BO3QpL0RJTwDD1xKyQZuidiwMZTXKUyOL4YL5TQG0G+55dkGRdjvXB+uADXD7dCkvRElPAMPXErJElPRAnP0BO3QpL0RJTwDD1xKyRJT0QJz9ATt0KSvj2Rc2LjKa5SGRzvu3CR8Xw3ZkIfL8kyRtaP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+kUHL9lyxYZM2ZMeuTNmzfL6NGjo3+uqKiI/v+sWbNk6dKl6czEiRNl+vTpMmXKFPMZIxdK6I2Z0OdnLoocByD1wvFwAXriVkiSnogSnqEnboUk6Yko4Rl64lZIkp6IEp6hJ26FJOmJKOEZeuJWSDJ0T8QgV6bCvdra2trifhCPT06gublZhg4dKqlm06pVq2Tq1KnilmnJkiXRQPX19VJXVyfr16+X2tra6M93797doRFlOSPkQgm9MRP6/Cz1oGWRetE+w/I+x7No6Vl66kaWBD0tWnqWnrqRJUFPi5aepaduZEnQ06KlZ+mpG1kS9LRo6Vl66kaWhG9Py7lly7LxFFewAMe7RtOjjz4qa9euTX+6azLde++9smnTJhk7dmx0V5O7w8nd8fTaa69Fdzo1NTXlfTZI4YbemAl9fnkXR5YDkXrheLgAPXErJElPRAnP0BO3QpL0RJTwDD1xKyRJT0QJz9ATt0KS9ESU8Aw9cSskGbonYpArw8ZTXMECHD979uzoUzs/Rjdu3Lj0aJl3PI0fPz5951O+p4NcKKE3ZkKfX761ke04pF44Hi5AT9wKSdITUcIz9MStkCQ9ESU8Q0/cCknSE1HCM/TErZAkPRElPENP3ApJhu6JGLDxFFfJ8/G5Gk+u4ZTa42nx4sXR43XuDih3h9S6detkwoQJHe6UQk8duVBCb8yEPj+0FpAcUi/I56AZjodKYTl6Yk5oip6oFJajJ+aEpuiJSmE5emJOaIqeqBSWoyfmhKboiUphOXpiTmjKtyd6Xt3leMdTXMECHK81nlJDukfyUo/euf/v7pByj9/NmzcvvRE5enpuM/Nzzz0XjTNHAQpQgAIUoAAFKEABClCAAhSgwCkQePPNN81/5z8Fp5keko2nU6nfzdhuo/ANGzZ02ePJ3dWU+mY7twG5e8TO7euUueG4a1ql9oAqwqnxlChAAQpQgAIUoAAFKEABClCAAhQoIwE2nopwsXN9q13qdN1m46lGVOrOpzh3PBUhA0+JAhSgAAUoQAEKUIACFKAABShAgRIXYOOpSBfQNZOmTp2aPrudO3dKbW1t9M/urqbBgweL2+8psxHlMvnu8VSkDDwtClCAAhSgAAUoQAEKUIACFKAABUpYgI2nEl48njoFKEABClCAAhSgAAUoQAEKUIACFChmATaeinl1eG4UoA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WK9NxWrVolTz75pOzcuVO2bduWPsuRI0fK5z73OfnGN74ho0ePTuzsOR49LcXEemG9FHO9IOfmanjgwIGJ/hzNNS7HQ1YFz9ATt0KS9ESU8Aw9cSskuWTJErnxxhultrYWicfOcLzYhB0+gJ70tAiEXi8Wi3yybDzlo1bGx8yePVsaGxsjgQkTJnSRWLduXfRnK1eulClTpsSW4nj0tBQR64X1Usz1gp7bxIkTZdy4cVJfX48eEivH8WLxdTmYnvS0CLBeMK0tW7bI9OnTo//o6V6TJ0+Wu+66S0aMGNHhA5LyfOihh6LPP3TokFRVVUW/086fP19qamo6jFdRUSGbN2+O/R8KOF47Kz2x64H1wnrBKqW4Umw8Fdd6FPXZvPzyy/LpT39aFi9e3O1fiFpaWuSee+6JmlPul4M4/wWI44nQE78kWC+sF7xaRHzXi+XckvqLEzomx0OlsBw9MSc0RU9UCsuVomdzc7O4u+pdE8j9R0/3u1HqjvvO/6EzifmtWbNGJk2aFDWcRo0aJU1NTdHvtO6fN27c2KHZlUSjhOOdbB7SU7+OWS+sF71KijPBxlNxrktRnpW7vfCxxx6TrVu3qudXV1cn3/3ud2XmzJlqtrsAxzspQ0+9jFgvrBe9Sk4mTkW9zJkzBz7FXA1+5EPc/DjeSSl65q4a1ktHH9ZLcdWLu7vj1ltvlZdeeind9HHNKHeXs7vTftasWbJ06dLopJNoPLm7m1xj6/nnn0/f4ZR5x1VmsyuJRgnHO/mUBD31f8OzXlgvepUUZ4KNp+Jcl6I8K/eL6YYNG2Tt2rXq+SXxL36Od5KZnmrJCeuF9aJXScfGk8+fZ6n/QukeD/nMZz6T81SXLVsmM2bMiPWoHcc7SUxP/cpgvbBe9Co5mfBdL7n+/Z5qmqaaT0n8vtTdZ7g7rW677TZZvXp1ekuJJBolHI+eluuP9cJ6sdRLMWXZeCqm1Sjyc0n9opH5X5yynXLqEZa4+zxxvHZdemIXBuuF9YJVSnvKd724Md0vi2effba4zX1zvZL4ixPHS7YRS096Wn6+sF6SrRd3x9PDDz/c7R337mfq1KlTozuf3J1QcffIc3eUDB06VBYsWJB12VP7Sbrfc924cfd44njt+8fSE/spw3phvWCVUnwpNp6Kb02K+ozct9a524/dv9zdho6f+tSn0uf7pz/9KWqSuF8AqqurO9yinO+kOB49LbXDemG9FHO9pJrI2v53STWeOF57NdATuypYL6wXrFI6/kcOHz/PXDPJNYJyjZVqPrmzi/uopPusefPmRXs7dffK/DKTuI0njifRY5OpLy+iZ+4rkfXCerH8rC6mLBtPxbQaJXAu7jbj++67L/qXg9vkMdvLPUqycOHCWBuLpz6X47V/cws9sYuD9cJ6wSqlPeW7XtyY7k6ryy+/vMs3I2Wet2sA9OnTJ5GfoRyv/a5RemJXBuuF9YJVSnvKZ700NDTIpZdemvMbk921fvXVV8sPf/jDWHuMph6py/ateZk+qWaX9iSAZsrx2oXoqVXKyd9d3COfrM/2Ox15/WF1UwwpNp6KYRVK9Bzcv+CPHDnS4exHjx5dsNlwvGRp6UlPiwDrxaLFLAUoQAEKUIACFKAABSiQEmDjibUQhID7ryQDBw6UQja+Ov9XLp/jBbFIRTQJ1ksRLUYJnIrvevFN4nt+vsfz7Rn6eL7Xz/d4oa+f7/mFvn5uc/Mbb7wxkTtUkbXxPR5yTszgAr7Xz/d4uASTiEBo68fGE7LqzJgFkvpFI/Pra91JuMfOst1amtQeHr7HQ2GT8gx9PN/r53u80NfP9/xCXz/f8/M9nu96CX083+vne7zQ18/3/EJfP7ehuft9020rUVVVFT3iN3/+/C6PSSfxrXZu7XyPh9aL77/4lup4vtfP93isl3aBpOqzWNcPXed8c2w85StXpsf5/EXDbSY5cuTI6F/6EyZMiPZjcRubu1fnb8xLovHkezw3D5+eoY/ne/18jxf6+vmeX+jr53t+vsfzXS+hj+d7/XyPF/r6+Z5f6OuX+tZT13AaNWpUtMm429jc/fPGjRujL9dJvZJoPPke71Q0unz/RdvneL7Xz/d4rJeTf+kv1eu9WNoWbDwVy0qUwHn4/kXD/Uvj1ltv7bBpnDsH980X69ati75Zb+nSpZFcEo0n3+P59gx9PN/r53u80NfP9/xCXz/f8/M9nu96CX083+vne7zQ18/3/EJfP3d3k/sPnc8//3z6DqfM/1CY+R8/k/iLqO/xfDcuQh/P9/r5Hi/09fM9P9/rV0wtBjaeimk1ivxcfP+i4W5n3LBhg6xdu7aLjHtvzpw56eZTEo0n3+P59gx9PN/r53u80NfP9/xCXz/f8/M9nu96CX083+vne7zQ18/3/EJfv+5+p0x9+9zq1avTd94n0XjyPZ7vv/iGPp7v9fM9Xujr53t+vtevmNoLbDwV02oU+bmcil80Hn74Ydm6dWtWmdTXrro7n9x/7Rs3bpzU19fnreh+cfM5nm/P0MfzvX6+xwt9/XzPL/T18z0/3+P5rpfQx/O9fr7HC339fM8v9PVzfxEdOnSoLFiwIOvvlO7O+8bGxqj55L7OffPmzbG+3Mb3eL7/4hv6eL7Xz/d4oa+f7/n5Xr+8/2JcgAPZeCoAaqgf6fsXDddMcv/id8/V19bW5mw+uTcXL14cq/HkezzfnqGP53v9fI8X+vr5nl/o6+d7fr7H810voY/ne/18jxf6+vmeX+jr5/7D5rx586K9nbp7pZpP7v24jSff4/n+i2/o4/leP9/jhb5+vufne/2KqS/BxlMxrUaRn4vvXzQcR0NDg1x66aXRt4l093r55Zfl6quvlh/+8Icyc+bMWIo+x/PtGfp4rBeR1F2ApdiI9V2fvusl9PmF7ul7/XyP53v9fI/n2zP08UJfv9Qjddm+RTnzl8zUv3NfeumlDhuOW38R9T2e77/4hj6e7/XzPV7o6+d7fr7Xz/rzqJB5Np4KqRvgZ/tszATI12VKvj1DHM/9AHevmpoaLyXje7zMSYW4fqdyfl4KJmMQ3+vne36+x/PtGeJ4vn+e+R7vVP58CbFefF/jp3L9TuVcCz2277/4hjqeazB390RGIdbQ93ipOYS6fqdqfoWojVL5TDaeSmWlTuF5+v5FkeMlu9ihe7q9LRYtWhTdFfelL31Jrr/++mQBO32a7/FCXz/OL9lypSc9LQK+f575Ho/Xg6Ua9Gzonr7/Ys/x9JqzJHx7ur2B3OOYkydPln/8x3+MddcbMk/f4/n25HhIFZR2ho2n0l4/L2fv+xdFjpfssobu6f5F9cgjj4j7lhm3H1hVVVVBm1C+xwt9/Tg/Xu8WAdaLRUvP+v555ns81oteA5ZE6J6+/2LP8SzVp2d9e27ZskVWrFgRbXNw6NChaF/aQjahfI/n25Pj6TVe6gk2nkp9BT2cv+9fFDlesosaumemltvvy22y6uuXAB/jhb5+nB+vd4sA68WiZcv6+Hnm++c168VWA1o6dE/ff7HneFrF2d737Zl5dmvWrJH/+I//iP4jqHuNHDlSbrnlFrn22msL8jiej/F8e3I8W72XYpqNp1JctVN4ziH+Yur7F2GO5+eWZPcv5d/85jddmlA333xzwX4JKPR4vP6S/eFHT3paBEKvl85/iSr0zzPf44W+fpyf5WrWsz7+Yh9646Kc5peaq3sc9ZlnnpEnn3yySxPqxhtvTHw/Ul/j8XrQf2ZYEr49LedWyCwbT4XUDfyzQ/yLve9fhDneZClUIyj0X3h4/SX7A5ae9LQIhF4v/PlpqQY9G3q9hDw/X3+xD71xUS7zy/xpkKqdH//4x7Jt27boLfco3g033BDdCZX0l+L4GI/XQ7JfZOTbU/+3VWETbDwV1rdsPt1355bjJVtaoXtqv/Dcf//9Mnr06GRRRaS7f6EkPV7o68f5JVua9KRnPgK+fp75/nnN6yGfauj+mJA9ffzFPvTGRTnNL3Ou7jFVdyfUww8/3KEJtXDhwoLche9jPF4PhWlC+WpUJvuTH/s0Np4wJ6ZAgVB/MfX9izDHK0wjqLtfeNxz+DNnzgSrPL9Y5r+gCzUer7/81qa7o+hJT4tA6PXCn5+WatCzoddL6PPz8Rf70BsX5TS/znN9/PHHZdmyZfKLX/zi/2/vbF6uqr44fvoDJBNHJSG9DAIj0XJgNUiofmhIg4w0CaHozQg0tKwcWVmIBYFlUiCRBr1MRKkc6CAQKoqgwkEGotFIyugP6Mf3yHo6nufc83LP2uve+9zPmWTPPWevvT977XX2WXvttZOfhiddTS2P8dBs87vcEc2zS9363IvjqQ89nq0l4PmhrQF45ZVX1oalespTWadPn66NgplkeW1U17N94yivTZ2GvUcJEufNm5d8MlFXv0nuv+jx3qaf4dmG0qV7sJ//RTtq5TKVo3mUjqD22tD9Tuxnv4UQ7Kfv+FPurFtuuaVWkT0/7FXWP//8UytzkuW1sQie7RtHeW3qNMw99u69+uqrk0RRta3TJPdf9HhvwzSaZ5s6DXsPjqdhyfFcKAEd4fv8888n3RtdbJDkffrpp9l3330X0s5oeSGNmjIheuFv3rx5Jpmkmn/VVVdlTz31VLZ161bXvfw6te+nn37KXn311UrKDz30UPbMM8+4bR+Mlhc93jXR+Oqrr/J8Y1U5F1566aXs5ptvzsR1Eq9ontH2LFreJOrAuNcZ++lnr6PH+1y3nzri/dtvv83t/3333ZetXr066XCSvOXLlw98v3sLj5bnXX/KyzKNQS1wWB4pMbn++uuzbdu2uUfz182H5CB5+umns0OHDrnNeaPlRY93bU0+f/78wH5Sfd54441G5/ekjAMcT5PSU2NYT00UFbr5999/V9Zu5cqVbh++5u2VM0iGVR/0KScB7733XrZnz57szJkzIeRTy9NLaenSpdn+/ftz42YT07rGydBt377drf0p9aVNe8oN8W7fbbfdluumHE2LFy/OxZ09ezZ79913s3vvvTf78ssv3ViqvSdOnBhYpl5Uq1atcuu/aHnR4930R3Zl9+7dsyYA3jylCCnHQ1nRonmmtmfl9qWWh/2cbbqwn+3NOfbT930UbT8VgffFF1/ki0q//fZb/kGvBNEPPvhgko9BzW0XLFiQvfPOO+2VrMedqeXJPj/55JPZjz/+mPPS+1QLPXXX119/7fb9IDn2DhwkU6fNXXfddUNRbNOecsGe7VPbbr311lyE5p/aHaJLc0Rx9rbVTfOhK664IvNsX7S86PFu+iO7cvDgwVl6781zKCV3fAjHkyPMaSpKH00aLEXvern95uTw5mL7Xk+ePJlPBCyqxPt0NDkSFP2gl/+wL6QubU8pz1Yhnn322Xy1Tob11KlTtdXzdBym1pc27Sk31rN9WrFYs2bNzMSqKMs+Wm3S1UUnqhwIf/zxR3b48OE8Gk9JysvXL7/8kk/yPMaf9CZSXhWbiPFuETMag+YoLK4wNU18uvZp6vFQV58InpKf0p5VtS+lPOznbOLYz+ZRj/28tD1tLtlPi+6yRVCLKpHjwuuEMnMkpIiWHvSOleMilTzNj95+++2ZubQiqM+dO1c7gPo4gsoFq8/uuuuu7K+//hoos8/8rE17yoI926eIIH0LffPNN7N0UE6/HTt2ZH/++WezwWq4Qxy1BXTLli35+33Dhg2zntDcVHOoPjyt0Gh5Vc2PGO+yj/Pnz88uXryYOwo1Dnft2jXTlzieeqsuBcwFAjK069evz44dO5Y87LiOlz7gZGzlUHn88cfdIjzUPnme61ZlPFcRouVF6+C46EuqdjetaOslvW7dut762TayS5NIRVj1nQhHy2vqn1Tjvdh/cmJqYiWn+osvvphvk3z44YddI8jGZTyk4hltz6LlNemp9+/joi/e7bLysJ8+9rqpf1KN92m1n+bE14f9kSNH3CJ05Eg4fvx47cKuZ0RJtLwmPfX+XVu/xDMiibd33duUV+fY1ZhfuHChSwRS28guOU48ovWi5TWxTjXei/2nd730VZdF3+N4auoZfp8KAk0TxdQQyqelKOrpo48+cnOCtYmg8VzxjZaXun/K5Y9aX1K3tynHjNeKb5sVdM+k5tHyBvVT6vFepZ/62+uvv55XSdsePB3box4PqXlG27NoeantCfbzcgLYz34al3q8T5v9LJ82pagnOTa8IuPbRNB4RsxEy+unzd2f9rIf3SXHPNGUo8vLcdEmAskzqXm0vEG9lXq8l/VT9nrnzp155JgWkbUI6ulojtHKwVLYajfqHphQ+Qqd3bhxY/brr7/2jqpoi2DQ0ZL333//xCb9bdv2FPfJqH/yySfZ999/X1n8pk2b3LhG60v0h2jddjr7zTM6UDx//vnn3hFUbfUqWp7qFTneBzmCVAdFPSmM3TPCMXo8RPNsq1eTfB/20y+HI/bTfyRgP32Z2ni3PE+WZ1Tbje644w5fYVNQmt6BR48ezd/zVZdnMmVFdGme65lns66Loh15luNw0FY7pV64cOGC27ea5ktLlixxW+hvUvdoebnbwKcAABX8SURBVKpP5Hgf5BgtRt/jeGrSEn6fCgIaLFrhKe5FTdVwS06o8uUBfu6557K7777bzZCmqve4liuP+o033pjveVfia53YoqiOG264If+3VvCUP8hzQhWpL01bxEyHPE8ps7DgquTikhd1QuK46lyXeo3beNckZNGiRa72JnI8jBvPLrowjvdiPy+9g7Gf46idWTZu433S7af0XA4nXUoq/sgjj4R9dI+nhvWrlT6o77zzzjw/64oVK/KUFpojKTWA/i3Gr732mlsEmdnrqoND+rWk+ummLWKac3s61qx9qk1VcnEtng06ATlF+ye9zHEb7xovnt9io+4fIp5G3QMTKl8e/b1799buQfeMEJA8nZ4nZ5NXOHMT+sgVbdWlGF1hdbNVNW/nniUctIi1osfdojEU3unFOlpfBvWtHdmt31Unz0tlv/nmm3l4bDGJpSZR+/btc3VaWL2LJ7VoMqMTY1JM8qMjyEYx3m0M6qROXSl5Ro+HUfDEfmI/u9hX7KdfBNkoxvtctp9ayLr22mtDFzsjI4LUd8XoChu3WoD03GJu5erDXomULQKpuBXM8k15LtRZ8m2dSDjoiogo0XztnnvuybZt2zbr5NwutrLq3kHfD3JEpXI6FeeFOtxJjsMUTpLoCLJRjHcbg3boU0qefXWt7/M4nvoSnNLnoz9Eoz+0o1e0i/LkqFi2bFne5B9++CFfafNKFm0cy1uLyqGeSob92GOPub0cR6UvVcPTWHsmAy3Lsb3pKVcpylFd5uhtyjc1jMkaRQRZsZ7SH8/cVVUMInmOajxEOSqxn9jPYeyMPYP97ENv9rPYTx+eUR/a0RFBRXlyCi1evDgHZif3eSWLtl4ozzeLjidLhu1xKprJi3Zc1GmbWK9duzZpmpKI8V6O6jLHXVO+qWFGYnQEWbGO0sfTp09nnrmrqhhE8hymDzyfwfHkSZOykhKI/DCMjggyeSdPnsyjVoqX5b/4+OOP3bY2SN77778/s/1LpyjouFWLAvI6hS2pQvQo3DvZpCXhrnM0eU4GTCfkbNLKSPHUtQjHmqFPHUG2efPmmS0OkqkIwBRHPo8Lzx4q3fgo9hP72agkLW/AfrYE1XAb9tOHY0QpkR+G0RFBkqdooKqTcG3bpn73ioCXPEVTWSSOUjxYFJDnKWwRejGMDK9k3yZbc8s6x4i388S+V3Rynfqy2B5zYv7777/DoOn0TMoIMs0JtfiunR92SWdTRKuNC89O8HvcjOOpBzwejSMQ/WEYHRHUdMpViom+jKhNJuy4bu0F16X99Z7JsOM0pVmSvRj379/vFtFl/ffss8/mSb/LiRflyLMXmMd++3JUU1k/vPWljmoqR5cxq8qZpW1wnolCx4lnswZ3vwP7+b9s1apVbsn4NeHFfmI/u4/E2U9gPz0opi0j+sMwOiKoab7g7SjRfPPll1/Ozpw5k3ecFj71txdeeGEmyt8zGXZa7ehWui0AeUZ0WZTRzTffnJ07d24mTYBqpneVdkxY+gePeX05qqmsH976Ukc4RQSZMZPcqpxZnmlkJGOceHbT5uHuxvE0HDeeKmT9jzgVLfrDMDoiqM542sTUVhe8lE/73vWisgSxevkrP5EZW8nzuqK3FhWTq1a1IcXWxeeff/4yUeYcMUeXXvjnz5/PdMJI39XDNo7RdevWuX1oN+lB08S16fny78pvsWbNmqxqclZ3AlZXOXb/KHhG5kDCft6YYT/bjw7s520Z9rO9vsx1+xn9YRgdEVS38Gnzl75zlqI2WaTfjh078gh//b8Y2+KcZ3S/5EZvtSsmp64aRSm2Liope/Eqpl44cOBAdvDgwezw4cPZ8ePHZxx+7Uf45Xe2cYxG5MyyWnk7uiwn2KBTAqW32iHidY0bT692DSoHx1NqwnO0/OgcHtETm1GsaMvxI7mHDh2aSUQtzjt37sz/7hnhMUgtJU+XkgR6XtE5guS4ePvtty9rwvz58/PcWVdeeWX2wAMPuLbR2mcv26KzSRFQypVgyTKLYeXDMi47ZoovLnPMeKxstalfygiyQTrvvRU0mif20z+iEvvpd8oc9nNpWMQv9rPNW+bye6LtZ/SHYXREkDl+lPi6mIha807lHI1ywkqe13a+osZE5wiy75ViHdQu5c5SknrP00AlQ+1T9JicSpJj81FFjSkNw/Lly/N+te+avtFWZcdM0fFjixZREWupIsgGRUin2Ao6Tjy7W+PuT+B46s6MJ7JLx/XK6xt1Klr0h6E6OWVEUJMjpqxkitDxPr56HBQ5ZY6LyPZVrRjaZFX1OHHixIzj0Cs6SM4XrUJqEqMJhxxammAoak3bgDxPhRlFBETRWVfuSy+GxXKjeWI/h4+oxH5e0lzs5/BWPnq8K9J10JUiAhf76XeqZPSHYeqIoCZHTFlPFb2tCJpy/tHhR994PJkyR1BkC6vmQ+YMeuWVVy7bZu4RHWRb0RYsWJA7JpWaQ1FcujT/9EgnUeQ3iggyc9ZV9aMHw2K50TwjdXMAvyuu+DciC9ioW4p8VwJtIpA8T0VT5SMnioNgeUUEtdl6Vq7DypV+xy2rbEXGyKEgo1d1bdq0yX1lpkqOV44LMb3pppvySCZLplin9J6npInjnj17Lgthtsimv//+O4njadDx45oA7Nq1yzWiKzoCom47XaqIrkie2M9+EZXYz/8sG/ZzuKlN5HjHfvq+j6Lt57h8GHpFBLXZelYeVYoS94xG0pj48MMPs4sXL1YO4ChHl0eOIJtv2uEydthMnWXyPCVNjhk5gSw9RjGySSkgitE7Xk4TyZCDSadu26XDX5Sna/v27cMZ5QFPRUeQ2Xx+0FY7LSJ4R3RF8nTtnCEKI+JpCGg8ciniKfpUtMiJ4lzv42LCQa1mjdLxJNl9I1hsu0JxX3s559KgPlX7i9sbh+l747lixYr8Jf/DDz/kL2TlKtDe+m+//TbTiYW6li7138ZhzkPPieEwHDyfsVXZquTiihDwjOgq1zs1T+ynp6bEl4X9/I859jNe/9pIxH765jicpg/DNvrV5x7bwSBHheZMVVeU40my+zpjyqkWukSUeUQHGU+bKynaUdHwR44cydauXZtHwCttwWeffZbnGPV2mmgxcNGiRa6LnX30q++ztpijcqqSi3v0WV0d5xrPcltxPPXV0Cl9fhQ5kIqoU38YSta4RASlUDG9KF9//fU8meOonRUeOS70ovjggw9mTvNQ35WTLVZxVDSSwoQ9TrjTy1+n2umFrxe98iUo7FiTK/3bVob0/7ZFtU/fqo2K2rL+M31V+Y8++mjSflWfeUaMVXEY5GhWaPe+ffsmepKD/cyyqIjKPmNs0LPYz0tksJ/DaRf2czhu9tSo7WfEh+G4RAT166nqp+WY0dV3wc+jbh45gmy+qXmXIu7Vd8rt2XTZAmXfnEuSY+8knV5ni8maA2uRTpclbvc6Ebi4w0Dlm77edddd7jlUixwtuswzYqyqnwY5muWIKuZBa+pjfp9NAMcTWjE0gZQ5kBQKrGSxdnKAjNzvv/8esvVLQEaxoh19ylUx79DQStDywegcQS2rld/WN9qqTlbRQWrh7R4h6zbxtmTmxeNfrT4ezq3yC3/z5s2zQqv1It66dWtSR5DGxj///JNZKHuX/q26dxy2amE/fbfyYj+/TDoGB4057Gc7a2R5e8pbU7Cf7fiV70ppP23uqXe2Lv1XER1e75+mFo8iIkgyjx49OjD1gmcEUkqbUcU2OkdQU/8Wf+8bbVUnyxykukfRTro8Dtax7zObY5q+asFVC69ezq1i29QWpW8xB5p+k7xt27ZlTzzxRBfkne/1XigYh62unSE4PoDjyREmRV1Kdqqr76lo5T38dce9puAevaIdfUqLOSq0/SsiYWR0josuOqG6XXPNNSEcutSr7l7pZzF5rOmrJgK6brzR//h45VjTS79q61uKiYYXq6pyuianVvsiInSwn8P1OvbT95TOLr2A/WxHC/vp62iuou5lP8uOkWhHSXREkEWd29Y3i5TRPF7/tgTSXtHxFh1elUOn3Wjqdld0jqAutdOirIczqIvMvvdKP4vJt01ftZ3PdEkOKC99KS6sVm19sxQbfdsV9XyXrZg2Jj0dv1HtHCQHx9Ooe2CC5Ecmb5ZHeP369Xnyuttvvz1fiVFOl7feemsgMc/Qy2hHV/QpgYJoqxZKBlh16WM7wik1QUOgtqrRERdFx5MSmWtyaCHA3hPl8qmSRRB1icD79K0+IrRKp+08VZd3sn0xmz9//mXb+OyYaX00WuLOYduE/RyWXPNz2M9mRuN+B/bzR9f3LfZz3tA8FfGk+ZHmRnrPbNmyJT/cZsOGDQOHkR1s4jHOvN/fTXVSRJCSfMtxoKsYhaPIMp2a651TUYxV5rp16yqrZ9vWmurO75cIREesmePJou+PHTuWrV69epb+ePRP+VTJYpn27rfdMR7yVIbaZVFiVWV67Fywcm3hrJyYXe9EbV3U3FNjdK5cOJ7mSk8mbscokjd38Qqr+Z5e7+iIoOhTWsSriW9fnpEf2onVv7H46IgLc/bIMauVJW3fKK4w2Yl6XiHITY5YTco1gfQ6zcQcPsWw6nIneOTlsjI1adu4cWNl7i2PU8Own41DqNcN2M8sec61Xh3U8DD2E/tZpyLR9lPzP+Vl1Du17WXb3tveX3dfdERQ2dFVdDxpbC5cuDDzyENkbW7Dtw/PUZ8y56EDXcqIjlgzZ48cJVoAVV6pM2fO5FUunqjntXBd54g1/eyjL2XW5vBRuwZdnuNBjrXvv/9+xvFblOlx6mIXXYq4F8dTBOU5IGNUyZvtBXL48OHGiCfPFSd1WWREUPQpVxZRJueSVvSqrj48oyeKox5io4i40MtKidEViltcEUkR6lze2lfm7b1Ca/pZXEVL2cdNjrW+7cN+zu49z4hK7Od/fD1OmUs51qrKxn7+77Ijz/vyx35eItg3+b0+ov/4449WEU/e+Z8iI4IUTaF8ORYxXVy4SvFhbxFlmrcod1bV1YfnqE+Z6zt+uz4fHbEmnXj44YfzbZjSm88//3wmulDsDxw4MOOI6tqWqvvLW/vK93jnyZJ+Ksqv2C6Pdgwqo2l+6d2+lG1pUzaOpzaUuKcXgaZB1aZwOyXCK6KijczUEUHFOkSf0tLkSGjDp+6eUX1o9633sM+PIuJiUF2lS0rE7bXaJDl12+nsN08nUZMjaNh+GvScfahVrWLZ6tfu3buTJ7EcNOlatWpVr2gy7Odrmbd+Fre6eusj9vNyR4wiKpVY1iuCs66/sJ/dtXmu20+9j5YsWTKzlag7oW5PpI4IKtdG/ffyyy/POAuKWw3t5LULFy70zt1qcpscCd1ozb57HE6Z69uGLs9HR6zV1a182nKXdgy6VwsTe/bsyapygtnBRd762XfO1aXd5uiqal+dbe0iY5zuxfE0Tr0xR+syiclHU0cEVXV1ylNayvKiQ7m7qLaHo7KLPI97oyMuPOrctQxzxFYlF9eRvZ45IOq2vnWtd5v7i1v7lCtr2bJl+WNnz57NIx91eZ8S2KZeugf72Y4U9vMSJ+xnO32Jvgv7+aub46JL302i/UwdEVTmZycu7tixI1+wKm91//jjj11zzMhWaxujvVu79GfqeycxuiQ6Yi11H1Tppw7M0VWVXFwpJyxaz6NudVvfPMovl2GLm/q7+nLx4sX5Leb0nbTDe5oY4XhqIsTvU0kgdURQW6hep7RUydNEWKdO7Nq1ayQTwkEMJnGiGB2x1lZ/PO+TLr755pvZu+++m+/pt0uOmn379rnrULR+qn07d+7MJ8Pl9tmE3JPnXC4L+zm63sV+jo59nWTs5y3j2TFjWKvUEUFtm6x5jdfJZEWZltNtVFHEde2fxFPmoiPW2uqP533SRTmYlM/ULqWZkCPK0+mkskehn3I+aTyU2ydH1Lh9o/XtVxxPfQny/JwkMM4RQR7A9aLau3dvVpe8uW9ycY96TlIZkREXo+ail6S28/XJw1DXBvRz1D3cTz720/ewi369MRlPYz/9+gn76cdyFCWNc0SQBw87pawuebtnsmiPOo9zGdERa6NmoTym8+YNf2plU/3RzyZC/X7H8dSPH0/PYQLREReRKGW4T506VSvS+7j6yPaNi6yUEWvj0sYU9UA/U1CNLRP7uTKZYza2J0cnDfs5HHvs53DcxuWpUURcRLZdjtFz587VivQ8rj6ybeMkK1XE2ji1MUVd0M8UVP8rE8dTWr6UPqEEWDGc0I6j2hCAwMgJYD9H3gVUAAIQmFACRFxMaMdRbQhAoJEAjqdGRNwwjQRYMZzGXqfNEICABwHspwdFyoAABKaRABEX09jrtBkC00EAx9N09DOthAAEIAABCEAAAhCAAAQgAAEIQAAC4QRwPIUjRyAEIAABCEAAAhCAAAQgAAEIQAACEJgOAjiepqOfaSUEIAABCEAAAhCAAAQgAAEIQAACEAgngOMpHDkCIQABCEAAAhCAAAQgAAEIQAACEIDAdBDA8TQd/UwrIQABCEAAAhCAAAQgAAEIQAACEIBAOAEcT+HIEQgBCEAAAhCAAAQgAAEIQAACEIAABKaDAI6n6ehnWgkBCEAAAhCAAAQgAAEIQAACEIAABMIJ4HgKR45ACEAAAhCAAAQgAAEIQAACEIAABCAwHQRwPE1HP9NKCEAAAhCAAAQgAAEIQAACEIAABCAQTgDHUzhyBEIAAhCAAAQgAAEIQAACEIAABCAAgekggONpOvqZVkIAAhCAAAQgAAEIQAACEIAABCAAgXACOJ7CkSMQAhCAAAQgAAEIQAACEIAABCAAAQhMBwEcT9PRz7QSAhCAAAQgAAEIQAACEIAABCAAAQiEE8DxFI4cgRCAAAQgAAEIQAACEIAABCAAAQhAYDoI4Hiajn6mlRCAAAQgAAEIQAACEIAABCAAAQhAIJwAjqdw5AiEAAQgAAEIQAACEIAABCAAAQhAAALTQQDH03T0M62EAAQgAAEIQAACEIAABCAAAQhAAALhBHA8hSNHIAQgAAEIQAACEIAABCAAAQhAAAI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yB1P4VIRCAEIQAACEIAABCAAAQhAAAIQgAAEIDAVBP4PSUvMkZPYWOAAAAAASUVORK5CYII="/>
          <p:cNvSpPr>
            <a:spLocks noChangeAspect="1" noChangeArrowheads="1"/>
          </p:cNvSpPr>
          <p:nvPr/>
        </p:nvSpPr>
        <p:spPr bwMode="auto">
          <a:xfrm>
            <a:off x="305485" y="305176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AutoShape 4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5/z418Mk19Frl+ypvSkp0WA9WLR0rP01I0sCXpatPQsPXUjS4KeFi09S0/dyJKgp0VLz/r21M8o0MbTT3/6U/nUpz4Vze5Pf/qT3HrrrdG+T5mv1J+3tbXf5cJX9wK+C9fneMt//7qs3X4wmvyZp1XKgq/Wyjl9eha0HHzOz02E4yW7nPSkp0WA9WLR0rP01I0sCXpatPQsPXUjS4KeFi09S0/dyJKgp0VLz9JTN7IkfHtazi1btmTveLJMnI0nXct34foab/v+o7Lo6T1pgFlfGCBX1fXVQWImfM0vdZocL+aCdTqcnvS0CLBeLFp6lp66kSVBT4uWnqWnbmRJ0NOipWfpqRtZEvS0aOlZeupGloRvT8u5BdN4WrVqlezduxea+6BBg2TKlClQ1ndo9uzZ0tjYGA07dOhQaWpqSp+Cm+PUqVPT/7xz506pra0V9w1+Luteixcv7vBNfnV1dfLoo4+mv+3PMh/fhetjvPc+PC5zf9EsB4+2RhSjhpwlt18z0MKSdxaZ38Hvfcb0+dU/+F/d5pHxTIMpYY6XpCbvWEtWk570tAnw55nNS0vTUxOyvU9Pm5eWpqcmZHufnjYvLU1PTcj2Pj1tXoVOl+QdT4VG8fH5bkN0tznz0qVLo+EmTpwYNZbcP6c2S081m5YsWSLLli2LGlOuWTV27NiomeY2WU/dzeX+fPDgwR0aUZZ5hHhhPvjbffLCrnfaGY4dkWX/18joUTsfL8STjSd8JRBP/NP0JMfTjSwJelq09Cw9dSNLgp4WLT1LT93IkqCnRUvP0lM3siToadHSs/TUjSwJelq0Cp9l46nwxtAIrrm0YcMGWbt2rbj/vXv37nRTyn1A6pv87r33Xpk3b150V5O7w8k1o9zdUe5OJ3dsvq/QLsznmg5L47P70xwn/vBzWfGTBfnymI9DPNl4wlkRT/zT9CTH040sCXpatPQsPXUjS4KeFi09S0/dyJKgp0VLz9JTN7Ik6GnR0rP01I0sCXpatAqfZeOp8MbQCO6OJfdydzy5u5/GjRvX5TE613TatGlTlzueMu98ggbLEgrpwnzrSKs0PNEs7lE795o4vFrWPPid6A4zXy/Ek40nfDUQT/zT9CTH040sCXpatPQsPXUjS4KeFi09S0/dyJKgp0VLz9JTN7Ik6GnR0rP01I0sCXpatAqfZeOp8MbqCKl9m1KP1uVqPI0aNSq9x9PKlSujO53cHVDTp08Xd/ysWbM63CmlDv7fgVAuzOMn2mTR03tlx9+ORjMbWHW6zL+hVr71zZvYeEKLAciFUi/dTZXzA4rAEKGnAQuI0hNAMkToacACovQEkAwRehqwgCg9ASRDhJ4GLCBKTwDJEKGnActDlI0nD8jaEO6ROXc3U2oT9FyNp8yN0t0jeZmv+vr66PG79evXR/tFWV7uwgzhVXHR56Vi6DXtU2k7ISe2PiLy7htFObV/rfuz6bz+uenvTHmGKUABClCAAhSgAAUoQAEKUCBMAZ9P9MQVZOMprmDM412jaMaMGR0eq8t87C718e5xutQdUe7P3Abkrlnl9nXK3HDcNa1Se0BZTi2EjvCelg/ke7/cJe6uJ/eaevl5MunSmuh/F+P8+KgdXqHFuH742etJzk83siToadHSs/TUjSwJelq09Cw9dSNLgp4WLT1LT93IkqCnRUvP0lM3siRC97RYZMuy8RRXMMbx2ZpOqabSmDFj0o2mzG+1Sw2X2YhK3fkU944nnx3TpC/M1uNtcs+TzbLv0LGIaNgFvWXudYOkskcFG08xarS7Q5NeP+0UOZ4mZHufnjYvLU1PTcj2Pj1tXlqanpqQ7X162ry0ND01Idv79LR5aWl6akK29+lp89LSvj2189HeZ+NJEyrQ++6b6KZOndrl01N3Nblm0pw5c9Lvt7W138XjXu6uJrenU+Zjd64R5V7lusfT8t+/Lmu3H4wMzjytUhZ8tVbO6dMzbeb7wkTG4x1P+MWFeOKfpic5nm5kSdDToqVn6akbWRL0tGjpWXrqRpYEPS1aepaeupElQU+Llp6lp25kSdDTolX4LBtPhTcuiRFK+cLcvv+oLHp6T9p51hcGyFV1fTu4F+P82HjCL41iXD/87PUk56cbWRL0tGjpWXrqRpYEPS1aepaeupElQU+Llp6lp25kSdDToqVn6akbWRKhe1ossmXZeIorGMjxpXqhvPfhcZn7i2Y5eLQ1WolRQ86S268Z2GVVinF+bDzhF08xrh9+9nqS89ONLAl6WrT0LD11I0uCnhYtPUtP3ciSoKdFS8/SUzeyJOhp0dKz9NSNLInQPS0WbDzF1Qr4+FK9UB787T55Ydc70cpU9+4pi75WGz1q1/lVjPNj4wm/oIpx/fCz15Ocn25kSdDToqVn6akbWRL0tGjpWXrqRpYEPS1aepaeupElQU+Llp6lp25kSYTuabFg4ymuVsDHl+KF8lzTYWl8dn96VeZed5EMH9A76yoh8/PdCPI9XpLli3hyPFyAnrgVkqQnooRn6IlbIUl6Ikp4hp64FZKkJ6KEZ+iJWyFJeiJKeIaeuBWSDN0TMciV4aN2cQUDOb7ULpS3jrRKwxPN4h61c6+Jw6tl2hXnd7sayPx8N4J8j5dkqSKeHA8XoCduhSTpiSjhGXriVkiSnogSnqEnboUk6Yko4Rl64lZIkp6IEp6hJ26FJEP3RAzYeIqrVAbHl9KFcvxEmyx6eq/s+NvRaGUGVp0u82+olZ6V7d/sl+2FzM93I8j3eEmWMeLJ8XABeuJWSJKeiBKeoSduhSTpiSjhGXriVkiSnogSnqEnboUk6Yko4Rl64lZIMnRPxCBXhnc8xRUM5PhSulCe+mOLrHz+jUi+skeF/OArQ+Siml45VwKZn+9GkO/xkixVxJPj4QL0xK2QJD0RJTxDT9wKSdITUcIz9MStkCQ9ESU8Q0/cCknSE1HCM/TErZBk6J6IARtPcZXK4PhSuVD2tHwg3/vlLnF3PbnX1MvPk0mX1qgrhMzPdyPI93gqkiGAeBo+To1yPJXIFKCniUsN01MlMgXoaeJSw/RUiUwBepq41DA9VSJTgJ4mLjVMT5XIFKCniUsN+/ZUT0gJ8I6nuIKBHO+7cLONd8eqv8iBd1vzFu338Z7ywJRPZD0emZ/vRpDv8fKGzXIg4snxcAF64lZIkp6IEp6hJ26FJOmJKOEZeuJWSJKeiBKeoSduhSTpiSjhGXriVkgydE/EIFeGjae4goEcXwwXyrSHX4mtufyWS9h4iq2of0Ax1It+lvknOL/87bIdSU96WgRYLxYtPUtP3ciSoKdFS8/SUzeyJOhp0dKz9NSNLAl6WrT0rG9P/YxyJ9h4iisYyPG+CzfbeDN/9qocPdb+LXX5vHqfXikPffPirIci8/N9B5Lv8fIx7e4YxJPj4QL0xK2QJD0RJTxDT9wKSdITUcIz9MStkCQ9ESU8Q0/cCknSE1HCM/TErZBk6J6IQa4MG09xBQM5vpgvlDfe+VAanmiWD1pPRNpjP3m2zBjb3ySPzM93I8j3eCYwJYx4cjxcgJ64FZKkJ6KEZ+iJWyFJeiJKeIaeuBWSpCeihGfoiVshSXoiSniGnrgVkgzdEzFg4ymuUhkcX6wXims2ff9Xu2TfoWPRKrhvr7vnS4OlV88eplVB5ue7EeR7PBMYG0+yYsWKJMlyfhZSn0meDMdLUlOEnvS0CLBeLFp6lp66kSVBT4uWnqWnbmRJ0NOipWfpqRtZEqF7WiyyZXnHU1zBQI4v1gul8dn98lzT4Uj5zNMqZf4NQ+S8s04zqyPz890I8j2eGS3HAYgnx8MF6IlbIUl6Ikp4hp64FZKkJ6KEZ+iJWyFJeiJKeIaeuBWSpCeihGfoiVshydA9EYNcGTae4goGcnwxXijPvHJQ/v13r6eF7xx/oVw2qE9e4sj8fDeCfI+XF1w3ByGeHA8XoCduhSTpiSjhGXriVkiSnogSnqEnboUk6Yko4Rl64lZIkp6IEp6hJ26FJEP3RAzYeIqrVAbHF9uF0vTm+zL/N7vl+Im2SP+Gy/rJjZ89N++VQObnuxHke7y88bIciHhyPFyAnrgVkqQnooRn6IlbIUl6Ikp4hp64FZKkJ6KEZ+iJWyFJeiJKeIaeuBWSDN0TMWDjKa5SGRxfTBfK4fc/knue3CUHj7ZG8sMH9JbvThgklT0q8l4JZH6+G0G+x8sbj42nJOmyfhZSn0meBMdLUpN7PCWrSU962gT488zmpaXpqQnZ3qenzUtL01MTsr1PT5uXlg7dU5u/9j4ftdOEyuT9YrlQ3B1OP1q3V7bvPxrJV/fuKQu+Wit9elXGWglkfr4bQb7HiwXY6WDEk+PhAvTErZAkPRElPENP3ApJ0hNRwjP0xK2QJD0RJTxDT9wKSdITUcIz9MStkGTonohBrgwbT3EFAzm+WC6U1VvflF+/fCBSdXc4ff/Lg2VIvzNiKyPz890I8j1ebMSMD0A8OR4uQE/cCknSE1HCM/TErZAkPRElPENP3ApJ0hNRwjP0xK2QJD0RJTxDT9wKSYbuiRiw8RRXqQyOL4YL5cU9R+T+Z/6a1v72VRfINcOqEtFH5ue7EeR7vEQg//tDEE+OhwvQE7dCkvRElPAMPXErJElPRAnP0BO3QpL0RJTwDD1xKyRJT0QJz9ATt0KSoXsiBmw8xVUqg+NP9YXyxjsfSsMTzfJB64lIe+wnz5YZY/snJo/Mz3cjyPd4iWEK92BJ0tJ9FlKfSY7J8ZLU5Polq0lPetoE+PPM5qWl6akJ2d6np81LS9NTE7K9T0+bl5YO3VObv/Y+H7XThMrk/VN5obhm0/d/tUv2HToWaV9U00vu+dJg6dWzR2L6yPx8N4J8j5cYJhslSVJGn4XUZ5KDcrwkNbl+yWrSk542Af48s3lpaXpqQrb36Wnz0tL01IRs79PT5qWlQ/fU5q+9z8aTJlQm75/KC6Xx2f3yXNPhSPrM0ypl/g1D5LyzTktUHpmf70aQ7/GSBEU8OR4uQE/cCknSE1HCM/TErZAkPRElPENP3ApJ0hNRwjP0xK2QJD0RJTxDT9wKSYbuiRjkyrDxFFcwkONP1YXyzCsH5d9/93pa8c7xF8plg/okrorMz3cjyPd4SaIinhwPF6AnboUk6Yko4Rl64lZIkp6IEp6hJ26FJOmJKOEZeuJWSJKeiBKeoSduhSRD90QM2HiKq1QGx5+KC+UHDzwi83+zW46faIuEb7isn9z42XMLoo3Mz3cjyPd4ScIinhwPF6AnboUk6Yko4Rl64lZIkp6IEp6hJ26FJOmJKOEZeuJWSJKeiBKeoSduhSRD90QM2HiKq1QGx/u+UG769gypGf9dOXi0NdIdPqC3fHfCIKnsUVEQbWR+vhtBvsdLEhbx5Hi4AD1xKyRJT0QJz9ATt0KS9ESU8Aw9cSskSU9ECc/QE7dCkvRElPAMPXErJBm6J2LAxlNcpTI43ueF4u5w+taP14hUDYlkq3v3lAVfrZU+vSoLJo3Mz3cjyPd4SeIinhwPF6AnboUk6Yko4Rl64lZIkp6IEp6hJ26FJOmJKOEZeuJWSJKeiBKeoSduhSRD90QM2HiKq1QGx/u8UFZvfVN+/fKBSNXd4fT9Lw+WIf3OKKgyMj/fjSDf4yUJjHhyPFyAnrgVkqQnooRn6IlbIUl6Ikp4hp64FZKkJ6KEZ+iJWyFJeiJKeIaeuBWSDN0TMWDjKa5SGRzv60J5cc8Ruf+Zv6ZFv33VBXLNsKqCCyPz890I8j1eksiIJ8fDBeiJWyFJeiJKeIaeuBWSpCeihGfoiVshSXoiSniGnrgVkqQnooRn6IlbIcnQPREDNp7iKpXB8T4ulDfe+VAanmiWD1pPRKJjP3m2zBjbv1td342Z0MdLsox91Evm+XK8JFdPhJ70tAiwXixaepaeupElQU+Llp6lp25kSdDToqVn6akbWRL0tGjp2dA9dYHciQr3amtra/9aMb7KVqDQF4prNn3/V7tk36Fj7cbvviEP3/b30qtnDzaewKqr/sH/6jZZ6PXrPDDHAxcNjNEThAJj9AShwBg9QSgwRk8QCozRE4QCY/QEocAYPUEoMEZPEAqM0ROEAmOhe4IM3cbYeIorGMjxhb5QGp/dL881HY60zjytUt79nw/Kikd+klMv9DuQfM8vyVItdL2w0ZXkanX9LK5fsr70pKdFgPVi0dKz9NSNLAl6WrT0LD11I0uCnhYtPUtP3ciSCN3TYpEty8ZTXMFAji/khfLMKwfl33/3elrqzvEXyo/mzpQVK1aw8WSoH97xlLteDJRqtJDXQ7bBOZ66JKYAPU1capieKpEpQE8Tlxqmp0pkCtDTxKWG6akSmQL0NHGpYXqqRKZA6J4mjCxhNp7iCgZyfKEulKY335f5v9ktx0+0P815w2X95MbPngvtMeP7jqDQx0uyVAtVL92dI8dLcvW4x1OymvSkp02AP89sXlqanpqQ7X162ry0ND01Idv79LR5aWl6akK290P3tGl0TbPxFFcwkOMLcaEcfv8juefJXXLwaGukNHxAb/nuhEFS2aOCjScR8d3oSrJUC1Evuc6P4yW5emyUJKtJT3raBPjzzOalpempCdnep6fNS0vTUxOyvU9Pm5eWpqcmZHs/dE+bBhtPcb0SP3727NnS2NgomzdvltGjR6c/f9WqVTJ16tT0P+/cuVNqa2ulublZhg4dGv354sWLpb6+Pp2pq6uTRx99tMPnoCec9IXi7nD60bq9sn3/0egUqnv3lAVfrZU+vSqjf0bG892YCX08tBaQHLJ+yOegGY6HSmE5emJOaIqeqBSWoyfmhKboiUphOXpiTmiKnqgUlqMn5oSm6IlKYTl6Yk5oyrcnel7d5XjHU1zBGMdXVFTIypUrowZTZuNpy5YtMmbMGEk1m5YsWSLLli2TpqYmcY2qsWPHypQpU8Qdn/pCQvfngwcP7tCIspxa0oW7euub8uuXD0Sn4O5w+v6XB8uQfmekTwkZL/RGkO/5WepByyLrp32G5X2OZ9HSs/TUjSwJelq09Cw9dSNLgp4WLT1LT93IkqCnRUvP0lM3siToadHSs/TUjSwJ356Wc8uWZeMprmACx7sGUmbjyTWadu/eLUuXLk1/eipz7733yrx586K7mtwdTq4Z5e6Ocnc6rV27Nu+zSbJwX9xzRO5/5q/pc/n2VRfINcOqOpwbMp7vxkzo4+VdHFkORNaP4+EC9MStkCQ9ESU8Q0/cCknSE1HCM/TErZAkPRElPENP3ApJ0hNRwjP0xK2QZOieiEGuDBtPcQUTOL5z42nixIkybty4Lo/RuabTpk2butzxlHnnU76nk9SF8sY7H0rDE83yQeuJ6FTGfvJsmTG2f5fTQsYLvRHke3751ka245D143i4AD1xKyRJT0QJz9ATt0KS9ESU8Aw9cSskSU9ECc/QE7dCkvRElPAMPXErJBm6J2LAxlNcpQIfb2k8jRo1Kr3Hk3tMz93p5O6Amj59evRo3qxZszrcKYWeehIXims2ff9Xu2TfoWPRsBfV9JJ7vjRYevXswcZTloVg4wmtTmxPMPzT9GQS14M+yskEx7No6Vl66kaWBD0tWnqWnrqRJUFPi5aepaduZEnQ06KlZ+mpG1kS9LRo6dnQPXWB3Ane8RRXMIHjLY0nt7dT6uUeyct8uY3G3eN369evjzYit7zchRL3VXHJV6Ti/EvbP+ajY3Ji68Mi7x/K+2P/te7PpmP/uenvTPnO4dDHi4XDgylAAQpQgAIUoAAFKEABClCgaARWrFhRNOeinQgbT5qQh/c7N57cRuHu1XmPp9Rm4+49twG5e/TO7euUueG4e0wvtQeU5dTjdmifeeWg/PvvXk8Peef4C+WyQX26PQVkPN93BIU+nqUetCyyftpnWN7neBYtPUtP3ciSoKdFS8/SUzeyJOhp0dKz9NSNLAl6WrT0LD11I0uCnhYtPUtP3ciS8O1pObdsWTae4gomcHznxlOub7VLDeeOyfzWO/fnce94yrdj2vTm+zL/N7vl+Im26PRuuKyf3PjZc3PKIBdK6I0g3/NLoFTTH4GsH8fDBeiJWyFJeiJKeIaeuBWSpCeihGfoiVshSXoiSniGnrgVkqQnooRn6IlbIcnQPRGDXBk2nuIK5nl8c3Nzeq+mzI/IbCbNmTMn/VZbW3tTx73cXU1uT6fMx+5cI8q9fO/xdPj9j+SeJ3fJwaOt0fjDB/SW704YJJU92s+nuxdyYfpuzIQ+Xp6lmvUwZP04Hi5AT9wKSdITUcIz9MStkCQ9ESU8Q0/cCknSE1HCM/TErZAkPRElPENP3ApJhu6JGOTKsPEUVzCQ47NdKHes+osceLe9oZTPq9/He8oDUz6Rd+Mi9EaQ7/nls4bdHRP6D1bOL8lq4ebwyWrSk542Af48s3lpaXpqQrb36Wnz0tL01IRs79PT5qWl6akJ2d737Wk7u65pNp7iCgZyfLbCnfbwK7Fnt/yWS9h46kaRjSe8vHz/YOV4+NogSXoiSniGnrgVkqQnooRn6IlbIUl6Ikp4hp64FZKkJ6KEZ+iJWyFJeiJK/jJsPPmzLuqRsl2YM3/2qhw9djzv8+59eqU89M2L2Xhi4ynvGkodyH9xxCbs8AH0pKdFgPVi0dKz9NSNLAl6WrT0LD11I0uCnhYtPUtP3ciSoKdFS8+G7qkL5E6w8RRXMJDj87lQ3DfZPbbtLRn/qSp1M/HOTMh4vu8ICn28JEsVWT+OhwvQE7dCkvRElPAMPXErJElPRAnP0BO3QpL0RJTwDD1xKyRJT0QJz9ATt0KSoXsiBrkybDzFFQzk+GK8UEJvBPmeX5KlWoz1wvnhAlw/3ApJ0hNRwjP0xK2QJD0RJTyhrr9XAAAgAElEQVR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L8YLJfRGkO/5JVnGxVgvnB8uwPXDrZAkPRElPENP3ApJ0hNRwjP0xK2QJD0RJTxDT9wKSdITUcIz9MStkKRvT+Sc2HiKq1QGx/suXGQ8342Z0MdLsoyR9eN4uAA9cSskSU9ECc/QE7dCkvRElPAMPXErJElPRAnP0BO3QpL0RJTwDD1xKyQZuidiwMZTXKUyOL4YL5TQG0G+55dkGRdjvXB+uADXD7dCkvRElPAMPXErJElPRAnP0BO3QpL0RJTwDD1xKyRJT0QJz9ATt0KSvj2Rc2LjKa5SGRzvu3CR8Xw3ZkIfL8kyRtaP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+kUHL9lyxYZM2ZMeuTNmzfL6NGjo3+uqKiI/v+sWbNk6dKl6czEiRNl+vTpMmXKFPMZIxdK6I2Z0OdnLoocByD1wvFwAXriVkiSnogSnqEnboUk6Yko4Rl64lZIkp6IEp6hJ26FJOmJKOEZeuJWSDJ0T8QgV6bCvdra2trifhCPT06gublZhg4dKqlm06pVq2Tq1KnilmnJkiXRQPX19VJXVyfr16+X2tra6M93797doRFlOSPkQgm9MRP6/Cz1oGWRetE+w/I+x7No6Vl66kaWBD0tWnqWnrqRJUFPi5aepaduZEnQ06KlZ+mpG1kS9LRo6Vl66kaWhG9Py7lly7LxFFewAMe7RtOjjz4qa9euTX+6azLde++9smnTJhk7dmx0V5O7w8nd8fTaa69Fdzo1NTXlfTZI4YbemAl9fnkXR5YDkXrheLgAPXErJElPRAnP0BO3QpL0RJTwDD1xKyRJT0QJz9ATt0KS9ESU8Aw9cSskGbonYpArw8ZTXMECHD979uzoUzs/Rjdu3Lj0aJl3PI0fPz5951O+p4NcKKE3ZkKfX761ke04pF44Hi5AT9wKSdITUcIz9MStkCQ9ESU8Q0/cCknSE1HCM/TErZAkPRElPENP3ApJhu6JGLDxFFfJ8/G5Gk+u4ZTa42nx4sXR43XuDih3h9S6detkwoQJHe6UQk8duVBCb8yEPj+0FpAcUi/I56AZjodKYTl6Yk5oip6oFJajJ+aEpuiJSmE5emJOaIqeqBSWoyfmhKboiUphOXpiTmjKtyd6Xt3leMdTXMECHK81nlJDukfyUo/euf/v7pByj9/NmzcvvRE5enpuM/Nzzz0XjTNHAQpQgAIUoAAFKEABClCAAhSgwCkQePPNN81/5z8Fp5keko2nU6nfzdhuo/ANGzZ02ePJ3dWU+mY7twG5e8TO7euUueG4a1ql9oAqwqnxlChAAQpQgAIUoAAFKEABClCAAhQoIwE2nopwsXN9q13qdN1m46lGVOrOpzh3PBUhA0+JAhSgAAUoQAEKUIACFKAABShAgRIXYOOpSBfQNZOmTp2aPrudO3dKbW1t9M/urqbBgweL2+8psxHlMvnu8VSkDDwtClCAAhSgAAUoQAEKUIACFKAABUpYgI2nEl48njoFKEABClCAAhSgAAUoQAEKUIACFChmATaeinl1eG4UoA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WK9NxWrVolTz75pOzcuVO2bduWPsuRI0fK5z73OfnGN74ho0ePTuzsOR49LcXEemG9FHO9IOfmanjgwIGJ/hzNNS7HQ1YFz9ATt0KS9ESU8Aw9cSskuWTJErnxxhultrYWicfOcLzYhB0+gJ70tAiEXi8Wi3yybDzlo1bGx8yePVsaGxsjgQkTJnSRWLduXfRnK1eulClTpsSW4nj0tBQR64X1Usz1gp7bxIkTZdy4cVJfX48eEivH8WLxdTmYnvS0CLBeMK0tW7bI9OnTo//o6V6TJ0+Wu+66S0aMGNHhA5LyfOihh6LPP3TokFRVVUW/086fP19qamo6jFdRUSGbN2+O/R8KOF47Kz2x64H1wnrBKqW4Umw8Fdd6FPXZvPzyy/LpT39aFi9e3O1fiFpaWuSee+6JmlPul4M4/wWI44nQE78kWC+sF7xaRHzXi+XckvqLEzomx0OlsBw9MSc0RU9UCsuVomdzc7O4u+pdE8j9R0/3u1HqjvvO/6EzifmtWbNGJk2aFDWcRo0aJU1NTdHvtO6fN27c2KHZlUSjhOOdbB7SU7+OWS+sF71KijPBxlNxrktRnpW7vfCxxx6TrVu3qudXV1cn3/3ud2XmzJlqtrsAxzspQ0+9jFgvrBe9Sk4mTkW9zJkzBz7FXA1+5EPc/DjeSSl65q4a1ktHH9ZLcdWLu7vj1ltvlZdeeind9HHNKHeXs7vTftasWbJ06dLopJNoPLm7m1xj6/nnn0/f4ZR5x1VmsyuJRgnHO/mUBD31f8OzXlgvepUUZ4KNp+Jcl6I8K/eL6YYNG2Tt2rXq+SXxL36Od5KZnmrJCeuF9aJXScfGk8+fZ6n/QukeD/nMZz6T81SXLVsmM2bMiPWoHcc7SUxP/cpgvbBe9Co5mfBdL7n+/Z5qmqaaT0n8vtTdZ7g7rW677TZZvXp1ekuJJBolHI+eluuP9cJ6sdRLMWXZeCqm1Sjyc0n9opH5X5yynXLqEZa4+zxxvHZdemIXBuuF9YJVSnvKd724Md0vi2effba4zX1zvZL4ixPHS7YRS096Wn6+sF6SrRd3x9PDDz/c7R337mfq1KlTozuf3J1QcffIc3eUDB06VBYsWJB12VP7Sbrfc924cfd44njt+8fSE/spw3phvWCVUnwpNp6Kb02K+ozct9a524/dv9zdho6f+tSn0uf7pz/9KWqSuF8AqqurO9yinO+kOB49LbXDemG9FHO9pJrI2v53STWeOF57NdATuypYL6wXrFI6/kcOHz/PXDPJNYJyjZVqPrmzi/uopPusefPmRXs7dffK/DKTuI0njifRY5OpLy+iZ+4rkfXCerH8rC6mLBtPxbQaJXAu7jbj++67L/qXg9vkMdvLPUqycOHCWBuLpz6X47V/cws9sYuD9cJ6wSqlPeW7XtyY7k6ryy+/vMs3I2Wet2sA9OnTJ5GfoRyv/a5RemJXBuuF9YJVSnvKZ700NDTIpZdemvMbk921fvXVV8sPf/jDWHuMph6py/ateZk+qWaX9iSAZsrx2oXoqVXKyd9d3COfrM/2Ox15/WF1UwwpNp6KYRVK9Bzcv+CPHDnS4exHjx5dsNlwvGRp6UlPiwDrxaLFLAUoQAEKUIACFKAABSiQEmDjibUQhID7ryQDBw6UQja+Ov9XLp/jBbFIRTQJ1ksRLUYJnIrvevFN4nt+vsfz7Rn6eL7Xz/d4oa+f7/mFvn5uc/Mbb7wxkTtUkbXxPR5yTszgAr7Xz/d4uASTiEBo68fGE7LqzJgFkvpFI/Pra91JuMfOst1amtQeHr7HQ2GT8gx9PN/r53u80NfP9/xCXz/f8/M9nu96CX083+vne7zQ18/3/EJfP7ehuft9020rUVVVFT3iN3/+/C6PSSfxrXZu7XyPh9aL77/4lup4vtfP93isl3aBpOqzWNcPXed8c2w85StXpsf5/EXDbSY5cuTI6F/6EyZMiPZjcRubu1fnb8xLovHkezw3D5+eoY/ne/18jxf6+vmeX+jr53t+vsfzXS+hj+d7/XyPF/r6+Z5f6OuX+tZT13AaNWpUtMm429jc/fPGjRujL9dJvZJoPPke71Q0unz/RdvneL7Xz/d4rJeTf+kv1eu9WNoWbDwVy0qUwHn4/kXD/Uvj1ltv7bBpnDsH980X69ati75Zb+nSpZFcEo0n3+P59gx9PN/r53u80NfP9/xCXz/f8/M9nu96CX083+vne7zQ18/3/EJfP3d3k/sPnc8//3z6DqfM/1CY+R8/k/iLqO/xfDcuQh/P9/r5Hi/09fM9P9/rV0wtBjaeimk1ivxcfP+i4W5n3LBhg6xdu7aLjHtvzpw56eZTEo0n3+P59gx9PN/r53u80NfP9/xCXz/f8/M9nu96CX083+vne7zQ18/3/EJfv+5+p0x9+9zq1avTd94n0XjyPZ7vv/iGPp7v9fM9Xujr53t+vtevmNoLbDwV02oU+bmcil80Hn74Ydm6dWtWmdTXrro7n9x/7Rs3bpzU19fnreh+cfM5nm/P0MfzvX6+xwt9/XzPL/T18z0/3+P5rpfQx/O9fr7HC339fM8v9PVzfxEdOnSoLFiwIOvvlO7O+8bGxqj55L7OffPmzbG+3Mb3eL7/4hv6eL7Xz/d4oa+f7/n5Xr+8/2JcgAPZeCoAaqgf6fsXDddMcv/id8/V19bW5mw+uTcXL14cq/HkezzfnqGP53v9fI8X+vr5nl/o6+d7fr7H810voY/ne/18jxf6+vmeX+jr5/7D5rx586K9nbp7pZpP7v24jSff4/n+i2/o4/leP9/jhb5+vufne/2KqS/BxlMxrUaRn4vvXzQcR0NDg1x66aXRt4l093r55Zfl6quvlh/+8Icyc+bMWIo+x/PtGfp4rBeR1F2ApdiI9V2fvusl9PmF7ul7/XyP53v9fI/n2zP08UJfv9Qjddm+RTnzl8zUv3NfeumlDhuOW38R9T2e77/4hj6e7/XzPV7o6+d7fr7Xz/rzqJB5Np4KqRvgZ/tszATI12VKvj1DHM/9AHevmpoaLyXje7zMSYW4fqdyfl4KJmMQ3+vne36+x/PtGeJ4vn+e+R7vVP58CbFefF/jp3L9TuVcCz2277/4hjqeazB390RGIdbQ93ipOYS6fqdqfoWojVL5TDaeSmWlTuF5+v5FkeMlu9ihe7q9LRYtWhTdFfelL31Jrr/++mQBO32a7/FCXz/OL9lypSc9LQK+f575Ho/Xg6Ua9Gzonr7/Ys/x9JqzJHx7ur2B3OOYkydPln/8x3+MddcbMk/f4/n25HhIFZR2ho2n0l4/L2fv+xdFjpfssobu6f5F9cgjj4j7lhm3H1hVVVVBm1C+xwt9/Tg/Xu8WAdaLRUvP+v555ns81oteA5ZE6J6+/2LP8SzVp2d9e27ZskVWrFgRbXNw6NChaF/aQjahfI/n25Pj6TVe6gk2nkp9BT2cv+9fFDlesosaumemltvvy22y6uuXAB/jhb5+nB+vd4sA68WiZcv6+Hnm++c168VWA1o6dE/ff7HneFrF2d737Zl5dmvWrJH/+I//iP4jqHuNHDlSbrnlFrn22msL8jiej/F8e3I8W72XYpqNp1JctVN4ziH+Yur7F2GO5+eWZPcv5d/85jddmlA333xzwX4JKPR4vP6S/eFHT3paBEKvl85/iSr0zzPf44W+fpyf5WrWsz7+Yh9646Kc5peaq3sc9ZlnnpEnn3yySxPqxhtvTHw/Ul/j8XrQf2ZYEr49LedWyCwbT4XUDfyzQ/yLve9fhDneZClUIyj0X3h4/SX7A5ae9LQIhF4v/PlpqQY9G3q9hDw/X3+xD71xUS7zy/xpkKqdH//4x7Jt27boLfco3g033BDdCZX0l+L4GI/XQ7JfZOTbU/+3VWETbDwV1rdsPt1355bjJVtaoXtqv/Dcf//9Mnr06GRRRaS7f6EkPV7o68f5JVua9KRnPgK+fp75/nnN6yGfauj+mJA9ffzFPvTGRTnNL3Ou7jFVdyfUww8/3KEJtXDhwoLche9jPF4PhWlC+WpUJvuTH/s0Np4wJ6ZAgVB/MfX9izDHK0wjqLtfeNxz+DNnzgSrPL9Y5r+gCzUer7/81qa7o+hJT4tA6PXCn5+WatCzoddL6PPz8Rf70BsX5TS/znN9/PHHZdmyZfKLX/zi/2/vbF6uqr44fvoDJBNHJSG9DAIj0XJgNUiofmhIg4w0CaHozQg0tKwcWVmIBYFlUiCRBr1MRKkc6CAQKoqgwkEGotFIyugP6Mf3yHo6nufc83LP2uve+9zPmWTPPWevvT977XX2WXvttZOfhiddTS2P8dBs87vcEc2zS9363IvjqQ89nq0l4PmhrQF45ZVX1oalespTWadPn66NgplkeW1U17N94yivTZ2GvUcJEufNm5d8MlFXv0nuv+jx3qaf4dmG0qV7sJ//RTtq5TKVo3mUjqD22tD9Tuxnv4UQ7Kfv+FPurFtuuaVWkT0/7FXWP//8UytzkuW1sQie7RtHeW3qNMw99u69+uqrk0RRta3TJPdf9HhvwzSaZ5s6DXsPjqdhyfFcKAEd4fv8888n3RtdbJDkffrpp9l3330X0s5oeSGNmjIheuFv3rx5Jpmkmn/VVVdlTz31VLZ161bXvfw6te+nn37KXn311UrKDz30UPbMM8+4bR+Mlhc93jXR+Oqrr/J8Y1U5F1566aXs5ptvzsR1Eq9ontH2LFreJOrAuNcZ++lnr6PH+1y3nzri/dtvv83t/3333ZetXr066XCSvOXLlw98v3sLj5bnXX/KyzKNQS1wWB4pMbn++uuzbdu2uUfz182H5CB5+umns0OHDrnNeaPlRY93bU0+f/78wH5Sfd54441G5/ekjAMcT5PSU2NYT00UFbr5999/V9Zu5cqVbh++5u2VM0iGVR/0KScB7733XrZnz57szJkzIeRTy9NLaenSpdn+/ftz42YT07rGydBt377drf0p9aVNe8oN8W7fbbfdluumHE2LFy/OxZ09ezZ79913s3vvvTf78ssv3ViqvSdOnBhYpl5Uq1atcuu/aHnR4930R3Zl9+7dsyYA3jylCCnHQ1nRonmmtmfl9qWWh/2cbbqwn+3NOfbT930UbT8VgffFF1/ki0q//fZb/kGvBNEPPvhgko9BzW0XLFiQvfPOO+2VrMedqeXJPj/55JPZjz/+mPPS+1QLPXXX119/7fb9IDn2DhwkU6fNXXfddUNRbNOecsGe7VPbbr311lyE5p/aHaJLc0Rx9rbVTfOhK664IvNsX7S86PFu+iO7cvDgwVl6781zKCV3fAjHkyPMaSpKH00aLEXvern95uTw5mL7Xk+ePJlPBCyqxPt0NDkSFP2gl/+wL6QubU8pz1Yhnn322Xy1Tob11KlTtdXzdBym1pc27Sk31rN9WrFYs2bNzMSqKMs+Wm3S1UUnqhwIf/zxR3b48OE8Gk9JysvXL7/8kk/yPMaf9CZSXhWbiPFuETMag+YoLK4wNU18uvZp6vFQV58InpKf0p5VtS+lPOznbOLYz+ZRj/28tD1tLtlPi+6yRVCLKpHjwuuEMnMkpIiWHvSOleMilTzNj95+++2ZubQiqM+dO1c7gPo4gsoFq8/uuuuu7K+//hoos8/8rE17yoI926eIIH0LffPNN7N0UE6/HTt2ZH/++WezwWq4Qxy1BXTLli35+33Dhg2zntDcVHOoPjyt0Gh5Vc2PGO+yj/Pnz88uXryYOwo1Dnft2jXTlzieeqsuBcwFAjK069evz44dO5Y87LiOlz7gZGzlUHn88cfdIjzUPnme61ZlPFcRouVF6+C46EuqdjetaOslvW7dut762TayS5NIRVj1nQhHy2vqn1Tjvdh/cmJqYiWn+osvvphvk3z44YddI8jGZTyk4hltz6LlNemp9+/joi/e7bLysJ8+9rqpf1KN92m1n+bE14f9kSNH3CJ05Eg4fvx47cKuZ0RJtLwmPfX+XVu/xDMiibd33duUV+fY1ZhfuHChSwRS28guOU48ovWi5TWxTjXei/2nd730VZdF3+N4auoZfp8KAk0TxdQQyqelKOrpo48+cnOCtYmg8VzxjZaXun/K5Y9aX1K3tynHjNeKb5sVdM+k5tHyBvVT6vFepZ/62+uvv55XSdsePB3box4PqXlG27NoeantCfbzcgLYz34al3q8T5v9LJ82pagnOTa8IuPbRNB4RsxEy+unzd2f9rIf3SXHPNGUo8vLcdEmAskzqXm0vEG9lXq8l/VT9nrnzp155JgWkbUI6ulojtHKwVLYajfqHphQ+Qqd3bhxY/brr7/2jqpoi2DQ0ZL333//xCb9bdv2FPfJqH/yySfZ999/X1n8pk2b3LhG60v0h2jddjr7zTM6UDx//vnn3hFUbfUqWp7qFTneBzmCVAdFPSmM3TPCMXo8RPNsq1eTfB/20y+HI/bTfyRgP32Z2ni3PE+WZ1Tbje644w5fYVNQmt6BR48ezd/zVZdnMmVFdGme65lns66Loh15luNw0FY7pV64cOGC27ea5ktLlixxW+hvUvdoebnbwKcAABX8SURBVKpP5Hgf5BgtRt/jeGrSEn6fCgIaLFrhKe5FTdVwS06o8uUBfu6557K7777bzZCmqve4liuP+o033pjveVfia53YoqiOG264If+3VvCUP8hzQhWpL01bxEyHPE8ps7DgquTikhd1QuK46lyXeo3beNckZNGiRa72JnI8jBvPLrowjvdiPy+9g7Gf46idWTZu433S7af0XA4nXUoq/sgjj4R9dI+nhvWrlT6o77zzzjw/64oVK/KUFpojKTWA/i3Gr732mlsEmdnrqoND+rWk+ummLWKac3s61qx9qk1VcnEtng06ATlF+ye9zHEb7xovnt9io+4fIp5G3QMTKl8e/b1799buQfeMEJA8nZ4nZ5NXOHMT+sgVbdWlGF1hdbNVNW/nniUctIi1osfdojEU3unFOlpfBvWtHdmt31Unz0tlv/nmm3l4bDGJpSZR+/btc3VaWL2LJ7VoMqMTY1JM8qMjyEYx3m0M6qROXSl5Ro+HUfDEfmI/u9hX7KdfBNkoxvtctp9ayLr22mtDFzsjI4LUd8XoChu3WoD03GJu5erDXomULQKpuBXM8k15LtRZ8m2dSDjoiogo0XztnnvuybZt2zbr5NwutrLq3kHfD3JEpXI6FeeFOtxJjsMUTpLoCLJRjHcbg3boU0qefXWt7/M4nvoSnNLnoz9Eoz+0o1e0i/LkqFi2bFne5B9++CFfafNKFm0cy1uLyqGeSob92GOPub0cR6UvVcPTWHsmAy3Lsb3pKVcpylFd5uhtyjc1jMkaRQRZsZ7SH8/cVVUMInmOajxEOSqxn9jPYeyMPYP97ENv9rPYTx+eUR/a0RFBRXlyCi1evDgHZif3eSWLtl4ozzeLjidLhu1xKprJi3Zc1GmbWK9duzZpmpKI8V6O6jLHXVO+qWFGYnQEWbGO0sfTp09nnrmrqhhE8hymDzyfwfHkSZOykhKI/DCMjggyeSdPnsyjVoqX5b/4+OOP3bY2SN77778/s/1LpyjouFWLAvI6hS2pQvQo3DvZpCXhrnM0eU4GTCfkbNLKSPHUtQjHmqFPHUG2efPmmS0OkqkIwBRHPo8Lzx4q3fgo9hP72agkLW/AfrYE1XAb9tOHY0QpkR+G0RFBkqdooKqTcG3bpn73ioCXPEVTWSSOUjxYFJDnKWwRejGMDK9k3yZbc8s6x4i388S+V3Rynfqy2B5zYv7777/DoOn0TMoIMs0JtfiunR92SWdTRKuNC89O8HvcjOOpBzwejSMQ/WEYHRHUdMpViom+jKhNJuy4bu0F16X99Z7JsOM0pVmSvRj379/vFtFl/ffss8/mSb/LiRflyLMXmMd++3JUU1k/vPWljmoqR5cxq8qZpW1wnolCx4lnswZ3vwP7+b9s1apVbsn4NeHFfmI/u4/E2U9gPz0opi0j+sMwOiKoab7g7SjRfPPll1/Ozpw5k3ecFj71txdeeGEmyt8zGXZa7ehWui0AeUZ0WZTRzTffnJ07d24mTYBqpneVdkxY+gePeX05qqmsH976Ukc4RQSZMZPcqpxZnmlkJGOceHbT5uHuxvE0HDeeKmT9jzgVLfrDMDoiqM542sTUVhe8lE/73vWisgSxevkrP5EZW8nzuqK3FhWTq1a1IcXWxeeff/4yUeYcMUeXXvjnz5/PdMJI39XDNo7RdevWuX1oN+lB08S16fny78pvsWbNmqxqclZ3AlZXOXb/KHhG5kDCft6YYT/bjw7s520Z9rO9vsx1+xn9YRgdEVS38Gnzl75zlqI2WaTfjh078gh//b8Y2+KcZ3S/5EZvtSsmp64aRSm2Liope/Eqpl44cOBAdvDgwezw4cPZ8ePHZxx+7Uf45Xe2cYxG5MyyWnk7uiwn2KBTAqW32iHidY0bT692DSoHx1NqwnO0/OgcHtETm1GsaMvxI7mHDh2aSUQtzjt37sz/7hnhMUgtJU+XkgR6XtE5guS4ePvtty9rwvz58/PcWVdeeWX2wAMPuLbR2mcv26KzSRFQypVgyTKLYeXDMi47ZoovLnPMeKxstalfygiyQTrvvRU0mif20z+iEvvpd8oc9nNpWMQv9rPNW+bye6LtZ/SHYXREkDl+lPi6mIha807lHI1ywkqe13a+osZE5wiy75ViHdQu5c5SknrP00AlQ+1T9JicSpJj81FFjSkNw/Lly/N+te+avtFWZcdM0fFjixZREWupIsgGRUin2Ao6Tjy7W+PuT+B46s6MJ7JLx/XK6xt1Klr0h6E6OWVEUJMjpqxkitDxPr56HBQ5ZY6LyPZVrRjaZFX1OHHixIzj0Cs6SM4XrUJqEqMJhxxammAoak3bgDxPhRlFBETRWVfuSy+GxXKjeWI/h4+oxH5e0lzs5/BWPnq8K9J10JUiAhf76XeqZPSHYeqIoCZHTFlPFb2tCJpy/tHhR994PJkyR1BkC6vmQ+YMeuWVVy7bZu4RHWRb0RYsWJA7JpWaQ1FcujT/9EgnUeQ3iggyc9ZV9aMHw2K50TwjdXMAvyuu+DciC9ioW4p8VwJtIpA8T0VT5SMnioNgeUUEtdl6Vq7DypV+xy2rbEXGyKEgo1d1bdq0yX1lpkqOV44LMb3pppvySCZLplin9J6npInjnj17Lgthtsimv//+O4njadDx45oA7Nq1yzWiKzoCom47XaqIrkie2M9+EZXYz/8sG/ZzuKlN5HjHfvq+j6Lt57h8GHpFBLXZelYeVYoS94xG0pj48MMPs4sXL1YO4ChHl0eOIJtv2uEydthMnWXyPCVNjhk5gSw9RjGySSkgitE7Xk4TyZCDSadu26XDX5Sna/v27cMZ5QFPRUeQ2Xx+0FY7LSJ4R3RF8nTtnCEKI+JpCGg8ciniKfpUtMiJ4lzv42LCQa1mjdLxJNl9I1hsu0JxX3s559KgPlX7i9sbh+l747lixYr8Jf/DDz/kL2TlKtDe+m+//TbTiYW6li7138ZhzkPPieEwHDyfsVXZquTiihDwjOgq1zs1T+ynp6bEl4X9/I859jNe/9pIxH765jicpg/DNvrV5x7bwSBHheZMVVeU40my+zpjyqkWukSUeUQHGU+bKynaUdHwR44cydauXZtHwCttwWeffZbnGPV2mmgxcNGiRa6LnX30q++ztpijcqqSi3v0WV0d5xrPcltxPPXV0Cl9fhQ5kIqoU38YSta4RASlUDG9KF9//fU8meOonRUeOS70ovjggw9mTvNQ35WTLVZxVDSSwoQ9TrjTy1+n2umFrxe98iUo7FiTK/3bVob0/7ZFtU/fqo2K2rL+M31V+Y8++mjSflWfeUaMVXEY5GhWaPe+ffsmepKD/cyyqIjKPmNs0LPYz0tksJ/DaRf2czhu9tSo7WfEh+G4RAT166nqp+WY0dV3wc+jbh45gmy+qXmXIu7Vd8rt2XTZAmXfnEuSY+8knV5ni8maA2uRTpclbvc6Ebi4w0Dlm77edddd7jlUixwtuswzYqyqnwY5muWIKuZBa+pjfp9NAMcTWjE0gZQ5kBQKrGSxdnKAjNzvv/8esvVLQEaxoh19ylUx79DQStDywegcQS2rld/WN9qqTlbRQWrh7R4h6zbxtmTmxeNfrT4ezq3yC3/z5s2zQqv1It66dWtSR5DGxj///JNZKHuX/q26dxy2amE/fbfyYj+/TDoGB4057Gc7a2R5e8pbU7Cf7fiV70ppP23uqXe2Lv1XER1e75+mFo8iIkgyjx49OjD1gmcEUkqbUcU2OkdQU/8Wf+8bbVUnyxykukfRTro8Dtax7zObY5q+asFVC69ezq1i29QWpW8xB5p+k7xt27ZlTzzxRBfkne/1XigYh62unSE4PoDjyREmRV1Kdqqr76lo5T38dce9puAevaIdfUqLOSq0/SsiYWR0josuOqG6XXPNNSEcutSr7l7pZzF5rOmrJgK6brzR//h45VjTS79q61uKiYYXq6pyuianVvsiInSwn8P1OvbT95TOLr2A/WxHC/vp62iuou5lP8uOkWhHSXREkEWd29Y3i5TRPF7/tgTSXtHxFh1elUOn3Wjqdld0jqAutdOirIczqIvMvvdKP4vJt01ftZ3PdEkOKC99KS6sVm19sxQbfdsV9XyXrZg2Jj0dv1HtHCQHx9Ooe2CC5Ecmb5ZHeP369Xnyuttvvz1fiVFOl7feemsgMc/Qy2hHV/QpgYJoqxZKBlh16WM7wik1QUOgtqrRERdFx5MSmWtyaCHA3hPl8qmSRRB1icD79K0+IrRKp+08VZd3sn0xmz9//mXb+OyYaX00WuLOYduE/RyWXPNz2M9mRuN+B/bzR9f3LfZz3tA8FfGk+ZHmRnrPbNmyJT/cZsOGDQOHkR1s4jHOvN/fTXVSRJCSfMtxoKsYhaPIMp2a651TUYxV5rp16yqrZ9vWmurO75cIREesmePJou+PHTuWrV69epb+ePRP+VTJYpn27rfdMR7yVIbaZVFiVWV67Fywcm3hrJyYXe9EbV3U3FNjdK5cOJ7mSk8mbscokjd38Qqr+Z5e7+iIoOhTWsSriW9fnpEf2onVv7H46IgLc/bIMauVJW3fKK4w2Yl6XiHITY5YTco1gfQ6zcQcPsWw6nIneOTlsjI1adu4cWNl7i2PU8Own41DqNcN2M8sec61Xh3U8DD2E/tZpyLR9lPzP+Vl1Du17WXb3tveX3dfdERQ2dFVdDxpbC5cuDDzyENkbW7Dtw/PUZ8y56EDXcqIjlgzZ48cJVoAVV6pM2fO5FUunqjntXBd54g1/eyjL2XW5vBRuwZdnuNBjrXvv/9+xvFblOlx6mIXXYq4F8dTBOU5IGNUyZvtBXL48OHGiCfPFSd1WWREUPQpVxZRJueSVvSqrj48oyeKox5io4i40MtKidEViltcEUkR6lze2lfm7b1Ca/pZXEVL2cdNjrW+7cN+zu49z4hK7Od/fD1OmUs51qrKxn7+77Ijz/vyx35eItg3+b0+ov/4449WEU/e+Z8iI4IUTaF8ORYxXVy4SvFhbxFlmrcod1bV1YfnqE+Z6zt+uz4fHbEmnXj44YfzbZjSm88//3wmulDsDxw4MOOI6tqWqvvLW/vK93jnyZJ+Ksqv2C6Pdgwqo2l+6d2+lG1pUzaOpzaUuKcXgaZB1aZwOyXCK6KijczUEUHFOkSf0tLkSGjDp+6eUX1o9633sM+PIuJiUF2lS0rE7bXaJDl12+nsN08nUZMjaNh+GvScfahVrWLZ6tfu3buTJ7EcNOlatWpVr2gy7Odrmbd+Fre6eusj9vNyR4wiKpVY1iuCs66/sJ/dtXmu20+9j5YsWTKzlag7oW5PpI4IKtdG/ffyyy/POAuKWw3t5LULFy70zt1qcpscCd1ozb57HE6Z69uGLs9HR6zV1a182nKXdgy6VwsTe/bsyapygtnBRd762XfO1aXd5uiqal+dbe0iY5zuxfE0Tr0xR+syiclHU0cEVXV1ylNayvKiQ7m7qLaHo7KLPI97oyMuPOrctQxzxFYlF9eRvZ45IOq2vnWtd5v7i1v7lCtr2bJl+WNnz57NIx91eZ8S2KZeugf72Y4U9vMSJ+xnO32Jvgv7+aub46JL302i/UwdEVTmZycu7tixI1+wKm91//jjj11zzMhWaxujvVu79GfqeycxuiQ6Yi11H1Tppw7M0VWVXFwpJyxaz6NudVvfPMovl2GLm/q7+nLx4sX5Leb0nbTDe5oY4XhqIsTvU0kgdURQW6hep7RUydNEWKdO7Nq1ayQTwkEMJnGiGB2x1lZ/PO+TLr755pvZu+++m+/pt0uOmn379rnrULR+qn07d+7MJ8Pl9tmE3JPnXC4L+zm63sV+jo59nWTs5y3j2TFjWKvUEUFtm6x5jdfJZEWZltNtVFHEde2fxFPmoiPW2uqP533SRTmYlM/ULqWZkCPK0+mkskehn3I+aTyU2ydH1Lh9o/XtVxxPfQny/JwkMM4RQR7A9aLau3dvVpe8uW9ycY96TlIZkREXo+ail6S28/XJw1DXBvRz1D3cTz720/ewi369MRlPYz/9+gn76cdyFCWNc0SQBw87pawuebtnsmiPOo9zGdERa6NmoTym8+YNf2plU/3RzyZC/X7H8dSPH0/PYQLREReRKGW4T506VSvS+7j6yPaNi6yUEWvj0sYU9UA/U1CNLRP7uTKZYza2J0cnDfs5HHvs53DcxuWpUURcRLZdjtFz587VivQ8rj6ybeMkK1XE2ji1MUVd0M8UVP8rE8dTWr6UPqEEWDGc0I6j2hCAwMgJYD9H3gVUAAIQmFACRFxMaMdRbQhAoJEAjqdGRNwwjQRYMZzGXqfNEICABwHspwdFyoAABKaRABEX09jrtBkC00EAx9N09DOthAAEIAABCEAAAhCAAAQgAAEIQAAC4QRwPIUjRyAEIAABCEAAAhCAAAQgAAEIQAACEJgOAjiepqOfaSUEIAABCEAAAhCAAAQgAAEIQAACEAgngOMpHDkCIQABCEAAAhCAAAQgAAEIQAACEIDAdBDA8TQd/UwrIQABCEAAAhCAAAQgAAEIQAACEIBAOAEcT+HIEQgBCEAAAhCAAAQgAAEIQAACEIAABKaDAI6n6ehnWgkBCEAAAhCAAAQgAAEIQAACEIAABMIJ4HgKR45ACEAAAhCAAAQgAAEIQAACEIAABCAwHQRwPE1HP9NKCEAAAhCAAAQgAAEIQAACEIAABCAQTgDHUzhyBEIAAhCAAAQgAAEIQAACEIAABCAAgekggONpOvqZVkIAAhCAAAQgAAEIQAACEIAABCAAgXACOJ7CkSMQAhCAAAQgAAEIQAACEIAABCAAAQhMBwEcT9PRz7QSAhCAAAQgAAEIQAACEIAABCAAAQiEE8DxFI4cgRCAAAQgAAEIQAACEIAABCAAAQhAYDoI4Hiajn6mlRCAAAQgAAEIQAACEIAABCAAAQhAIJwAjqdw5AiEAAQgAAEIQAACEIAABCAAAQhAAALTQQDH03T0M62EAAQgAAEIQAACEIAABCAAAQhAAALhBHA8hSNHIAQgAAEIQAACEIAABCAAAQhAAAI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yB1P4VIRCAEIQAACEIAABCAAAQhAAAIQgAAEIDAVBP4PSUvMkZPYWOAAAAAASUVORK5CYII="/>
          <p:cNvSpPr>
            <a:spLocks noChangeAspect="1" noChangeArrowheads="1"/>
          </p:cNvSpPr>
          <p:nvPr/>
        </p:nvSpPr>
        <p:spPr bwMode="auto">
          <a:xfrm>
            <a:off x="457873" y="457565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AutoShape 5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5/z418Mk19Frl+ypvSkp0WA9WLR0rP01I0sCXpatPQsPXUjS4KeFi09S0/dyJKgp0VLz/r21M8o0MbTT3/6U/nUpz4Vze5Pf/qT3HrrrdG+T5mv1J+3tbXf5cJX9wK+C9fneMt//7qs3X4wmvyZp1XKgq/Wyjl9eha0HHzOz02E4yW7nPSkp0WA9WLR0rP01I0sCXpatPQsPXUjS4KeFi09S0/dyJKgp0VLz9JTN7IkfHtazi1btmTveLJMnI0nXct34foab/v+o7Lo6T1pgFlfGCBX1fXVQWImfM0vdZocL+aCdTqcnvS0CLBeLFp6lp66kSVBT4uWnqWnbmRJ0NOipWfpqRtZEvS0aOlZeupGloRvT8u5BdN4WrVqlezduxea+6BBg2TKlClQ1ndo9uzZ0tjYGA07dOhQaWpqSp+Cm+PUqVPT/7xz506pra0V9w1+Luteixcv7vBNfnV1dfLoo4+mv+3PMh/fhetjvPc+PC5zf9EsB4+2RhSjhpwlt18z0MKSdxaZ38Hvfcb0+dU/+F/d5pHxTIMpYY6XpCbvWEtWk570tAnw55nNS0vTUxOyvU9Pm5eWpqcmZHufnjYvLU1PTcj2Pj1tXoVOl+QdT4VG8fH5bkN0tznz0qVLo+EmTpwYNZbcP6c2S081m5YsWSLLli2LGlOuWTV27NiomeY2WU/dzeX+fPDgwR0aUZZ5hHhhPvjbffLCrnfaGY4dkWX/18joUTsfL8STjSd8JRBP/NP0JMfTjSwJelq09Cw9dSNLgp4WLT1LT93IkqCnRUvP0lM3siToadHSs/TUjSwJelq0Cp9l46nwxtAIrrm0YcMGWbt2rbj/vXv37nRTyn1A6pv87r33Xpk3b150V5O7w8k1o9zdUe5OJ3dsvq/QLsznmg5L47P70xwn/vBzWfGTBfnymI9DPNl4wlkRT/zT9CTH040sCXpatPQsPXUjS4KeFi09S0/dyJKgp0VLz9JTN7Ik6GnR0rP01I0sCXpatAqfZeOp8MbQCO6OJfdydzy5u5/GjRvX5TE613TatGlTlzueMu98ggbLEgrpwnzrSKs0PNEs7lE795o4vFrWPPid6A4zXy/Ek40nfDUQT/zT9CTH040sCXpatPQsPXUjS4KeFi09S0/dyJKgp0VLz9JTN7Ik6GnR0rP01I0sCXpatAqfZeOp8MbqCKl9m1KP1uVqPI0aNSq9x9PKlSujO53cHVDTp08Xd/ysWbM63CmlDv7fgVAuzOMn2mTR03tlx9+ORjMbWHW6zL+hVr71zZvYeEKLAciFUi/dTZXzA4rAEKGnAQuI0hNAMkToacACovQEkAwRehqwgCg9ASRDhJ4GLCBKTwDJEKGnActDlI0nD8jaEO6ROXc3U2oT9FyNp8yN0t0jeZmv+vr66PG79evXR/tFWV7uwgzhVXHR56Vi6DXtU2k7ISe2PiLy7htFObV/rfuz6bz+uenvTHmGKUABClCAAhSgAAUoQAEKUCBMAZ9P9MQVZOMprmDM412jaMaMGR0eq8t87C718e5xutQdUe7P3Abkrlnl9nXK3HDcNa1Se0BZTi2EjvCelg/ke7/cJe6uJ/eaevl5MunSmuh/F+P8+KgdXqHFuH742etJzk83siToadHSs/TUjSwJelq09Cw9dSNLgp4WLT1LT93IkqCnRUvP0lM3siRC97RYZMuy8RRXMMbx2ZpOqabSmDFj0o2mzG+1Sw2X2YhK3fkU944nnx3TpC/M1uNtcs+TzbLv0LGIaNgFvWXudYOkskcFG08xarS7Q5NeP+0UOZ4mZHufnjYvLU1PTcj2Pj1tXlqanpqQ7X162ry0ND01Idv79LR5aWl6akK29+lp89LSvj2189HeZ+NJEyrQ++6b6KZOndrl01N3Nblm0pw5c9Lvt7W138XjXu6uJrenU+Zjd64R5V7lusfT8t+/Lmu3H4wMzjytUhZ8tVbO6dMzbeb7wkTG4x1P+MWFeOKfpic5nm5kSdDToqVn6akbWRL0tGjpWXrqRpYEPS1aepaeupElQU+Llp6lp25kSdDTolX4LBtPhTcuiRFK+cLcvv+oLHp6T9p51hcGyFV1fTu4F+P82HjCL41iXD/87PUk56cbWRL0tGjpWXrqRpYEPS1aepaeupElQU+Llp6lp25kSdDToqVn6akbWRKhe1ossmXZeIorGMjxpXqhvPfhcZn7i2Y5eLQ1WolRQ86S268Z2GVVinF+bDzhF08xrh9+9nqS89ONLAl6WrT0LD11I0uCnhYtPUtP3ciSoKdFS8/SUzeyJOhp0dKz9NSNLInQPS0WbDzF1Qr4+FK9UB787T55Ydc70cpU9+4pi75WGz1q1/lVjPNj4wm/oIpx/fCz15Ocn25kSdDToqVn6akbWRL0tGjpWXrqRpYEPS1aepaeupElQU+Llp6lp25kSYTuabFg4ymuVsDHl+KF8lzTYWl8dn96VeZed5EMH9A76yoh8/PdCPI9XpLli3hyPFyAnrgVkqQnooRn6IlbIUl6Ikp4hp64FZKkJ6KEZ+iJWyFJeiJKeIaeuBWSDN0TMciV4aN2cQUDOb7ULpS3jrRKwxPN4h61c6+Jw6tl2hXnd7sayPx8N4J8j5dkqSKeHA8XoCduhSTpiSjhGXriVkiSnogSnqEnboUk6Yko4Rl64lZIkp6IEp6hJ26FJEP3RAzYeIqrVAbHl9KFcvxEmyx6eq/s+NvRaGUGVp0u82+olZ6V7d/sl+2FzM93I8j3eEmWMeLJ8XABeuJWSJKeiBKeoSduhSTpiSjhGXriVkiSnogSnqEnboUk6Yko4Rl64lZIMnRPxCBXhnc8xRUM5PhSulCe+mOLrHz+jUi+skeF/OArQ+Siml45VwKZn+9GkO/xkixVxJPj4QL0xK2QJD0RJTxDT9wKSdITUcIz9MStkCQ9ESU8Q0/cCknSE1HCM/TErZBk6J6IARtPcZXK4PhSuVD2tHwg3/vlLnF3PbnX1MvPk0mX1qgrhMzPdyPI93gqkiGAeBo+To1yPJXIFKCniUsN01MlMgXoaeJSw/RUiUwBepq41DA9VSJTgJ4mLjVMT5XIFKCniUsN+/ZUT0gJ8I6nuIKBHO+7cLONd8eqv8iBd1vzFu338Z7ywJRPZD0emZ/vRpDv8fKGzXIg4snxcAF64lZIkp6IEp6hJ26FJOmJKOEZeuJWSJKeiBKeoSduhSTpiSjhGXriVkgydE/EIFeGjae4goEcXwwXyrSHX4mtufyWS9h4iq2of0Ax1It+lvknOL/87bIdSU96WgRYLxYtPUtP3ciSoKdFS8/SUzeyJOhp0dKz9NSNLAl6WrT0rG9P/YxyJ9h4iisYyPG+CzfbeDN/9qocPdb+LXX5vHqfXikPffPirIci8/N9B5Lv8fIx7e4YxJPj4QL0xK2QJD0RJTxDT9wKSdITUcIz9MStkCQ9ESU8Q0/cCknSE1HCM/TErZBk6J6IQa4MG09xBQM5vpgvlDfe+VAanmiWD1pPRNpjP3m2zBjb3ySPzM93I8j3eCYwJYx4cjxcgJ64FZKkJ6KEZ+iJWyFJeiJKeIaeuBWSpCeihGfoiVshSXoiSniGnrgVkgzdEzFg4ymuUhkcX6wXims2ff9Xu2TfoWPRKrhvr7vnS4OlV88eplVB5ue7EeR7PBMYG0+yYsWKJMlyfhZSn0meDMdLUlOEnvS0CLBeLFp6lp66kSVBT4uWnqWnbmRJ0NOipWfpqRtZEqF7WiyyZXnHU1zBQI4v1gul8dn98lzT4Uj5zNMqZf4NQ+S8s04zqyPz890I8j2eGS3HAYgnx8MF6IlbIUl6Ikp4hp64FZKkJ6KEZ+iJWyFJeiJKeIaeuBWSpCeihGfoiVshydA9EYNcGTae4goGcnwxXijPvHJQ/v13r6eF7xx/oVw2qE9e4sj8fDeCfI+XF1w3ByGeHA8XoCduhSTpiSjhGXriVkiSnogSnqEnboUk6Yko4Rl64lZIkp6IEp6hJ26FJEP3RAzYeIqrVAbHF9uF0vTm+zL/N7vl+Im2SP+Gy/rJjZ89N++VQObnuxHke7y88bIciHhyPFyAnrgVkqQnooRn6IlbIUl6Ikp4hp64FZKkJ6KEZ+iJWyFJeiJKeIaeuBWSDN0TMWDjKa5SGRxfTBfK4fc/knue3CUHj7ZG8sMH9JbvThgklT0q8l4JZH6+G0G+x8sbj42nJOmyfhZSn0meBMdLUpN7PCWrSU962gT488zmpaXpqQnZ3qenzUtL01MTsr1PT5uXlg7dU5u/9j4ftdOEyuT9YrlQ3B1OP1q3V7bvPxrJV/fuKQu+Wit9elXGWglkfr4bQb7HiwXY6WDEk+PhAvTErZAkPRElPENP3ApJ0hNRwjP0xK2QJD0RJTxDT9wKSdITUcIz9MStkGTonohBrgwbT3EFAzm+WC6U1VvflF+/fCBSdXc4ff/Lg2VIvzNiKyPz890I8j1ebMSMD0A8OR4uQE/cCknSE1HCM/TErZAkPRElPENP3ApJ0hNRwjP0xK2QJD0RJTxDT9wKSYbuiRiw8RRXqQyOL4YL5cU9R+T+Z/6a1v72VRfINcOqEtFH5ue7EeR7vEQg//tDEE+OhwvQE7dCkvRElPAMPXErJElPRAnP0BO3QpL0RJTwDD1xKyRJT0QJz9ATt0KSoXsiBmw8xVUqg+NP9YXyxjsfSsMTzfJB64lIe+wnz5YZY/snJo/Mz3cjyPd4iWEK92BJ0tJ9FlKfSY7J8ZLU5Polq0lPetoE+PPM5qWl6akJ2d6np81LS9NTE7K9T0+bl5YO3VObv/Y+H7XThMrk/VN5obhm0/d/tUv2HToWaV9U00vu+dJg6dWzR2L6yPx8N4J8j5cYJhslSVJGn4XUZ5KDcrwkNbl+yWrSk542Af48s3lpaXpqQrb36Wnz0tL01IRs79PT5qWlQ/fU5q+9z8aTJlQm75/KC6Xx2f3yXNPhSPrM0ypl/g1D5LyzTktUHpmf70aQ7/GSBEU8OR4uQE/cCknSE1HCM/TErZAkPRElPENP3ApJ0hNRwjP0xK2QJD0RJTxDT9wKSYbuiRjkyrDxFFcwkONP1YXyzCsH5d9/93pa8c7xF8plg/okrorMz3cjyPd4SaIinhwPF6AnboUk6Yko4Rl64lZIkp6IEp6hJ26FJOmJKOEZeuJWSJKeiBKeoSduhSRD90QM2HiKq1QGx5+KC+UHDzwi83+zW46faIuEb7isn9z42XMLoo3Mz3cjyPd4ScIinhwPF6AnboUk6Yko4Rl64lZIkp6IEp6hJ26FJOmJKOEZeuJWSJKeiBKeoSduhSRD90QM2HiKq1QGx/u+UG769gypGf9dOXi0NdIdPqC3fHfCIKnsUVEQbWR+vhtBvsdLEhbx5Hi4AD1xKyRJT0QJz9ATt0KS9ESU8Aw9cSskSU9ECc/QE7dCkvRElPAMPXErJBm6J2LAxlNcpTI43ueF4u5w+taP14hUDYlkq3v3lAVfrZU+vSoLJo3Mz3cjyPd4SeIinhwPF6AnboUk6Yko4Rl64lZIkp6IEp6hJ26FJOmJKOEZeuJWSJKeiBKeoSduhSRD90QM2HiKq1QGx/u8UFZvfVN+/fKBSNXd4fT9Lw+WIf3OKKgyMj/fjSDf4yUJjHhyPFyAnrgVkqQnooRn6IlbIUl6Ikp4hp64FZKkJ6KEZ+iJWyFJeiJKeIaeuBWSDN0TMWDjKa5SGRzv60J5cc8Ruf+Zv6ZFv33VBXLNsKqCCyPz890I8j1eksiIJ8fDBeiJWyFJeiJKeIaeuBWSpCeihGfoiVshSXoiSniGnrgVkqQnooRn6IlbIcnQPREDNp7iKpXB8T4ulDfe+VAanmiWD1pPRKJjP3m2zBjbv1td342Z0MdLsox91Evm+XK8JFdPhJ70tAiwXixaepaeupElQU+Llp6lp25kSdDToqVn6akbWRL0tGjp2dA9dYHciQr3amtra/9aMb7KVqDQF4prNn3/V7tk36Fj7cbvviEP3/b30qtnDzaewKqr/sH/6jZZ6PXrPDDHAxcNjNEThAJj9AShwBg9QSgwRk8QCozRE4QCY/QEocAYPUEoMEZPEAqM0ROEAmOhe4IM3cbYeIorGMjxhb5QGp/dL881HY60zjytUt79nw/Kikd+klMv9DuQfM8vyVItdL2w0ZXkanX9LK5fsr70pKdFgPVi0dKz9NSNLAl6WrT0LD11I0uCnhYtPUtP3ciSCN3TYpEty8ZTXMFAji/khfLMKwfl33/3elrqzvEXyo/mzpQVK1aw8WSoH97xlLteDJRqtJDXQ7bBOZ66JKYAPU1capieKpEpQE8Tlxqmp0pkCtDTxKWG6akSmQL0NHGpYXqqRKZA6J4mjCxhNp7iCgZyfKEulKY335f5v9ktx0+0P815w2X95MbPngvtMeP7jqDQx0uyVAtVL92dI8dLcvW4x1OymvSkp02AP89sXlqanpqQ7X162ry0ND01Idv79LR5aWl6akK290P3tGl0TbPxFFcwkOMLcaEcfv8juefJXXLwaGukNHxAb/nuhEFS2aOCjScR8d3oSrJUC1Evuc6P4yW5emyUJKtJT3raBPjzzOalpempCdnep6fNS0vTUxOyvU9Pm5eWpqcmZHs/dE+bBhtPcb0SP3727NnS2NgomzdvltGjR6c/f9WqVTJ16tT0P+/cuVNqa2ulublZhg4dGv354sWLpb6+Pp2pq6uTRx99tMPnoCec9IXi7nD60bq9sn3/0egUqnv3lAVfrZU+vSqjf0bG892YCX08tBaQHLJ+yOegGY6HSmE5emJOaIqeqBSWoyfmhKboiUphOXpiTmiKnqgUlqMn5oSm6IlKYTl6Yk5oyrcnel7d5XjHU1zBGMdXVFTIypUrowZTZuNpy5YtMmbMGEk1m5YsWSLLli2TpqYmcY2qsWPHypQpU8Qdn/pCQvfngwcP7tCIspxa0oW7euub8uuXD0Sn4O5w+v6XB8uQfmekTwkZL/RGkO/5WepByyLrp32G5X2OZ9HSs/TUjSwJelq09Cw9dSNLgp4WLT1LT93IkqCnRUvP0lM3siToadHSs/TUjSwJ356Wc8uWZeMprmACx7sGUmbjyTWadu/eLUuXLk1/eipz7733yrx586K7mtwdTq4Z5e6Ocnc6rV27Nu+zSbJwX9xzRO5/5q/pc/n2VRfINcOqOpwbMp7vxkzo4+VdHFkORNaP4+EC9MStkCQ9ESU8Q0/cCknSE1HCM/TErZAkPRElPENP3ApJ0hNRwjP0xK2QZOieiEGuDBtPcQUTOL5z42nixIkybty4Lo/RuabTpk2butzxlHnnU76nk9SF8sY7H0rDE83yQeuJ6FTGfvJsmTG2f5fTQsYLvRHke3751ka245D143i4AD1xKyRJT0QJz9ATt0KS9ESU8Aw9cSskSU9ECc/QE7dCkvRElPAMPXErJBm6J2LAxlNcpQIfb2k8jRo1Kr3Hk3tMz93p5O6Amj59evRo3qxZszrcKYWeehIXims2ff9Xu2TfoWPRsBfV9JJ7vjRYevXswcZTloVg4wmtTmxPMPzT9GQS14M+yskEx7No6Vl66kaWBD0tWnqWnrqRJUFPi5aepaduZEnQ06KlZ+mpG1kS9LRo6dnQPXWB3Ane8RRXMIHjLY0nt7dT6uUeyct8uY3G3eN369evjzYit7zchRL3VXHJV6Ti/EvbP+ajY3Ji68Mi7x/K+2P/te7PpmP/uenvTPnO4dDHi4XDgylAAQpQgAIUoAAFKEABClCgaARWrFhRNOeinQgbT5qQh/c7N57cRuHu1XmPp9Rm4+49twG5e/TO7euUueG4e0wvtQeU5dTjdmifeeWg/PvvXk8Peef4C+WyQX26PQVkPN93BIU+nqUetCyyftpnWN7neBYtPUtP3ciSoKdFS8/SUzeyJOhp0dKz9NSNLAl6WrT0LD11I0uCnhYtPUtP3ciS8O1pObdsWTae4gomcHznxlOub7VLDeeOyfzWO/fnce94yrdj2vTm+zL/N7vl+Im26PRuuKyf3PjZc3PKIBdK6I0g3/NLoFTTH4GsH8fDBeiJWyFJeiJKeIaeuBWSpCeihGfoiVshSXoiSniGnrgVkqQnooRn6IlbIcnQPRGDXBk2nuIK5nl8c3Nzeq+mzI/IbCbNmTMn/VZbW3tTx73cXU1uT6fMx+5cI8q9fO/xdPj9j+SeJ3fJwaOt0fjDB/SW704YJJU92s+nuxdyYfpuzIQ+Xp6lmvUwZP04Hi5AT9wKSdITUcIz9MStkCQ9ESU8Q0/cCknSE1HCM/TErZAkPRElPENP3ApJhu6JGOTKsPEUVzCQ47NdKHes+osceLe9oZTPq9/He8oDUz6Rd+Mi9EaQ7/nls4bdHRP6D1bOL8lq4ebwyWrSk542Af48s3lpaXpqQrb36Wnz0tL01IRs79PT5qWl6akJ2d737Wk7u65pNp7iCgZyfLbCnfbwK7Fnt/yWS9h46kaRjSe8vHz/YOV4+NogSXoiSniGnrgVkqQnooRn6IlbIUl6Ikp4hp64FZKkJ6KEZ+iJWyFJeiJK/jJsPPmzLuqRsl2YM3/2qhw9djzv8+59eqU89M2L2Xhi4ynvGkodyH9xxCbs8AH0pKdFgPVi0dKz9NSNLAl6WrT0LD11I0uCnhYtPUtP3ciSoKdFS8+G7qkL5E6w8RRXMJDj87lQ3DfZPbbtLRn/qSp1M/HOTMh4vu8ICn28JEsVWT+OhwvQE7dCkvRElPAMPXErJElPRAnP0BO3QpL0RJTwDD1xKyRJT0QJz9ATt0KSoXsiBrkybDzFFQzk+GK8UEJvBPmeX5KlWoz1wvnhAlw/3ApJ0hNRwjP0xK2QJD0RJTyhrr9XAAAgAElEQVR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L8YLJfRGkO/5JVnGxVgvnB8uwPXDrZAkPRElPENP3ApJ0hNRwjP0xK2QJD0RJTxDT9wKSdITUcIz9MStkKRvT+Sc2HiKq1QGx/suXGQ8342Z0MdLsoyR9eN4uAA9cSskSU9ECc/QE7dCkvRElPAMPXErJElPRAnP0BO3QpL0RJTwDD1xKyQZuidiwMZTXKUyOL4YL5TQG0G+55dkGRdjvXB+uADXD7dCkvRElPAMPXErJElPRAnP0BO3QpL0RJTwDD1xKyRJT0QJz9ATt0KSvj2Rc2LjKa5SGRzvu3CR8Xw3ZkIfL8kyRtaP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6kMjkculNAbM6HPL8kyRuqF4+EC9MStkCQ9ESU8Q0/cCknSE1HCM/TErZAkPRElPENP3ApJ0hNRwjP0xK2QZOieiAEbT3GVyuB45EIJvTET+vySLGOkXjgeLkBP3ApJ0hNRwjP0xK2QJD0RJTxDT9wKSdITUcIz9MStkCQ9ESU8Q0/cCkmG7okYsPEUV+kUHL9lyxYZM2ZMeuTNmzfL6NGjo3+uqKiI/v+sWbNk6dKl6czEiRNl+vTpMmXKFPMZIxdK6I2Z0OdnLoocByD1wvFwAXriVkiSnogSnqEnboUk6Yko4Rl64lZIkp6IEp6hJ26FJOmJKOEZeuJWSDJ0T8QgV6bCvdra2trifhCPT06gublZhg4dKqlm06pVq2Tq1KnilmnJkiXRQPX19VJXVyfr16+X2tra6M93797doRFlOSPkQgm9MRP6/Cz1oGWRetE+w/I+x7No6Vl66kaWBD0tWnqWnrqRJUFPi5aepaduZEnQ06KlZ+mpG1kS9LRo6Vl66kaWhG9Py7lly7LxFFewAMe7RtOjjz4qa9euTX+6azLde++9smnTJhk7dmx0V5O7w8nd8fTaa69Fdzo1NTXlfTZI4YbemAl9fnkXR5YDkXrheLgAPXErJElPRAnP0BO3QpL0RJTwDD1xKyRJT0QJz9ATt0KS9ESU8Aw9cSskGbonYpArw8ZTXMECHD979uzoUzs/Rjdu3Lj0aJl3PI0fPz5951O+p4NcKKE3ZkKfX761ke04pF44Hi5AT9wKSdITUcIz9MStkCQ9ESU8Q0/cCknSE1HCM/TErZAkPRElPENP3ApJhu6JGLDxFFfJ8/G5Gk+u4ZTa42nx4sXR43XuDih3h9S6detkwoQJHe6UQk8duVBCb8yEPj+0FpAcUi/I56AZjodKYTl6Yk5oip6oFJajJ+aEpuiJSmE5emJOaIqeqBSWoyfmhKboiUphOXpiTmjKtyd6Xt3leMdTXMECHK81nlJDukfyUo/euf/v7pByj9/NmzcvvRE5enpuM/Nzzz0XjTNHAQpQgAIUoAAFKEABClCAAhSgwCkQePPNN81/5z8Fp5keko2nU6nfzdhuo/ANGzZ02ePJ3dWU+mY7twG5e8TO7euUueG4a1ql9oAqwqnxlChAAQpQgAIUoAAFKEABClCAAhQoIwE2nopwsXN9q13qdN1m46lGVOrOpzh3PBUhA0+JAhSgAAUoQAEKUIACFKAABShAgRIXYOOpSBfQNZOmTp2aPrudO3dKbW1t9M/urqbBgweL2+8psxHlMvnu8VSkDDwtClCAAhSgAAUoQAEKUIACFKAABUpYgI2nEl48njoFKEABClCAAhSgAAUoQAEKUIACFChmATaeinl1eG4UoA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WK9NxWrVolTz75pOzcuVO2bduWPsuRI0fK5z73OfnGN74ho0ePTuzsOR49LcXEemG9FHO9IOfmanjgwIGJ/hzNNS7HQ1YFz9ATt0KS9ESU8Aw9cSskuWTJErnxxhultrYWicfOcLzYhB0+gJ70tAiEXi8Wi3yybDzlo1bGx8yePVsaGxsjgQkTJnSRWLduXfRnK1eulClTpsSW4nj0tBQR64X1Usz1gp7bxIkTZdy4cVJfX48eEivH8WLxdTmYnvS0CLBeMK0tW7bI9OnTo//o6V6TJ0+Wu+66S0aMGNHhA5LyfOihh6LPP3TokFRVVUW/086fP19qamo6jFdRUSGbN2+O/R8KOF47Kz2x64H1wnrBKqW4Umw8Fdd6FPXZvPzyy/LpT39aFi9e3O1fiFpaWuSee+6JmlPul4M4/wWI44nQE78kWC+sF7xaRHzXi+XckvqLEzomx0OlsBw9MSc0RU9UCsuVomdzc7O4u+pdE8j9R0/3u1HqjvvO/6EzifmtWbNGJk2aFDWcRo0aJU1NTdHvtO6fN27c2KHZlUSjhOOdbB7SU7+OWS+sF71KijPBxlNxrktRnpW7vfCxxx6TrVu3qudXV1cn3/3ud2XmzJlqtrsAxzspQ0+9jFgvrBe9Sk4mTkW9zJkzBz7FXA1+5EPc/DjeSSl65q4a1ktHH9ZLcdWLu7vj1ltvlZdeeind9HHNKHeXs7vTftasWbJ06dLopJNoPLm7m1xj6/nnn0/f4ZR5x1VmsyuJRgnHO/mUBD31f8OzXlgvepUUZ4KNp+Jcl6I8K/eL6YYNG2Tt2rXq+SXxL36Od5KZnmrJCeuF9aJXScfGk8+fZ6n/QukeD/nMZz6T81SXLVsmM2bMiPWoHcc7SUxP/cpgvbBe9Co5mfBdL7n+/Z5qmqaaT0n8vtTdZ7g7rW677TZZvXp1ekuJJBolHI+eluuP9cJ6sdRLMWXZeCqm1Sjyc0n9opH5X5yynXLqEZa4+zxxvHZdemIXBuuF9YJVSnvKd724Md0vi2effba4zX1zvZL4ixPHS7YRS096Wn6+sF6SrRd3x9PDDz/c7R337mfq1KlTozuf3J1QcffIc3eUDB06VBYsWJB12VP7Sbrfc924cfd44njt+8fSE/spw3phvWCVUnwpNp6Kb02K+ozct9a524/dv9zdho6f+tSn0uf7pz/9KWqSuF8AqqurO9yinO+kOB49LbXDemG9FHO9pJrI2v53STWeOF57NdATuypYL6wXrFI6/kcOHz/PXDPJNYJyjZVqPrmzi/uopPusefPmRXs7dffK/DKTuI0njifRY5OpLy+iZ+4rkfXCerH8rC6mLBtPxbQaJXAu7jbj++67L/qXg9vkMdvLPUqycOHCWBuLpz6X47V/cws9sYuD9cJ6wSqlPeW7XtyY7k6ryy+/vMs3I2Wet2sA9OnTJ5GfoRyv/a5RemJXBuuF9YJVSnvKZ700NDTIpZdemvMbk921fvXVV8sPf/jDWHuMph6py/ateZk+qWaX9iSAZsrx2oXoqVXKyd9d3COfrM/2Ox15/WF1UwwpNp6KYRVK9Bzcv+CPHDnS4exHjx5dsNlwvGRp6UlPiwDrxaLFLAUoQAEKUIACFKAABSiQEmDjibUQhID7ryQDBw6UQja+Ov9XLp/jBbFIRTQJ1ksRLUYJnIrvevFN4nt+vsfz7Rn6eL7Xz/d4oa+f7/mFvn5uc/Mbb7wxkTtUkbXxPR5yTszgAr7Xz/d4uASTiEBo68fGE7LqzJgFkvpFI/Pra91JuMfOst1amtQeHr7HQ2GT8gx9PN/r53u80NfP9/xCXz/f8/M9nu96CX083+vne7zQ18/3/EJfP7ehuft9020rUVVVFT3iN3/+/C6PSSfxrXZu7XyPh9aL77/4lup4vtfP93isl3aBpOqzWNcPXed8c2w85StXpsf5/EXDbSY5cuTI6F/6EyZMiPZjcRubu1fnb8xLovHkezw3D5+eoY/ne/18jxf6+vmeX+jr53t+vsfzXS+hj+d7/XyPF/r6+Z5f6OuX+tZT13AaNWpUtMm429jc/fPGjRujL9dJvZJoPPke71Q0unz/RdvneL7Xz/d4rJeTf+kv1eu9WNoWbDwVy0qUwHn4/kXD/Uvj1ltv7bBpnDsH980X69ati75Zb+nSpZFcEo0n3+P59gx9PN/r53u80NfP9/xCXz/f8/M9nu96CX083+vne7zQ18/3/EJfP3d3k/sPnc8//3z6DqfM/1CY+R8/k/iLqO/xfDcuQh/P9/r5Hi/09fM9P9/rV0wtBjaeimk1ivxcfP+i4W5n3LBhg6xdu7aLjHtvzpw56eZTEo0n3+P59gx9PN/r53u80NfP9/xCXz/f8/M9nu96CX083+vne7zQ18/3/EJfv+5+p0x9+9zq1avTd94n0XjyPZ7vv/iGPp7v9fM9Xujr53t+vtevmNoLbDwV02oU+bmcil80Hn74Ydm6dWtWmdTXrro7n9x/7Rs3bpzU19fnreh+cfM5nm/P0MfzvX6+xwt9/XzPL/T18z0/3+P5rpfQx/O9fr7HC339fM8v9PVzfxEdOnSoLFiwIOvvlO7O+8bGxqj55L7OffPmzbG+3Mb3eL7/4hv6eL7Xz/d4oa+f7/n5Xr+8/2JcgAPZeCoAaqgf6fsXDddMcv/id8/V19bW5mw+uTcXL14cq/HkezzfnqGP53v9fI8X+vr5nl/o6+d7fr7H810voY/ne/18jxf6+vmeX+jr5/7D5rx586K9nbp7pZpP7v24jSff4/n+i2/o4/leP9/jhb5+vufne/2KqS/BxlMxrUaRn4vvXzQcR0NDg1x66aXRt4l093r55Zfl6quvlh/+8Icyc+bMWIo+x/PtGfp4rBeR1F2ApdiI9V2fvusl9PmF7ul7/XyP53v9fI/n2zP08UJfv9Qjddm+RTnzl8zUv3NfeumlDhuOW38R9T2e77/4hj6e7/XzPV7o6+d7fr7Xz/rzqJB5Np4KqRvgZ/tszATI12VKvj1DHM/9AHevmpoaLyXje7zMSYW4fqdyfl4KJmMQ3+vne36+x/PtGeJ4vn+e+R7vVP58CbFefF/jp3L9TuVcCz2277/4hjqeazB390RGIdbQ93ipOYS6fqdqfoWojVL5TDaeSmWlTuF5+v5FkeMlu9ihe7q9LRYtWhTdFfelL31Jrr/++mQBO32a7/FCXz/OL9lypSc9LQK+f575Ho/Xg6Ua9Gzonr7/Ys/x9JqzJHx7ur2B3OOYkydPln/8x3+MddcbMk/f4/n25HhIFZR2ho2n0l4/L2fv+xdFjpfssobu6f5F9cgjj4j7lhm3H1hVVVVBm1C+xwt9/Tg/Xu8WAdaLRUvP+v555ns81oteA5ZE6J6+/2LP8SzVp2d9e27ZskVWrFgRbXNw6NChaF/aQjahfI/n25Pj6TVe6gk2nkp9BT2cv+9fFDlesosaumemltvvy22y6uuXAB/jhb5+nB+vd4sA68WiZcv6+Hnm++c168VWA1o6dE/ff7HneFrF2d737Zl5dmvWrJH/+I//iP4jqHuNHDlSbrnlFrn22msL8jiej/F8e3I8W72XYpqNp1JctVN4ziH+Yur7F2GO5+eWZPcv5d/85jddmlA333xzwX4JKPR4vP6S/eFHT3paBEKvl85/iSr0zzPf44W+fpyf5WrWsz7+Yh9646Kc5peaq3sc9ZlnnpEnn3yySxPqxhtvTHw/Ul/j8XrQf2ZYEr49LedWyCwbT4XUDfyzQ/yLve9fhDneZClUIyj0X3h4/SX7A5ae9LQIhF4v/PlpqQY9G3q9hDw/X3+xD71xUS7zy/xpkKqdH//4x7Jt27boLfco3g033BDdCZX0l+L4GI/XQ7JfZOTbU/+3VWETbDwV1rdsPt1355bjJVtaoXtqv/Dcf//9Mnr06GRRRaS7f6EkPV7o68f5JVua9KRnPgK+fp75/nnN6yGfauj+mJA9ffzFPvTGRTnNL3Ou7jFVdyfUww8/3KEJtXDhwoLche9jPF4PhWlC+WpUJvuTH/s0Np4wJ6ZAgVB/MfX9izDHK0wjqLtfeNxz+DNnzgSrPL9Y5r+gCzUer7/81qa7o+hJT4tA6PXCn5+WatCzoddL6PPz8Rf70BsX5TS/znN9/PHHZdmyZfKLX/zi/2/vbF6uqr44fvoDJBNHJSG9DAIj0XJgNUiofmhIg4w0CaHozQg0tKwcWVmIBYFlUiCRBr1MRKkc6CAQKoqgwkEGotFIyugP6Mf3yHo6nufc83LP2uve+9zPmWTPPWevvT977XX2WXvttZOfhiddTS2P8dBs87vcEc2zS9363IvjqQ89nq0l4PmhrQF45ZVX1oalespTWadPn66NgplkeW1U17N94yivTZ2GvUcJEufNm5d8MlFXv0nuv+jx3qaf4dmG0qV7sJ//RTtq5TKVo3mUjqD22tD9Tuxnv4UQ7Kfv+FPurFtuuaVWkT0/7FXWP//8UytzkuW1sQie7RtHeW3qNMw99u69+uqrk0RRta3TJPdf9HhvwzSaZ5s6DXsPjqdhyfFcKAEd4fv8888n3RtdbJDkffrpp9l3330X0s5oeSGNmjIheuFv3rx5Jpmkmn/VVVdlTz31VLZ161bXvfw6te+nn37KXn311UrKDz30UPbMM8+4bR+Mlhc93jXR+Oqrr/J8Y1U5F1566aXs5ptvzsR1Eq9ontH2LFreJOrAuNcZ++lnr6PH+1y3nzri/dtvv83t/3333ZetXr066XCSvOXLlw98v3sLj5bnXX/KyzKNQS1wWB4pMbn++uuzbdu2uUfz182H5CB5+umns0OHDrnNeaPlRY93bU0+f/78wH5Sfd54441G5/ekjAMcT5PSU2NYT00UFbr5999/V9Zu5cqVbh++5u2VM0iGVR/0KScB7733XrZnz57szJkzIeRTy9NLaenSpdn+/ftz42YT07rGydBt377drf0p9aVNe8oN8W7fbbfdluumHE2LFy/OxZ09ezZ79913s3vvvTf78ssv3ViqvSdOnBhYpl5Uq1atcuu/aHnR4930R3Zl9+7dsyYA3jylCCnHQ1nRonmmtmfl9qWWh/2cbbqwn+3NOfbT930UbT8VgffFF1/ki0q//fZb/kGvBNEPPvhgko9BzW0XLFiQvfPOO+2VrMedqeXJPj/55JPZjz/+mPPS+1QLPXXX119/7fb9IDn2DhwkU6fNXXfddUNRbNOecsGe7VPbbr311lyE5p/aHaJLc0Rx9rbVTfOhK664IvNsX7S86PFu+iO7cvDgwVl6781zKCV3fAjHkyPMaSpKH00aLEXvern95uTw5mL7Xk+ePJlPBCyqxPt0NDkSFP2gl/+wL6QubU8pz1Yhnn322Xy1Tob11KlTtdXzdBym1pc27Sk31rN9WrFYs2bNzMSqKMs+Wm3S1UUnqhwIf/zxR3b48OE8Gk9JysvXL7/8kk/yPMaf9CZSXhWbiPFuETMag+YoLK4wNU18uvZp6vFQV58InpKf0p5VtS+lPOznbOLYz+ZRj/28tD1tLtlPi+6yRVCLKpHjwuuEMnMkpIiWHvSOleMilTzNj95+++2ZubQiqM+dO1c7gPo4gsoFq8/uuuuu7K+//hoos8/8rE17yoI926eIIH0LffPNN7N0UE6/HTt2ZH/++WezwWq4Qxy1BXTLli35+33Dhg2zntDcVHOoPjyt0Gh5Vc2PGO+yj/Pnz88uXryYOwo1Dnft2jXTlzieeqsuBcwFAjK069evz44dO5Y87LiOlz7gZGzlUHn88cfdIjzUPnme61ZlPFcRouVF6+C46EuqdjetaOslvW7dut762TayS5NIRVj1nQhHy2vqn1Tjvdh/cmJqYiWn+osvvphvk3z44YddI8jGZTyk4hltz6LlNemp9+/joi/e7bLysJ8+9rqpf1KN92m1n+bE14f9kSNH3CJ05Eg4fvx47cKuZ0RJtLwmPfX+XVu/xDMiibd33duUV+fY1ZhfuHChSwRS28guOU48ovWi5TWxTjXei/2nd730VZdF3+N4auoZfp8KAk0TxdQQyqelKOrpo48+cnOCtYmg8VzxjZaXun/K5Y9aX1K3tynHjNeKb5sVdM+k5tHyBvVT6vFepZ/62+uvv55XSdsePB3box4PqXlG27NoeantCfbzcgLYz34al3q8T5v9LJ82pagnOTa8IuPbRNB4RsxEy+unzd2f9rIf3SXHPNGUo8vLcdEmAskzqXm0vEG9lXq8l/VT9nrnzp155JgWkbUI6ulojtHKwVLYajfqHphQ+Qqd3bhxY/brr7/2jqpoi2DQ0ZL333//xCb9bdv2FPfJqH/yySfZ999/X1n8pk2b3LhG60v0h2jddjr7zTM6UDx//vnn3hFUbfUqWp7qFTneBzmCVAdFPSmM3TPCMXo8RPNsq1eTfB/20y+HI/bTfyRgP32Z2ni3PE+WZ1Tbje644w5fYVNQmt6BR48ezd/zVZdnMmVFdGme65lns66Loh15luNw0FY7pV64cOGC27ea5ktLlixxW+hvUvdoebnbwKcAABX8SURBVKpP5Hgf5BgtRt/jeGrSEn6fCgIaLFrhKe5FTdVwS06o8uUBfu6557K7777bzZCmqve4liuP+o033pjveVfia53YoqiOG264If+3VvCUP8hzQhWpL01bxEyHPE8ps7DgquTikhd1QuK46lyXeo3beNckZNGiRa72JnI8jBvPLrowjvdiPy+9g7Gf46idWTZu433S7af0XA4nXUoq/sgjj4R9dI+nhvWrlT6o77zzzjw/64oVK/KUFpojKTWA/i3Gr732mlsEmdnrqoND+rWk+ummLWKac3s61qx9qk1VcnEtng06ATlF+ye9zHEb7xovnt9io+4fIp5G3QMTKl8e/b1799buQfeMEJA8nZ4nZ5NXOHMT+sgVbdWlGF1hdbNVNW/nniUctIi1osfdojEU3unFOlpfBvWtHdmt31Unz0tlv/nmm3l4bDGJpSZR+/btc3VaWL2LJ7VoMqMTY1JM8qMjyEYx3m0M6qROXSl5Ro+HUfDEfmI/u9hX7KdfBNkoxvtctp9ayLr22mtDFzsjI4LUd8XoChu3WoD03GJu5erDXomULQKpuBXM8k15LtRZ8m2dSDjoiogo0XztnnvuybZt2zbr5NwutrLq3kHfD3JEpXI6FeeFOtxJjsMUTpLoCLJRjHcbg3boU0qefXWt7/M4nvoSnNLnoz9Eoz+0o1e0i/LkqFi2bFne5B9++CFfafNKFm0cy1uLyqGeSob92GOPub0cR6UvVcPTWHsmAy3Lsb3pKVcpylFd5uhtyjc1jMkaRQRZsZ7SH8/cVVUMInmOajxEOSqxn9jPYeyMPYP97ENv9rPYTx+eUR/a0RFBRXlyCi1evDgHZif3eSWLtl4ozzeLjidLhu1xKprJi3Zc1GmbWK9duzZpmpKI8V6O6jLHXVO+qWFGYnQEWbGO0sfTp09nnrmrqhhE8hymDzyfwfHkSZOykhKI/DCMjggyeSdPnsyjVoqX5b/4+OOP3bY2SN77778/s/1LpyjouFWLAvI6hS2pQvQo3DvZpCXhrnM0eU4GTCfkbNLKSPHUtQjHmqFPHUG2efPmmS0OkqkIwBRHPo8Lzx4q3fgo9hP72agkLW/AfrYE1XAb9tOHY0QpkR+G0RFBkqdooKqTcG3bpn73ioCXPEVTWSSOUjxYFJDnKWwRejGMDK9k3yZbc8s6x4i388S+V3Rynfqy2B5zYv7777/DoOn0TMoIMs0JtfiunR92SWdTRKuNC89O8HvcjOOpBzwejSMQ/WEYHRHUdMpViom+jKhNJuy4bu0F16X99Z7JsOM0pVmSvRj379/vFtFl/ffss8/mSb/LiRflyLMXmMd++3JUU1k/vPWljmoqR5cxq8qZpW1wnolCx4lnswZ3vwP7+b9s1apVbsn4NeHFfmI/u4/E2U9gPz0opi0j+sMwOiKoab7g7SjRfPPll1/Ozpw5k3ecFj71txdeeGEmyt8zGXZa7ehWui0AeUZ0WZTRzTffnJ07d24mTYBqpneVdkxY+gePeX05qqmsH976Ukc4RQSZMZPcqpxZnmlkJGOceHbT5uHuxvE0HDeeKmT9jzgVLfrDMDoiqM542sTUVhe8lE/73vWisgSxevkrP5EZW8nzuqK3FhWTq1a1IcXWxeeff/4yUeYcMUeXXvjnz5/PdMJI39XDNo7RdevWuX1oN+lB08S16fny78pvsWbNmqxqclZ3AlZXOXb/KHhG5kDCft6YYT/bjw7s520Z9rO9vsx1+xn9YRgdEVS38Gnzl75zlqI2WaTfjh078gh//b8Y2+KcZ3S/5EZvtSsmp64aRSm2Liope/Eqpl44cOBAdvDgwezw4cPZ8ePHZxx+7Uf45Xe2cYxG5MyyWnk7uiwn2KBTAqW32iHidY0bT692DSoHx1NqwnO0/OgcHtETm1GsaMvxI7mHDh2aSUQtzjt37sz/7hnhMUgtJU+XkgR6XtE5guS4ePvtty9rwvz58/PcWVdeeWX2wAMPuLbR2mcv26KzSRFQypVgyTKLYeXDMi47ZoovLnPMeKxstalfygiyQTrvvRU0mif20z+iEvvpd8oc9nNpWMQv9rPNW+bye6LtZ/SHYXREkDl+lPi6mIha807lHI1ywkqe13a+osZE5wiy75ViHdQu5c5SknrP00AlQ+1T9JicSpJj81FFjSkNw/Lly/N+te+avtFWZcdM0fFjixZREWupIsgGRUin2Ao6Tjy7W+PuT+B46s6MJ7JLx/XK6xt1Klr0h6E6OWVEUJMjpqxkitDxPr56HBQ5ZY6LyPZVrRjaZFX1OHHixIzj0Cs6SM4XrUJqEqMJhxxammAoak3bgDxPhRlFBETRWVfuSy+GxXKjeWI/h4+oxH5e0lzs5/BWPnq8K9J10JUiAhf76XeqZPSHYeqIoCZHTFlPFb2tCJpy/tHhR994PJkyR1BkC6vmQ+YMeuWVVy7bZu4RHWRb0RYsWJA7JpWaQ1FcujT/9EgnUeQ3iggyc9ZV9aMHw2K50TwjdXMAvyuu+DciC9ioW4p8VwJtIpA8T0VT5SMnioNgeUUEtdl6Vq7DypV+xy2rbEXGyKEgo1d1bdq0yX1lpkqOV44LMb3pppvySCZLplin9J6npInjnj17Lgthtsimv//+O4njadDx45oA7Nq1yzWiKzoCom47XaqIrkie2M9+EZXYz/8sG/ZzuKlN5HjHfvq+j6Lt57h8GHpFBLXZelYeVYoS94xG0pj48MMPs4sXL1YO4ChHl0eOIJtv2uEydthMnWXyPCVNjhk5gSw9RjGySSkgitE7Xk4TyZCDSadu26XDX5Sna/v27cMZ5QFPRUeQ2Xx+0FY7LSJ4R3RF8nTtnCEKI+JpCGg8ciniKfpUtMiJ4lzv42LCQa1mjdLxJNl9I1hsu0JxX3s559KgPlX7i9sbh+l747lixYr8Jf/DDz/kL2TlKtDe+m+//TbTiYW6li7138ZhzkPPieEwHDyfsVXZquTiihDwjOgq1zs1T+ynp6bEl4X9/I859jNe/9pIxH765jicpg/DNvrV5x7bwSBHheZMVVeU40my+zpjyqkWukSUeUQHGU+bKynaUdHwR44cydauXZtHwCttwWeffZbnGPV2mmgxcNGiRa6LnX30q++ztpijcqqSi3v0WV0d5xrPcltxPPXV0Cl9fhQ5kIqoU38YSta4RASlUDG9KF9//fU8meOonRUeOS70ovjggw9mTvNQ35WTLVZxVDSSwoQ9TrjTy1+n2umFrxe98iUo7FiTK/3bVob0/7ZFtU/fqo2K2rL+M31V+Y8++mjSflWfeUaMVXEY5GhWaPe+ffsmepKD/cyyqIjKPmNs0LPYz0tksJ/DaRf2czhu9tSo7WfEh+G4RAT166nqp+WY0dV3wc+jbh45gmy+qXmXIu7Vd8rt2XTZAmXfnEuSY+8knV5ni8maA2uRTpclbvc6Ebi4w0Dlm77edddd7jlUixwtuswzYqyqnwY5muWIKuZBa+pjfp9NAMcTWjE0gZQ5kBQKrGSxdnKAjNzvv/8esvVLQEaxoh19ylUx79DQStDywegcQS2rld/WN9qqTlbRQWrh7R4h6zbxtmTmxeNfrT4ezq3yC3/z5s2zQqv1It66dWtSR5DGxj///JNZKHuX/q26dxy2amE/fbfyYj+/TDoGB4057Gc7a2R5e8pbU7Cf7fiV70ppP23uqXe2Lv1XER1e75+mFo8iIkgyjx49OjD1gmcEUkqbUcU2OkdQU/8Wf+8bbVUnyxykukfRTro8Dtax7zObY5q+asFVC69ezq1i29QWpW8xB5p+k7xt27ZlTzzxRBfkne/1XigYh62unSE4PoDjyREmRV1Kdqqr76lo5T38dce9puAevaIdfUqLOSq0/SsiYWR0josuOqG6XXPNNSEcutSr7l7pZzF5rOmrJgK6brzR//h45VjTS79q61uKiYYXq6pyuianVvsiInSwn8P1OvbT95TOLr2A/WxHC/vp62iuou5lP8uOkWhHSXREkEWd29Y3i5TRPF7/tgTSXtHxFh1elUOn3Wjqdld0jqAutdOirIczqIvMvvdKP4vJt01ftZ3PdEkOKC99KS6sVm19sxQbfdsV9XyXrZg2Jj0dv1HtHCQHx9Ooe2CC5Ecmb5ZHeP369Xnyuttvvz1fiVFOl7feemsgMc/Qy2hHV/QpgYJoqxZKBlh16WM7wik1QUOgtqrRERdFx5MSmWtyaCHA3hPl8qmSRRB1icD79K0+IrRKp+08VZd3sn0xmz9//mXb+OyYaX00WuLOYduE/RyWXPNz2M9mRuN+B/bzR9f3LfZz3tA8FfGk+ZHmRnrPbNmyJT/cZsOGDQOHkR1s4jHOvN/fTXVSRJCSfMtxoKsYhaPIMp2a651TUYxV5rp16yqrZ9vWmurO75cIREesmePJou+PHTuWrV69epb+ePRP+VTJYpn27rfdMR7yVIbaZVFiVWV67Fywcm3hrJyYXe9EbV3U3FNjdK5cOJ7mSk8mbscokjd38Qqr+Z5e7+iIoOhTWsSriW9fnpEf2onVv7H46IgLc/bIMauVJW3fKK4w2Yl6XiHITY5YTco1gfQ6zcQcPsWw6nIneOTlsjI1adu4cWNl7i2PU8Own41DqNcN2M8sec61Xh3U8DD2E/tZpyLR9lPzP+Vl1Du17WXb3tveX3dfdERQ2dFVdDxpbC5cuDDzyENkbW7Dtw/PUZ8y56EDXcqIjlgzZ48cJVoAVV6pM2fO5FUunqjntXBd54g1/eyjL2XW5vBRuwZdnuNBjrXvv/9+xvFblOlx6mIXXYq4F8dTBOU5IGNUyZvtBXL48OHGiCfPFSd1WWREUPQpVxZRJueSVvSqrj48oyeKox5io4i40MtKidEViltcEUkR6lze2lfm7b1Ca/pZXEVL2cdNjrW+7cN+zu49z4hK7Od/fD1OmUs51qrKxn7+77Ijz/vyx35eItg3+b0+ov/4449WEU/e+Z8iI4IUTaF8ORYxXVy4SvFhbxFlmrcod1bV1YfnqE+Z6zt+uz4fHbEmnXj44YfzbZjSm88//3wmulDsDxw4MOOI6tqWqvvLW/vK93jnyZJ+Ksqv2C6Pdgwqo2l+6d2+lG1pUzaOpzaUuKcXgaZB1aZwOyXCK6KijczUEUHFOkSf0tLkSGjDp+6eUX1o9633sM+PIuJiUF2lS0rE7bXaJDl12+nsN08nUZMjaNh+GvScfahVrWLZ6tfu3buTJ7EcNOlatWpVr2gy7Odrmbd+Fre6eusj9vNyR4wiKpVY1iuCs66/sJ/dtXmu20+9j5YsWTKzlag7oW5PpI4IKtdG/ffyyy/POAuKWw3t5LULFy70zt1qcpscCd1ozb57HE6Z69uGLs9HR6zV1a182nKXdgy6VwsTe/bsyapygtnBRd762XfO1aXd5uiqal+dbe0iY5zuxfE0Tr0xR+syiclHU0cEVXV1ylNayvKiQ7m7qLaHo7KLPI97oyMuPOrctQxzxFYlF9eRvZ45IOq2vnWtd5v7i1v7lCtr2bJl+WNnz57NIx91eZ8S2KZeugf72Y4U9vMSJ+xnO32Jvgv7+aub46JL302i/UwdEVTmZycu7tixI1+wKm91//jjj11zzMhWaxujvVu79GfqeycxuiQ6Yi11H1Tppw7M0VWVXFwpJyxaz6NudVvfPMovl2GLm/q7+nLx4sX5Leb0nbTDe5oY4XhqIsTvU0kgdURQW6hep7RUydNEWKdO7Nq1ayQTwkEMJnGiGB2x1lZ/PO+TLr755pvZu+++m+/pt0uOmn379rnrULR+qn07d+7MJ8Pl9tmE3JPnXC4L+zm63sV+jo59nWTs5y3j2TFjWKvUEUFtm6x5jdfJZEWZltNtVFHEde2fxFPmoiPW2uqP533SRTmYlM/ULqWZkCPK0+mkskehn3I+aTyU2ydH1Lh9o/XtVxxPfQny/JwkMM4RQR7A9aLau3dvVpe8uW9ycY96TlIZkREXo+ail6S28/XJw1DXBvRz1D3cTz720/ewi369MRlPYz/9+gn76cdyFCWNc0SQBw87pawuebtnsmiPOo9zGdERa6NmoTym8+YNf2plU/3RzyZC/X7H8dSPH0/PYQLREReRKGW4T506VSvS+7j6yPaNi6yUEWvj0sYU9UA/U1CNLRP7uTKZYza2J0cnDfs5HHvs53DcxuWpUURcRLZdjtFz587VivQ8rj6ybeMkK1XE2ji1MUVd0M8UVP8rE8dTWr6UPqEEWDGc0I6j2hCAwMgJYD9H3gVUAAIQmFACRFxMaMdRbQhAoJEAjqdGRNwwjQRYMZzGXqfNEICABwHspwdFyoAABKaRABEX09jrtBkC00EAx9N09DOthAAEIAABCEAAAhCAAAQgAAEIQAAC4QRwPIUjRyAEIAABCEAAAhCAAAQgAAEIQAACEJgOAjiepqOfaSUEIAABCEAAAhCAAAQgAAEIQAACEAgngOMpHDkCIQABCEAAAhCAAAQgAAEIQAACEIDAdBDA8TQd/UwrIQABCEAAAhCAAAQgAAEIQAACEIBAOAEcT+HIEQgBCEAAAhCAAAQgAAEIQAACEIAABKaDAI6n6ehnWgkBCEAAAhCAAAQgAAEIQAACEIAABMIJ4HgKR45ACEAAAhCAAAQgAAEIQAACEIAABCAwHQRwPE1HP9NKCEAAAhCAAAQgAAEIQAACEIAABCAQTgDHUzhyBEIAAhCAAAQgAAEIQAACEIAABCAAgekggONpOvqZVkIAAhCAAAQgAAEIQAACEIAABCAAgXACOJ7CkSMQAhCAAAQgAAEIQAACEIAABCAAAQhMBwEcT9PRz7QSAhCAAAQgAAEIQAACEIAABCAAAQiEE8DxFI4cgRCAAAQgAAEIQAACEIAABCAAAQhAYDoI4Hiajn6mlRCAAAQgAAEIQAACEIAABCAAAQhAIJwAjqdw5AiEAAQgAAEIQAACEIAABCAAAQhAAALTQQDH03T0M62EAAQgAAEIQAACEIAABCAAAQhAAALhBHA8hSNHIAQgAAEIQAACEIAABCAAAQhAAAI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yB1P4VIRCAEIQAACEIAABCAAAQhAAAIQgAAEIDAVBP4PSUvMkZPYWOAAAAAASUVORK5CYII="/>
          <p:cNvSpPr>
            <a:spLocks noChangeAspect="1" noChangeArrowheads="1"/>
          </p:cNvSpPr>
          <p:nvPr/>
        </p:nvSpPr>
        <p:spPr bwMode="auto">
          <a:xfrm>
            <a:off x="610264" y="609955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AutoShape 3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762652" y="762343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AutoShape 4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915042" y="914733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AutoShape 5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1067431" y="1067122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AutoShape 6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1219821" y="1219512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AutoShape 7" descr="data:image/png;base64,iVBORw0KGgoAAAANSUhEUgAABJ4AAAJWCAYAAAAZeE0JAAAgAElEQVR4XuzdC5xdZXn3/WtmMpOQMSGZ4QxCSKI0iEYlpFqSVOOjhKSvh3pKIFhUTEh8pOBTA0K0j3IQgq+2FAKJ8RUkDIPFtr6+xCS+ok2CIobWKAcpyXBoDJDD5HycJPN87jWunT0ze/Z1X+vE7LV/6/PxA8n+r7Xu+7uuNUOvrnXvms7Ozk5hQwABBBBAAAEEEEAAAQQQQAABBBBAIEGBGrfReEpQlEMhgAACCCCAAAIIIIAAAggggAACCAQCNJ4oBA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orB0UAAQQQQAABBBBAAAEEEEAAAQQQoPFEDSCAAAIIIIAAAggggAACCCCAAAIIpCJA4ykVVg6KAAIIIIAAAggggAACCCCAAAIIIEDjiRpAAAEEEEAAAQQQQAABBBBAAAEEEEhFgMZTKqwcFAEEEEAAAQQQQAABBBBAAAEEEECAxhM1gAACCCCAAAIIIIAAAggggAACCCCQigCNp1RYOSgCCCCAAAIIIIAAAggggAACCCCAAI0nagABBBBAAAEEEEAAAQQQQAABBBBAIBUBGk+psHJQBBBAAAEEEEAAAQQQQAABBBBAAAEaT9QAAggggAACCCCAAAIIIIAAAggggEAqAjSeUmHloAgggAACCCCAAAIIIIAAAggggAACNJ6oAQQQQAABBBBAAAEEEEAAAQQQQACBVARoPKXCykERQAABBBBAAAEEEEAAAQQQQAABBGg8UQMIIIAAAggggAACCCCAAAIIIIAAAqkI0HhKhZWDIoAAAggggAACCCCAAAIIIIAAAgjQeKIGEEAAAQQQQAABBBBAAAEEEEAAAQRSEaDxlApr94POnTtX7r77blm9erVMmDCh8GFra6vMmDGj8OcNGzbIyJEjgz/39VlbW5uMGjUqyNx2220yb968wv6jR4+We++9t9s5Mpgep0AAAQQQQAABBBBAAAEEEEAAAQRKCtB4Srkwampq5MEHHwwaTMWNpzVr1sjEiRMlbDYtWLBAFi9eLOvXr5dyn7km1qRJk2T69Onijt3Z2RnMwP39iBEjujWiUp4ah0cAAQQQQAABBBBAAAEEEEAAAQTKCtB4yqhAXJOouPHkGk0vvviiLFy4sDCCMPPLX/6yz89uuukmmT9/fvBUk3vCyTWq3NNR7kmn5cuXZzQbToMAAggggAACCCCAAAIIIIAAAgjoAjSedKNEEj0bT1OmTJHJkyf3elXONZZcE6mvz1atWtXriafiJ58SGSwHQQABBBBAAAEEEEAAAQQQQAABBBIQoPGUAKLPIZJqPI0fP76wxpN7hc81qdwTUJdffnnw2t6cOXO6PUXlMzYyCCCAAAIIIIAAAggggAACCCCAQBoCNJ7SUC1xzKQaT25tp3Bzr+sVb26hcff63cqVKwuLlPtOzz1p9cwzz/jGySGAAAIIIIAAAggggAACCCCAQB8CtX/xBZFBx0f3ObBTjv7yn0ruf+655wYPoFTKRuMpoyvVs/HkFgN3W881ntxTS9/85jf7/Cz81ju3ALlrFrl1nYoXHHev8IVrQFmmdskll0hLS4tll1hZzheLr9fOeOJpEaBeLFp6Fk/dyJLA06KlZ/HUjSwJPC1aehZP3ciSwNOipWfx1I0siWr0nLkk/oMdS684tyRz1p6Wa10qS+MprqDn/j0bT1G/1S48nTte8Tfiub+P88RT1oXL+TwLxzOGpyeUZwxPTyjPGJ6eUJ4xPD2hPGN4ekJ5xvD0hPKM4ekJ5RnD0xPKM4anJ5RnDE9PKM9Yf/Cc9f3nZN+hI54j7h1rHFgniy47h8ZTZMEq2bGtra2wHlPxlIsbRtdee23ho87OzsK/u9fo+vrMPdXk1nQqfu3ONaLcFnWNp/5wY6ZZFswvWV088bQIUC8WLT2Lp25kSeBp0dKzeOpGlgSeFi09i6duZEngadHSs3jqRpZE5p4zPyVf/9YiWb95v2zYsk/athyQ13Yd8hryX7/zRHH/s2xZz88ytlJZnniKK5iT/bMuXM6XbOHgiadFgHqxaOlZPHUjSwJPi5aexVM3siTwtGjpWTx1I0sCT4uWnsVTN7Ik8ua5acdBeWHrgaDR5P73wpa9IjW1KsnghjoZfdJxMvLEQTLqxONk9EmDZcigOnW/noGsPc0D7LEDjae4gjnZP+vC5XzJFg6eeFoEqBeLlp7FUzeyJPC0aOlZPHUjSwJPi5aexVM3siTwtGjpWTx1I0uikj13Hzgi6zfvkw1b9gdPMrlGk88rdHW1NXJm06Cg0eT+d/YJg+S0YQMtbH1ms/aMO2gaT3EFc7J/1oXL+ZItHDzxtAhQLxYtPYunbmRJ4GnR0rN46kaWBJ4WLT2Lp25kSeBp0dKzeOpGlkR/8Ly69XnZuqfDMuxuWbe4zbHFcXof5uShDX96kmlw0Gg6q3mQ1Nd1LYmT9Ja1Z9zx03iKK5iT/bMuXM6XbOHgiadFgHqxaOlZPHUjSwJPi5aexVM3siTwtGjpWTx1I0sCT4uWnsVTN7Ik+oNnEt8yF8655ytzt3/lGmm5b4mFJFY2a89YgxURGk9xBXOyf9aFy/mSLRw88bQIUC8WLT2Lp25kSeBp0dKzeOpGlgSeFi09i6duZEngadHSs3jqRpbE6+F553fuk007DgWLfG/edUiWP90uR46We2ap/IwG1NXI5yaeVvKVuddjfi0tLZZL8LpmaTy9rvz95+R5v1GYX7K1hieeFgHqxaKlZ/HUjSwJPC1aehZP3ciSwNOipWfx1I0sCTwtWnoWT92oVKJ9b0e35tKru7oaTRu37RWpHRDpoFFemcv79YsEWbQTjae4gjnZP+83CvNLtlDxxNMiQL1YtPQsnrqRJYGnRUvP4qkbWRJ4WrT0LJ66kSWBp0VLz1ajZ+w1l2pEOiM+wNTUWC+nDWsQ12Q6aWiDnDK069/d/6Ksy5T366dXcPkEjae4gjnZP+83CvNLtlDxxNMiQL1YtPQsnrqRJYGnRUvP4qkbWRJ4WrT0LJ66kSWBp0VLz1ajZ5JrLpUSTrq5VO4q5v366RVM4ymuUVXsn/cbhfklW8Z44mkRoF4sWnoWT93IksDToqVn8dSNLAk8LVp6Fk/dyJLA06KlZ/Pm6dZSat97WLbuOSQ79h2RO5fcJxd/6OOyc//h4O/dK3Kbd3dInO98cw87Nffx5NK8L3xOWpZ+X4dPKJG365cQS+EwPPGUtGiFHs96ozz6h+0VOlOGjUA+BSb/2XDviVnvd+8D9xHkfHEFu++PJ54WAerFoqVn8dSNLAk8LVp6Fk/dyJKoRs+4r741DKiVU49vkB37DgcNpqS2KE8uVeP1S8o7jePQeEpDtQKPab0xaTxV4EVmyLkWoPF07PJaf57FLQzOF1eQxlqygnjiGV2An2fR7UrtiSeeFoH+UC9pv/rW06OutkaaGgeIaywF/xxcL0MHd/2z+O9dzrr1B0/rmC35rOdnGVupLI2nuII52d9auDSecnLhmUZuBGg80XhKq5itvx/ijoPzxRWk8ZSsIJ54Rhfg51l0Oxp5ydr15Xnnd+7r9o1wy59uF/eKXNTN7Rm2iAbV1x5rKDXWy7+v/LF85tJPBA2lYa651Fgvxx8X7VvnfMbH/eejlF2GxlN21v36TNYbk8ZTv76cDK4KBWg80XhKq+ytvx/ijoPzxRWkUZKsIJ54Rhfg51l0OxpPydm5tZQ27Tgkr+06JJt3HZJXd3X9+8Zte0VqozV+XMPINY66GkgDZHiPJ5TcZ67xVLxxPyR3Td2RsvaMO3oaT3EFc7K/tXBpPOXkwjON3AjQeKLxlFYxW38/xB0H54srSKMkWUE88YwuwM+z6HY0nroE4q65VFMj0hnxAaYo6yqVu+LcD5V9P8QdPY2nuII52d/6g4DGU04uPNPIjQCNJxpPaRWz9fdD3HFwvriCNEqSFcQTz+gC/DyLbkfjqUsg7TWXkm4u0XhqSbboyxwt658vcSdG4ymuYE72txYujaecXHimkRsBGk80ntIqZuvvh7jj4HxxBWmUJCuIJ57RBfh5Ft2uGhpPbi2l9r2HZeueQ7Jj3xG5c8l9cvGHPh58G5z7e/eK3ObdHYU1k6Jouoedmhvr5bRhDXLy0AY5aWiDnDK069/nfeFz0rL0+1EOG2kf7odIbH3ulLVn3NHTeIormJP9rYVL4yknF55p5EaAxhONp7SK2fr7Ie44OF9cQRolyQriiWd0AX6eRbfrr42nuK++NQyolVOPb5Ad+w4HDaaktihPLlGfSel3HSfvnnG1aDzFFczJ/tYbhcZTTi4808iNAI0nGk9pFbP190PccXC+uII0SpIVxBPP6AL8PItu118bT2m/+tZz3nW1NcHi3a6xFPxzcL0MdQt691jM2+WsG/VpFSufz7tnXC0aT3EFc7K/9Uah8ZSTC880ciNA44nGU1rFbP39EHccnC+uII2SZAXxxDO6AD/Potu9Ho2nrF59C1tE7lvfCg2lxnr595U/ls9c+omgwdT1bXH14r49Lq2N+kxWNu+ecbVoPMUVzMn+1huFxlNOLjzTyI0AjScaT2kVs/X3Q9xxcL64gjRKkhXEE8/oAvw8i27n23jqr6++uYaRaxx1NZAGyPAeTyi5z1zjqXijXtKvl2TPUF2/H+La0XiKK5iT/a0/6Gg85eTCM43cCNB4ovGUVjFbfz/EHQfniytYXf8hTL1QLxYB6sWipWdfL0+36HbHEbcwd4fc/MhL+kATTPDqW3TM16teoo/Ytmfe52fT6J2m8RRXMCf7W28UGk85ufBMIzcCNJ5oPKVVzNbfD3HHwfniCtJ4SlYQTzyjC1Tjz7O4TyA1DqyTi97SFDSVuppLh+VAx1HZc/CwbNmxV6SuodsFcd/aZl/d6Nghivfn1bfote6zZzXeDz4uUTNZe0YdZ7gfjae4gjnZ31q4NJ5ycuGZRm4EaDzReEqrmK2/H+KOg/PFFaRRkqwgnnhGF6jGn2dZL77te3V49a23VDXWp2+9RMnl3TOKSfE+NJ7iCuZkf+uNQuMpJxeeaeRGgMYTjae0itn6+yHuODhfXEEaJckK4olndIG8/TzLevHtUvKDG+qkcWBtsOh2fV2tnDikXurraoI/u88GN9QG6yq5vzvhDQ3SMKDrsyhb3q5fTwPmF6Uq+t4n755xtWg8xRXMyf7WG4XGU04uPNPIjQCNJxpPaRWz9fdD3HFwvriCNEqSFcQTz+gC/eHnWdxX3xoG1MqpxzfIjn2HZef+w9ExeuwZpYE057OfkpaWlsTGoB2oP1w/bYxxPmd+cfR675t3z7haNJ7iCuZkf+uNQuMpJxeeaeRGgMYTjae0itn6+yHuODhfXEEaJckK4olndIH+8PMs61ffWHy7susl+uj1PfvD/aCPMnoi7/OLLtO1J42nuII52d96o9B4ysmFZxq5EaDxROMprWK2/n6IOw7OF1eQRkmygnjiGV0g7Z9nWb/6xuLb0WvBZ8+066XnGDifz1Xxz+Td01+idJLGU1zBnOxvvVFoPOXkwjON3AjQeKLxlFYxW38/xB0H54srSKMkWUE88YwuUOrnWX999Y3Ft3tfZ34fRa/9UnviWdmecUdP4ymuYE72t/4goPGUkwvPNHIjQOOJxlNaxWz9/RB3HJwvriCNkmQF8cQzukCpn2e8+pasZ/Sj6Xvy+0g3siTwtGjp2aw99RGVT9B4iiuYk/2thUvjKScXnmnkRoDGE42ntIrZ+vsh7jg4X1xBGiXJCuKJZ3QB9/Pszu/cJ5t2HJLXdh2SzbsOyfKn28W9Ihd1c3vW/GlnXn2Lqui3H7+P/Jx8U3j6Svnlsvb0G1XfKRpPcQVzsr+1cGk85eTCM43cCNB4ovGUVjFbfz/EHQfniytIoyRZQTzx1AXa93Z0ay69uqur0bRx216R2gH6AUokePWtNwq/HyKVUp874YlnsgLlj0bjKUvtfnwu6w8eGk/9+GIytKoUoPFE4ymtwrf+fog7Ds4XV5BGSbKCeObdM+6aSzU1Ip0RH2BqaqyX04Y1yMlDG+SkoQ1yytCuf3f/q68Ln2vyvwL8/PS38kni6aPkn8HT38onmbWnz5jKZWg8xRXMyf7WwqXxlJMLzzRyI0DjicZTWsVs/f0QdxycL64gjZJkBfHM2jNuI2jY4AHy+feeXhj2lt0dhX9f9N375KOfvKTw5617OmTVf+1Ic4qSdHOp3GD5+ZnspcQTT4tA3uvFYlEqS+MprmBO9rfeKDSe/C78P3797+SV/35Rbv3Ow347xEhd97mPyTveNUk++dmrYhyFXStVgMYTjae0atf6+yHuODhfXEEaJckK4pm3RlDP+iheMylK7bj9m/t4cmneFz4nLUu/H+Wwkfbh52cktj53whNPi0De68ViQeMprlaO97feKHlpPP182b/ITf/rim5Xdtbf/e/Emjc9G0+uOeS2NBpR1dZ4KnXtPjjjM/K3X/1mandqmtcv7qBpPNF4iltDfe1v/f0QdxycL64gjZJkBfHM+lvYkmgE2V9S06smypNL/DzTXS0JPC1aehZP3ciSyLunxYLGU1ythPefO3eu3H333YWjdha9IN7a2iozZswofLZhwwYZOXKktLW1yahRo4K/v+2222TevHmFzOjRo+Xee++VCRMmmEdqvVHSaDy9veV95nFbd/jtJT/rtkvYvPjZs+3B37unk2Z+4J2SVPOJxpP1Cvnn0752pUbi23h66snH5W9nTpWwrvxnFT1J4+mYnfXnWXT1rj05X1zB7vvjiadFgHqxaPXOum9Xa997WLbuOSQ79h2RO5fcJxd/6OOyc//h4O/dotmbd3cUvkUtytniNpLKndMtwN0woKvNVF9XK+7P4TZscF3wd12f1QSf/fCHP5SPfvSjwb+Hayi5jMuGW9dnXfu5Yxcf0zp/6tMqVj6PJ54WAerFopV+llft0jcueYYFCxbI4sWLZf369cHnrgnlmkrLly+XNWvWyMSJEyVsNhVnXW7SpEkyffp0qampkbBZ5f5+xIgR3RpRlqlZb8y8Np6cWZKvxyV5LO16VusTT8XNnYe+e4f8fz+4T+5f8aTGlernNJ6681p/vsS9OJwvriDXL1lBPPGMLlDq51ncV98aBtTKqcc3yI59h4MGU5IbjSDu9yTrqeex+P2erC6eeCYrUP5oNJ6y1C46V89GUfgkk2skuUbTiy++KAsXLizs4ZpMq1evlptuuknmz58fPNXknnByjSv3dJR70sk1raJu1h881dZ4cg2Nxd/83wXef1y6TM47/13H/vz1v5P/98H/p/DnsBnSs/HU88/vG9PU7ZJdMGFy4TU8ly11zHAH12j6zZpHgz+6V8zc01rFazz1HHPar6FFrb2o+/V84skdx5mtfeznQePJ/bvbnItzKn6Kra/rWeqY4VNwS1f+h/zge3d2W7MrbDCFc3DncFtxrbg/u31PfeMISfOa8MTTsUqy/jyLWoPhfpwvriD/h1qygnjm3TPrV9/qamukqXFAsEh28M/B9TJ0cNc/i//e5awbPz+tYuXzeOJpEaBeLFp6Nu+eukD5BI2nuIIR9y9+wskdImw8uaec3GeTJ0/u9RqdazqtWrWq1xNPxU8+RRyO+VWRvDaewkbC/P97ibx36l8HnGGzIGwmhZmwmeAaHG8b9xeFfPHrWFrjqfh6uSZUeN5yxwwbLK4pFY4pHGPYXOk5ZrePO37Szae2LQfk1207ZX/H0ail573foPpaGfvGN8hbTmsM9tFetQsbdz1fm9SuZ/F1CK//fz6+KmgI9ryel110vnzmb28oXPtwMqWeeEr7mtB4OlZKef/Fz/y8f2x4BfH0YvIO4elNVTKY9atv7ndroaHUWC//vvLH8plLPxE0lNy3w7nP4rxqpmlQL5qQ7XM8bV5aGk9NyPY5njYvLZ21pzYe7XMaT5pQip+7J5Zco6l40xpP48ePL6zx9OCDDwZPOrknoC6//PLgWHPmzOn2pJTv8K2Fm7fGU7FT2FAK/65Uc8H93V994m9KLkJe/LqXb+NJWzuo5ytkpc5f/Kpdz+ZJ2EBJ+jW0f/mPLcGj+lltbj2Gy959SrfGU/G5ixuGfb3mqF3Pcs2lUp+Nu/C9vRY0L9V4Svua0Hii8ZTWfWj9/RB3HJwvrmD3/fFM37O/vvrmGkaucdTVQBogw3s8oeQ+c42n4o16Sb9ekj0D9zue0QW436Pbldoz755xtWg8xRVMaP/iV+2mTJnS5xNPbm2ncHOv5BVvbqFx18xauXJlsBC5ZXM3imW74qt3WeJe2f6wuLhr3vzx5Re6rRHU83W4cDLFT9L0zJx25tmF173cq1rht9iVaoaUer3LnaOvY4afFTdZ3N/1bDz1fB2wr/N4XZw+Qk9v2itrX9wlR9J/4Elqa2rkLacNlgvOHhqMRptPX40n7XoWP9G2bfOr3RYJL3VM18ja9PILwZh6PhVXvP6UO2+a12TJ1z8f51KyLwIIIIBARIHayfMj7hlxt86jIgd3iRzcHfyzc/8ukcP7uv5Z9PficmwIIIAAArkVaGlpqZi50XjqJ5fKNZEeffTRYJ0m96qd23qu8RQuNu4+cwuQu1fvwny44LhrWoVrQFmmZu3Q5u2Jp57falfc1OnrdarQt+fTR9Ynnko9CVPumO68pcb0ejzxZKmxpLNRG0/a9Sz2/d3aXwbD/tuvfjP4Z7nF4ovXl+KJp+5X2/rzJW6tcL64gly/ZAXxzJvnnd+5TzbtOCSv7Tokm3cdkuVPt4t7RS7qVvytb7z6FlXRbz9+P/g5+abw9JXyy+Hp5+SbwtNXKpscjadsnMueJXzayb06555oKvetduGB3LpOxd965/4+7hNPlo5pXhtPYXMhXKC61J97XkzXOCp++sk1NtwWLnBd7okn1yxyi06HjY3w2OWO2dcY3ZpP4TjC9Y16PnHTc72jflD+kYcQtfFU3CDq6+SueejWdXJPv117y12FheTLNZ7CfdzTbT3XAQuvWfG6XO7vel7nyBgiwqt2x/T4D404ldR7XzzxtAjkpV7a93Z0ay69uqur0bRx216R2gEWkkKWV9/4+RKpcAw75eX+62vKzM9QDB5RPD2QDJG8exooSkZpPMUVjLi/+ya6GTNmFPYOm07hX7gnoK699trC5+7b7sLNPdXk1nQqfu3ONaLcxhpP5S/Iby/5WbdAqeZF2DQofi2q5zfMuYOEa0GV+mazcC2lcms8hd+W1nPErllU7phhvvgVL9dQevWPL8spp59ZWHeq+Fvv3D55ajq5+URtPLl9y11P93l4bcJXJkPz4utZ6voVN/qK/cNaSfOa0Hg6difl/Rc/84v4i7eP3fDMn2fcNZfcf1IV/WeXCcitm3TasAY5eWiDnDS0QU4Z2vXv7n9unULrRn1axcrn8cTTIkC9WLT0LJ66kSWRtadlbKWyNJ7iCuZkf2vhpvHEU04omQYCr4sAjScaT2kVnvX3Q9xxcL64gt33rxZP94RSx5FOcf+8+ZGXkkXscbSkm0vlBlst1y/VC1Z0cDyTlcYTT4sA9WLR0rNZe+ojKp+g8RRXMCf7WwuXxlNOLjzTyI0AjScaT2kVs/X3Q9xxcL64gv2v8RT3CaTGgXVy0VuagqZSV3PpsBzoOCp7Dh6WLTv2itQ1dJt08ZpJUTTd/s19PLk07wufk5al349y2Ej7cD9EYutzJ/Q/8y8AACAASURBVDzxtAhQLxYtPYunbmRJZO1pGVupLI2nuII52d9auDSecnLhmUZuBGg80XhKq5itvx/ijoPzxRXsf42nmUueSXZSCR0typNL1GdC+H86DJ54WgSoF4uWnsVTN7Ik8u5psaDxFFcrx/tbbxQaTzkuBqZWkQI0nmg8pVW41t8PccfB+eIKZtt4ct/m5p5A2rrnkOzYd0TuXHKfXPyhj8vO/YeDv3dPKW3e3SH21Y2OzUN7gmlwQ500DqwVt3h3fV2tnDikPlhPyf3ZfTa4oVaGDXaf1cgJb2iQhgFdn0XZqM8oan3vgyeeFgHqxaKlZ/HUjSyJvHtaLGg8xdXK8f7WG4XGU46LgalVpACNJxpPaRWu9fdD3HFwvriCeuMp7qtvDQNq5dTjG2THvsNBgympLUoDac5nPyWWb+WNO1bqM66gXp/JnoHz4RldgPs9ul2pPfGsbM+4o+dVu7iCOdnf+oOAxlNOLjzTyI0AjScaT2kVs/X3Q9xxcL64gvr/oZ31q291tTXS1DhA3KttwT8H18vQwV3/LP57l7Nu1ItVrHweTzwtAtSLRUvP4qkbWRJ4WrTSz9J4St+4Is5gvTFpPFXEZWWQVSRA44nGU1rlbv39EHccnC+uYN+NJ7cw96YdB+XrP35RDh4+GvlExa++DaqvPdZQaqyXf1/5Y/nMpZ8IGkru9TbXbIr6WpvPAKkXHyX/DJ7+Vj5JPH2U/DN4+lv5JPH0UfLP5N3TX6J0ksZTXMGc7G+9UWg85eTCM43cCNB4ovGUVjFbfz/EHQfniyvYtf+W3R3ycvsB+dY998mf/48PBw2njdsPmg7uGkaucdTVQBogw3s8oeQ+c42n4o3rZyJWw3iqRKYAniYuNYynSmQK4GniUsN4qkSZBmg8Zcrdf09mvTFpPPXfa8nIqlOAxhONp7Qq3/r7Ie44OJ9NcN+hI7JpxyF5Yev+bv90f++7ubWVThvWIGefcFy3f7q/t25cP6tY+TyeeFoEqBeLlp7FUzeyJPC0aOnZrD31EZVP0HiKK5iT/a2FS+MpJxeeaeRGgMYTjae0itn6+yHuOKrxfHEX+3YrI7nX33y2M4YPlNOGDZSzTxgU/PPMpkHBt8AltVXj9UvKrtRx8ExWF088LQLUi0VLz+KpG1kSWXtaxlYqS+MprmBO9rcWLo2nnFx4ppEbARpPNJ7SKmbr74e446jG86Wx2PeQQXXBE0zrfvUzmX3pR+Ss5q5GU32dfQFvyzWtxutn8bFm8bSKlc/jiadFgHqxaOlZPHUjSyJrT8vYaDzF1crx/tbCpfGU42JgahUpQOOJxlNahWv9/RB3HNV4vlnff04sr8b1NK6tqZEJbzo+eHopfGXONZ7cVo2ecWuw3P54JquLJ54WAerFoqVn8dSNLIm8e1osaDzF1crx/tYbhcZTjouBqVWkAI0nGk9pFa7190PcceT+fDM/JV//1iJZv3m/bNiyT9q2HJDXdh3yYnOvxHU1l469KudenaNR0uLll0Qo9/V5ySXS0oJnErVC4zcpRX6/Jy/ZdUR+niUrm3fPuFq8ahdXMCf7W28UGk85ufBMIzcCNJ74D9O0itn6+yHuOPJ2Pvdtci9sPRA0mtz/XtiyV6Sm+zfBlTJzC3uPPuk4GXniIBl14nEy+qTBEj7FZDHOm2fPuTM/SzXoWTx1I0sCT4uWnsVTN7Ik8LRo6dm8e+oC5RM0nuIK5mR/641C4yknF55p5EaAxhONp7SK2fr7Ie44Kvl8uw8ckfWb98mGLfuDJ5lco8nnFbq62prgSSbXaHL/Cxf+jmvp9q9kT5/5Mz8fJf8Mnv5WPkk8fZT8M3j6W/kk8fRR8s/k3dNfonSSxlNcwZzsb71RaDzl5MIzjdwI0Hii8ZRWMVt/P8QdR384X9rfMnfy0IY/Pck0OGg0uYW/01r0uz94xq2Jcvszv2R18cTTIkC9WLT0LJ66kSWBp0Ur/SyNp/SNK+IM1huTxlNFXFYGWUUCNJ5oPKVV7tbfD3HH0R/Ol+S3zPV8Ze72r1wjLfcticvkvX9/8PQebIQg84uAVmYXPPG0CFAvFi09i6duZEngadFKP0vjKX3jijiD9cak8VQRl5VBVpEAjScaT2mVu/X3Q9xx9Ifzxf2WuQF1NfK5iaeVfGWuP8wv7jUqtz/zS1YXTzwtAtSLRUvP4qkbWRJ4WrT0bNae+ojKJ2g8xRXMyf7WwqXxlJMLzzRyI0DjicZTWsVs/f0QdxyZny/Gt8xFeWUu8/nxLWVxS7Lb/ly/RDlZgyxZTjzxNAnw88zEpYbz7qkCKAEaT3EFc7K/9Uah8ZSTC880ciNA44nGU1rFbP39EHccaZ+Pb5mLe4XK75/29et5ds6X7PXEE0+LAPVi0dKzeOpGlgSeFq30szSe0jeuiDNYb0waTxVxWRlkFQnQeKLxlFa5W38/xB1HkufjW+b4Vru49UijK2nB7sdL8n73GSnn81Hyz+Dpb+WTxNNHyT+Dp79VFkkaT1koV8A5rDcmjacKuKgMsaoEaDzReEqr4K2/H+KOo9T5+Ja56Kr94fpFH72+J/PTjSwJPC1aehZP3ciSwNOipWfx1I0sibx7WixKZWk8xRXMyf7WG4XGU04uPNPIjQCNJxpPaRWz9fdD3HGUOh/fMhddtT9cv+ij1/dkfrqRJYGnRUvP4qkbWRJ4WrT0LJ66kSWRd0+LBY2nuFo53t96o9B4ynExMLWKFKDxROMprcK1/n6IO45S55t9/3Oy9+CRyIfmW+ZaIttZd+wP9WIdsyXP/CxaehZP3ciSwNOipWfx1I0sCTwtWno2a099ROUTuXviqa2tTR5++GGZN29eXJuq2t9auDSeqqo8mGwFCNB4ovGUVplafz/EHUep823Z3SFPvrRbfvPiLnnu1X19noJvmetN0x+uX9yaKLc/80tWF088LQLUi0VLz+KpG1kSeFq00s/mrvG0Zs0amThxonR2dqavl6MzWG9MGk85uvhMJRcCNJ5oPKVVyNbfD3HHEZ7vtV2H5FcbdgXNppe2HSh52LraGhlz6mA5/6whwf+aGuvNp3+95mceaMQdmF9EuD52wxNPiwD1YtHSs3jqRpYEnhYtPZt3T12gfKIiG09NTU2yfft2r7kPHz5c2tvbvbLVHLLeKDSeqrlamHt/FKDxROMprbq0/n6IMw7XYLr+2/fJKW97n7jGU6mtvq5Gzjv9DYVm05BBdXFOKVnOzw2U88W6XL12xhNPiwD1YtHSs3jqRpYEnhYtPYunbpRloiIbTzU1NeIaSuPHj+9ltW3bNlm7dq1cdNFFwWfDhg2T1tbWLE0r8lzcmMleNjzxtAhQLxYtPYunbmRJpO3pXp1zTzW5V+ncK3WltkH1tfK2M441m9yfk9rSnl/PcXK+pK5c13HwxNMiQL1YtPQsnrqRJYGnRUvP4qkbZZmoyMbTDTfcILfccovMmTNHbrzxRmlubi6Y8apdtPLhxozm1tdeeOJpEaBeLFp6Fk/dyJJI2vPI0U559pV98njbTvndxr3Svrd0s2lwQ52848w3yPizhwZNJ/ekUxpb0vPTxsj5NCHb53javLQ0npqQ7XM8bV5aGk9NyPY5njYvLZ13T23+2ucV2Xhyk3INpssvvzx4jW7hwoUyffr0YK40nrRLXvrzvN8ozC9aXdBYS9YNTzyTEKjEn2cdRzrldxv3BE81/efLu2X3gdLfUOdem9vVtla+/NkPB2s3uTWc0t4q0dNiwvwsWnoWT93IksDToqVn8dSNLAk8LVp6Fk/dyJLI2tMytlLZim08hZNZsGCB3HrrrcFrd7fddpvs3r2bxcUjVEXWhcv5IlykMrvgiadFgHqxaOnZavS8uvV52bqn9JNKupiIayeFXwHiFgQff/YQuWDEUDnnlMG8OuUDaMhUY30aeMxRPM1kZXfAE0+LAPVi0dKzeOpGlkTePS0WuWw8uUm1tbXJ9ddfLw899FCwttOKFSv4VjtjZeT9RmF+xoJQ4njiaRGgXixaerY/eM5c8ow+UCXx4XecECwQfvYJx3VL9of5xZ4c/4+CNAmplxR1uf+SxcUTT4sA9WLR0rN46kZZJir+iadirGXLlslVV10lGzZsoPFkrCJuTCMYjRlpaWlJFo3/Qw3PhAT4eZYQ5J8OU8pz9v3Pyd6DpV+X8zl748A6WXTZOSWjXD8fQf8Mnv5WPkk8fZT8M3j6W/kk8fRR8s/g6W/lk8TTR8k/k7Wn/8hKJ3PVeIqLUc37Z124nC/ZasMTT4sA9WLR0rPV6ukWCXdrNv3iuR3y9Ka94v7cc3Ovzr3zrCEy7qwhcvLQBh2TbynzMrKEqrU+LUaWLJ4WLT2Lp25kSeBp0dKzeOpGlgSeFi09m7WnPqLyiVw3ntwreA8//LDMmzcvrlPu98+6cDlfsiWFJ54WAerFoqVnq81z046Dsvr5nbLqv3bIzv2HewG5BcInvWmY/OU5w+S0YQN1wB6JavM0Axl3wNMIpsTxxNMiQL1YtPQsnrqRJYGnRUvP5t1TF8hh42nbtm3yrW99S2655ZZgdqNGjZJZs2b1ajD192+4cwujX3vttYUrtHr1apkwYULw59bWVpkxY0bhM/f64MiRI4P1rNx83eYWUy9uqo0ePVruvffewjEsxZH3G4X5WapBz+KpG1kSeFq09CyeupEl4Tzvu/8BWfvibnn0D9vl2Vf2ltz9bWe8Qd5zzjB5x5lDpL4u+rfRcf0sV0fP4qkbWRJ4WrT0LJ66kSWBp0VLz+KpG1kSeFq09GzWnvqIyicq8omnG264IWg6uQaMa7Y88cQTsn37dhk3bpwsX75cmpubg1n358ZTz7G5RtP8+fNl/fr1hXGHzSbXoFq8eHHw2dy5c2XSpEkyffp0qampKaxl5f5+xIgRkZ/uyrpwOV/cW7f7/njiaRGgXixaejbPnhu3H5Rr//EhaRz557LvUO81ndw30k168/Hyl28eLicOqdexPBJ59nTTZ34eRWCI4GnA8oji6YFkiOBpwPKI4umBZIjgacDyiObd04OgbKQiG09NTU3ygQ98IHgqKNwWLVokX/7yl4M//vznP5exY8f268ZTcaOpZ5PMNZpefPFFWbhwYWF+rsnknoi66aabggaVezLKNd1cM8odyz3p5JpuUbe83yjML2pllN4PTzwtAtSLRUvPpu15oOOoPLZ+p6x+foes37y/14DqamvEPd00+c+GBf90f05yS3t+PcfK+ZK8ejTWktXEE0+bAD/PbF5aGk9NyPY5njYvLZ21pzYe7fOKbDyFTZjwtbRwkuvWrZMrrrgi+FY713zavXu3TJw4sd9+w51rHLn/uYaRm9ODDz4YPMk0ZcoUmTx5cq/X6FzTadWqVb2eeCp+8km74H19nnXhcr6oV4pGULJyeOIZXyAvP89ck8k1m1zTyTWfem7uiabJfzZcJr15mBx/3ID4cH0cIS+e/L5NrUS6HZh6SdYZTzwtAtSLRUvP4qkbWRJ4WrTSz1Zk48k98bR06VKZOnVqLyG3/pNr3Ljm0ze+8Q258sor+23jyQ3eNZ7cWOfMmVN4wqlc42n8+PGFNZ5co8o96eSegLr88st7HcdSPtyYFi09i6duZEngadHSs3jqRpZEJXu61+dco+lnz24X91pdz82t1dTxylNy3d9MlfNOb7SwRM5WsqfPpJmfj5J/Bk9/K58knj5K/hk8/a18knj6KPln8PS38knm3dPHoFymIhtPbj0jtxW/ilY8ybD5tHbt2uCvOzt7f8VzXLi4+4drPIXrOLk53X333cFYyzWe3BNR4eZeySve3ELjrpG1cuXKYCFyy+ZuFDYEEEAAgeoQqBl+ltSc/k6RE84Rqe399FLnns0ir/1eOjetE+nYVx0ozBIBBBBAAAEEEKgggZaWlooZbUU2ntwrde7b4LQ1jVwzx61/1N7e3u8uSKnFwMNvpQsLqOcaT2GTyk3GNa7cq3fOoHjBcde0CteAskw67x1a5mepBj2Lp25kSeBp0dKz1eh5devzsnVPh47TR8Kt0jSgrkbePer44HW60ScdV0hWo2dkSI8d8fRAMkTwNGB5RPH0QDJE8DRgeUTx9EAyRPA0YHlE8+7pQVA2UpGNp7iT7g/7u2ZRW1tboXnm/t19S59rLm3atClYm6rUt9qFY3frOhV/7v4+7hNPWXZM835jMr9k7zI88bQIVGO9zFzyjIWoZHbJ3/yZDKqv7fVZNXrGxixzADyT1cUTT4sA9WLR0rN46kaWBJ4WLT2Lp26UZSJ3jSf3NJT7RrtK2ML1ncKxhouLuz+71+jcU13hVvy6oHuqya3pVPzanWtEua14rSiLATemRUvP4qkbWRJ4WrT0LJ66kSXRHzxn3/+c7D14xDLsbtnGgXWy6LJzSu7fH+YXeWIeOzI/DyRDBE8DlkcUTw8kQwRPA5ZHFE8PJEMETwOWRxRPD6QMI7lqPIXrJvXHNZ0yvKaRTsWNGYmtz53wxNMiQL1YtPRstXq+tO1A8K10T7ywW9r3ln7t7pxTBstfvnlY8EqdWzjcZ6tWTx+bKBk8o6j1vQ+eeFoEqBeLlp7FUzeyJPC0aOlZPHWjLBM0nrLU7sfn4sZM9uLgiadFgHqxaOnZavLcsrsj+Fa6X27YKZt29P5WOqd18tAGmfgm12waGvy7dasmT6tNlDyeUdRoPCWrhieeyQjw8ywZx/AoeOJpEci6XixjK5Wl8RRXMCf7Z124nC/ZwsETT4sA9WLR0rOZe/7NFfLZ624Pmk3PvVr6G+eOP25A0Gi6cPTxcvYJxxYK12fTO5H5/C65RFhzMMqVKr0P1y85S3ckPPG0CFAvFi09i6duZEngadHSs3n31AXKJ2g8xRXMyf55v1GYX7KFiieeFgHqxaJVOttxpFPWvrhbHm/bKU++uFOkpvci4G5h8PPPGhI83TTm1MFSV+v3Kp02Oq6fJmT7HE+bl5bGUxOyfY6nzUtL46kJ2T7H0+alpfHUhGyf593TptE7navG07Zt2+TZZ5+VCRMmxHWpuv3zfqMwv2RLGk88LQLUi0XrWPbI0U559pV9wZNNT7ywSw50HO11INdcetsZb5B3jRwq488e6r1uk2VEXD+Llp7FUzeyJPC0aOlZPHUjSwJPi5aexVM3siTwtGjp2bx76gLlE7lqPMXFqOb9836jML9kqxtPPC0C1ItFS8R3kXDXbHrXyONlyKA62wmMaa6fEUyJ44mnRYB6sWjpWTx1I0sCT4uWnsVTN7Ik8LRopZ+t2MZTW1ubfPe735Unn3xSnnjiCdm+fXugNXz4cBk/frx85CMfkY997GPS3NycvmIOzsCNmexFxBNPiwD1YtHSs5XoaVkk/Ad3/r20fPcuHSKhRCV6WqbO/CxaehZP3ciSwNOipWfx1I0sCTwtWnoWT93IksDTopV+tiIbT+vWrZP3vve9QbNp1KhRMnr06G5S69evlw0bNsi4ceNk+fLlNJ886ogb0wPJEMHTgOURxdMDyRDB04DlES3leXXr87J1T4fH3qUjbnWmThEptUg41y8ya8kd8cTTIkC9WLT0LJ66kSWBp0VLz+KpG1kSeFq09GzWnvqIyicqsvE0ffr0oLG0ZMkSGTt2bMkZrlmzRj74wQ+Kyy5cuDCuU+73z7pwOV+yJYUnnhYB6sWipWdLec5c8oy+o5K47uKzSi4SzvWLTdvtAHjiaRGgXixaehZP3ciSwNOipWfx1I0sCTwtWno2a099RDlsPNXU1MgjjzwiU6dOLTu71tZWmTt3rrS3t8d1yv3+WRcu50u2pPDE0yJAvVi09Gwpz9n3Pyd7Dx7Rd+4j0TiwThZddk7JT7l+kVnxTJYOTzxjC/DzLDZhtwPgiadFgHqxaOnZvHvqAjltPK1evVr99jr31NPEiROls9O9sMBWTiDvNwrzS7b+8cTTIlDt9fLkS7vlx+u2yvrN+3uxnXPK4OAb6SyLhFe7p6X2fLJ4+ij5Z/D0t/JJ4umj5J/B09/KJ4mnj5J/Bk9/K58knj5K2WUq8lW7Cy64IFjbyT3RVG5zr9mtXbtW3JpPbOUFuDGTrRA88bQIUC8WLT3bHzw7jnTKrzbslB/9dqu8tutQt0HX1dbI+LOHyF+97QQ5q3mQPqEeif4wP/OgDTswPwOWRxRPDyRDBE8DlkcUTw8kQwRPA5ZHFE8PJEMETwOWRzRrT48hlY1UZONp2bJlMm3atKD5NGvWLDnvvPNk6NChwUR37dolTz31lPzzP/9z0HS65557ZPbs2XGdcr9/1oXL+ZItKTzxtAhQLxYtPVvsue/QEfn5cztk2e+2yc79h7vtXF9XI+85Z7hMOa9JTh7aoB+4jwTXLzJdyR3xxNMiQL1YtPQsnrqRJYGnRUvP4qkbWRJ4WrT0bNae+ojKJyqy8eSm5F6ju+aaa4LmUqnNNaW+9KUv0XTyrJCsC5fzeV4YzxienlCeMTw9oTxj1eB593e/L8ufapefPbtdXPOpeBvcUBc0m943ZnjwLXVxt2rwbGlpicvkvT+e3lReQTy9mLxDeHpTeQXx9GLyDuHpTeUVxNOLyTuEpzdVJsGKbTyFOtu2bZNnn322G9Zpp50mI0eOzAQwLyfhxkz2SuKJp0WAerFo6dksPd1rdF/8h3+Whje+U9zrdcVbU2O9TH1rs7znnGEyqL5WH7hnIsv5uSFxPs8L4xnD0xPKM4anJ5RnDE9PKM8Ynp5QnjE8PaE8Y3h6QnnG8u7pydBnrOIbT+UAwqbUhAkT4jrlfv+83yjML9kSxhNPi0Ae6+WFrfvl3/5zq/z2v/fIkaPdG05nDB8YNJwuHH28uPWckt7y6FlsxPySrRg88bQIUC8WLT2Lp25kSeBp0dKzeOpGlkTePS0WpbIV23hy6zzdcccdwZzc003uQvdsMPGtdv7lkfcbhfn514JPEk8fJf8Mnv5WPsk0PX+3cY/8eN02efaVvb2GMubUxuCVuvPPGuIzzMiZNOdXalCcL/KlKrkjnnhaBKgXi5aexVM3siTwtGjpWTx1I0sCT4tW+tmKbDwtWrRIrrzyyl46119/vdx8882Fv6fx5F9A3Jj+Vj5JPH2U/DN4+lv5JPH0UTqWcU80Pd62S5b9fpu8tO1Ar507tzwnX/30RXLOKYNtB46Y5vpFhOtjNzzxtAhQLxYtPYunbmRJ4GnR0rN46kaWBJ4WLT2btac+ovKJimw8jR49WoYPHy4PPfRQ8LTTunXr5Bvf+Ebw54suukgeeOABaW5uDhYgnzhxonR2dn8NIi5aHvfPunA5X7JVhCeeFgHqxU/LrdnkFgv/6TPt4tZyKt7cK3TuVbq/eluz/N3cTwuLYfuZ+qSoTx8l/wye/lY+STx9lPwzePpb+STx9FHyz+Dpb+WTxNNHyT+Ttaf/yEonK7LxVFNTI4888ohMnTq126xaW1tl7ty54r7Rbvny5cGi4zSe/Eok68LlfH7XxTeFp6+UXw5PPyffVKV5um+lc99Q5xpOuw/0/oa6SW8+Xv6vsScUvqGu0ubne93CHPOzipXP44mnRYB6sWjpWTx1I0sCT4uWnsVTN7Ik8LRopZ+t2MbT6tWre63p5Ljc00/vfe97g+bT1772NZk2bRpPPHnUETemB5IhgqcByyOKpweSIVKNnle3Pi9b93QYlLpHa2tq5K/feaJ84C3DZXBDXbcPq9EzMqTHjnh6IBkieBqwPKJ4eiAZIngasDyieHogGSJ4GrA8onh6IBkiWXsahlYyWpGNp+nTpweNpeL1nIpnFzaf3N9t376dxpNHlWRduJzP46IYIngasDyieHogGSL9wXPmkmcMIy4dXXrFuSU/6A/ziz25Mgdgfsnq4omnRYB6sWjpWTx1I0sCT4uWnsVTN7Ik8LRopZ+tyMaT+0a7mTNnSnt7e59CbW1t8slPflLWrl1L48mjjrgxPZAMETwNWB5RPD2QDJFq9Jx9/3Oy92D31+YMZNI4sE4WXXYOjScLWsRsNdZnRCqv3fD0YvIO4elN5RXE04vJO4SnN5VXEE8vJu8Qnt5UXsGsPb0GVSZUkY0n30lv27ZNNm7cKGPHjvXdpWpzWRcu50u21PDE0yJAvYj8buMeWfr4a7Jpx8FudOed3igfevsJMubURm9SPL2pvIJ4ejF5h/D0pvIK4unF5B3C05vKK4inF5N3CE9vKq8gnl5M3qGsPb0H1kcw142nuDjVtH/Whcv5kq0uPPG0CFRzvbhGk2s4ucZT8Xb2CcfJzHedLOecMthCGWSr2dOM5bEDnh5IhgieBiyPKJ4eSIYIngYsjyieHkiGCJ4GLI8onh5IhkjWnoahlYzSeIormJP9sy5czpds4eCJp0WgGuvFfVPdP6/dIo/+YbscOdpZ4Dr+uAHyyQtOkklvHmYh7JatRs/IWB474umBZIjgacDyiOLpgWSI4GnA8oji6YFkiOBpwPKI4umBZIhk7WkYGo2nuFh53j/rwuV8yVYTnnhaBKqpXlyTyTWbXNPJNZ/Crb6uRqa9rVn+6m0nyKD6Wgtfr2w1ecaC8twZT08ozxienlCeMTw9oTxjeHpCecbw9ITyjOHpCeUZw9MTyjOWtafnsPqM8cRTXMGc7J914XK+ZAsHTzwtAtVSL32t4/TuUUPlE+NOlhOH1FvY+sxWi2ciWB4HwdMDyRDB04DlEcXTA8kQwdOA5RHF0wPJEMHTgOURxdMDyRDJ2tMwtJJRGk9xBXOyf9aFy/mSLRw88bQI5L5erviCvP1jX0p0Hadyvrn3vOQSaWlpsZRYrCyesfh67YwnnhYB6sWipWfx1I0sCTwtWnoWT93Iksi7p8WiVDYXjSf37XU//elPZdWqVdLW1ibnn3++XHjhhTJ16tS4PlWzf95vFOaXbCnjiadFIKt6Cddx+unTW0Vqjr0+l8Q6TjSeaDxZap56oV6oFz+BrH4/hKPhfH7XIKskWwAAIABJREFUxTeFp6+UXw5PPyffFJ6+UtnkKr7x5JpOU6ZMkbVr1/YSu+iii+SBBx6Q5ubmbDQr+CzcmMlePDzxtAhQLxat3tks1nGikUAjIV6VHtub+z0pya7j4ImnRYB6sWjpWTx1I0sCT4uWnsVTN8oyUfGNp7lz50pra6ssXLhQpk+fXrBzf+c+u+6662TevHlZmlbkubgxk71seOJpEaBeLFrds1mt40TjicZT9Crtvif3e1KSNJ6SlcQTT7sAP8/sZvz3BP89kVTVZH3/xR13xTeempqaejWdQpRFixbJ7bffLuvXr4/rlPv9sy5czpdsSeGJp0UgD/WyacdBWfr4ayXXcdqw4h5pufs2C0msbB48+Q9h/kM41k1QtDP3Q1KSNIKSlcQTT7sAP8/sZvz3RH7/eyJuNVR846mmpkZWr14tEyZM6GWxZs0amThxonR2dsZ1yv3+/GBN9hLjiadFgHrx1wrXcXr0D9vFvWIXbsXrOOHp7+mTxNNHyT+Dp7+VTxJPHyX/DJ7+Vj5JPH2U/DN4+lv5JPH0UfLP5N3TX6J0suIbT6NHj5YvfelLMnv27F4zDF+3a29vj+uU+/3zfqMwv2RLGE88LQJJ1ItlHackzpf1/DjfMQGun6Ua9CyeupElgadFS8/iqRtZEnhatPQsnrqRJYGnRUvPZu2pj6h8ouIbTwsWLJBbb721zzWe3LpPbv2n/ra59afuvvvuXsMKn95yTbMZM2YUPt+wYYOMHDky+Na+UaNGBX9/2223dVu/yjXh7r333pJPf2nzz7pwOZ92RWyf42nz0tJ4akK2z+N6Wtdxins+2+xY3NjqpeW5fpqQ7XM8bV5aGk9NyPY5njYvLY2nJmT7HE+bl5bGUxOyfZ61p210vdMV33hy32p36aWXyooVK3rNbty4cbJ8+fKK+FY791rg5ZdfHqxHFb4iGDabXHNt8eLFwWeuYTVp0qRgIXX3mmH4GqH7+xEjRkReSD3rwuV8cW/d7vvjiadFoD/Uy9Wtz8vWPR2WYXfLulfr7rr0zSX37w/zizwxjx2ZnweSIYKnAcsjiqcHkiGCpwHLI4qnB5IhgqcByyOKpweSIYKnASuDaMU3nkKjZcuWyWOPPSZPPvlk8GSQa868//3vr4imk5vDlClTZPLkyUHjyDWaXnzxxW5PaoVrWd10000yf/784Kkm94STa0a5p6Pck06uyRZ148aMKld6PzzxtAhUY73MXPKMhahkdukV59J4iq2oH6Aa61NXiZ7AM7pdqT3xxNMiQL1YtPQsnrqRJYGnRUvP4qkbZZnIRePJvX7mmk09N/fkUKlFx7ME9jlX+Ppc+IRTcRMq3N81mVzTadWqVb2eeCp+8snnfPyHW1Ql//34Qedv5ZPE00fJP9MfPGff/5zsPXjEf9A9ko0D62TRZefQeIos6L9jf6gX/9Hak8zPblZuDzzxtAhQLxYtPYunbmRJ4GnR0rN46kaWRNaelrGVylZ84ylc42nt2rXdmk/uFbw3velNct1110V+/Swuru/+7jU5t4VrUZVrPI0fP76wxtODDz4YPOnknoByr+m5xtWcOXMirWmVdeFyPt/q8Mvh6efkm8LTV8ov5+O5cftBWbJ6k6zfvL/bQcefPVRmjD9ZThxS73cyYc0lbyjPoM/18zyUV4zzeTF5h/D0pvIK4unF5B3C05vKK4inF5N3CE9vKq8gnl5M3qGsPb0H1kew4htP7kmgWbNmlWwuLVq0SG6//fbgdbT+vIWv0YVPZ5VrPLm1ncLNNd2KN/eanvNYuXJlySfAyhm4wmVDAAEEMhcYMFBqzp4kNWdcIFJTe+z0B3ZI5/M/lc4tz2U+JE6IAAIIIIAAAggggEB/F2hpaenvQyyMr+IbTz2bNsXy4SLd4QLc/fGquObRo48+2m19pp5PQLlxu3mGr+K5P7u5uVfv3LpOxQuOu6ZVuAaUZb5Zd0w5n+Xq6Fk8dSNLAk+Llp7ty/NXG3bJ0sdflZ37DxcOUl9XI9Pe1iwfevuJ4v49ysb1i6LW9z544mkRoF4sWnoWT93IksDToqVn8dSNLAk8LVp6Fk/dKMtExTeeyj3xFL6G197enqWp6Vzh2k3FTzKV+1a78ODFjajwyae4Tzxl2THlB4GpTNQwniqRKYCniUsN9/TctOOgfP9Xr8pTf9zbbd/zTm+UT737FDlt2ED1mOUCXL9YfL12xhNPiwD1YtHSs3jqRpYEnhYtPYunbmRJ4GnR0rN46kZZJiq+8eSaLtdee61cf/31cvHFFxfsfvKTn8gtt9wSec2jLC6C+za6GTNmSKknssJ5heMozrinmtyaTsXNKteIchtrPJW+cvzgSbai8cTTIhDWS8eRTvmX/9giy36/TY4c7SwcoqmxPljH6d2jhloO22eW+kyEsXAQPPG0CFAvFi09i6duZEngadHSs3jqRpYEnhYtPYunbpRlouIbTw7rhhtuCJpMPbeLLrpIHnjgAWlubs7StCLPxY2Z7GXDE0+LQDXUy//6xqLgtbotuzsKNHW1NfL+c4fLx84/SQbVF63vZMErka0GT55QjVkkRbtTL8lZuiPhiadFgHqxaOlZPHUjSwJPi5aexVM3siSy9rSMrVQ2F40nN7G2tjb5wx/+IE899ZSceeaZMmbMGBk7dmxcn6rZP+vC5XzJlhaeeFoEsqwX12i6euFyqWke1W2I55wyWD594alyxvB4r9WVmneW8+P/0LZUnl+W6+fn5JvC01fKL4enn5NvCk9fKb8cnn5Ovik8faX8cnj6Ofmmsvb0HVdfudw0nuJCVPv+WRcu50u24vDE0yKQRb241+oe+d02+dFvt4j793AbMqgueK1u0puHWYZsymYxv+IBcT7T5VHDeKpEpgCeJi41jKdKZArgaeJSw3iqRKYAniYuNYynSmQKZO1pGlyJcMU1npYtWyb//d//LbNnzw6mEy6sXQ7CLbrNVl4g68LlfMlWJJ54WgTSrpffbdwj9/3yVXlt16HCsNxrde85Z5h88oKTZHBDnWW45mza8+s5IM5nvkRld8ATT4sA9WLR0rN46kaWBJ4WLT2Lp25kSeBp0dKzeffUBconKq7x5BbWXrFiRWFB7nBR7XLTLLV4d1y4vO2f9xuF+SVbsXjiWUqgfW+HPPjEa/KrDbu6fdy56xW56VN/IWefcFyycH0cjfpMlhlPPC0C1ItFS8/iqRtZEnhatPQsnrqRJYGnRUvP4qkbZZmouMaTW8tp9+7drN+UcJVwYyYLiieeFoFKrxf3DXXum+p+9NutcqDjaGHq7skm94TTd2/6grQ8sNRCEitb6Z7a5JmfJmT7HE+bl5bGUxOyfY6nzUtL46kJ2T7H0+alpfHUhGyf42nzSjtdcY2nniDbtm3jW+sSqBJuzAQQiw6BJ54WgUqul+de3Sffe+wV2bj9YLcpuzWc3FpObk2nSp6fz3Vkfj5K/hk8/a18knj6KPln8PS38kni6aPkn8HT38oniaePkn8GT38rn2TWnj5jKpep+MaTe9Vu9erVMmTIkGCexd9kt27dOvnoRz8qGzZskIsuukgeeOABmlR9VEPWhcv54t663ffHE0+LQBL1snP/YWn59Wvy2Pqd3U7tvqXOfVud+9a6cEvifFnPj/MdE+D6WapBz+KpG1kSeFq09CyeupElgadFS8/iqRtZEnhatPRs3j11gfKJXDSehg8fLtu3bw9mOmrUKFm5cqWMHDlSpk+fHjSdPv7xj8utt94q1113nbDQeOmCyPuNwvzi/qig0ZWsYOV6utfqfvHcDnnoN5tl36EjhYkMqq+Vj51/krz/3OHiFhIv3rj/kq0ePPG0CFAvFi09i6duZEngadHSs3jqRpYEnhYtPYunbmRJZO1pGVupbC4aT+PGjZOvfe1rwfz+/u//Pmg+tba2SlNTkyxcuDBoQC1atEhuv/12Wb9+fVyzXO6fdeFyvmTLCE88LQKl6uXq1udl654Oy2G6ZZsaB8gdM95ccn/qMzIrnsnS4YlnbAF+nsUm7HYAPPG0CFAvFi09i6duZEnk3dNikdvG0yOPPCJTp04N5rds2TKZNm1a8K134Wt4EyZMkDVr1sjEiRML34YXFy5v++f9RmF+yVYsnvnznLnkmdiTWnrFufwf9rEV9QNw/+lGlgSeFi09i6duZEngadHSs3jqRpYEnhYtPYunbmRJ4GnRSj+biyeeaDzFLxRuzPiGxUfAE0+LQH+ol9n3Pyd7Dx57dc4yfpdtHFgniy47h8aTFS5Cvj/US4Rhe+/C/LypvIJ4ejF5h/D0pvIK4unF5B3C05vKK4inF5N3CE9vKq9g1p5egyoTqvjGU7iOk3vVbujQoXLNNdcEr9rdcsstwT/vuecemT17tixYsEAWL17Mq3Z9FEPWhcv54t663ffHE0+LgE+9uLWcfvCbzbL86XZx/x5u5581RGa+6xQ5cUi99yl9zud9MI8g5/NAMkTwNGB5RPH0QDJE8DRgeUTx9EAyRPA0YHlE8fRAMkTwNGB5RPPu6UFQNlLxjae2tjb5wAc+ECwi7jbXbOr57+4b7VasWCFz5swJ1nxi6y2Q9xuF+SVb9Xjm2/OlbQdk8apN4v4ZbkMG1QXfVjf+7KHmyVMvZrKyO+CJp0WAerFo6Vk8dSNLAk+Llp7FUzeyJPC0aOlZPHUjSyJrT8vYSmUrvvEUTsqt4eQ2t56Ta0Y9/PDD8tnPflZ+/etfyx133BF8y92NN94ozc3Ncc1yuX/Whcv5ki0jPPG0CPRVL+7Jph/9dmvwv+KnnN5x5hD59IWnSFOj/1NOxeOhPi1XR8/iqRtZEnhatPQsnrqRJYGnRUvP4qkbWRJ4WrT0LJ66kSWBp0Ur/WxuGk/pU+X7DNyYyV5fPPG0CPSHetm046Dc/YtN8sLW/YWhD26ok5nvOlkmvXmYZTq9sv1hfrEmoOzM/JLVxRNPiwD1YtHSs3jqRpYEnhYtPYunbmRJ4GnR0rN599QFyidy0XhqbW2V+fPnB6/YDR8+XNrb24Onnq6//nq56667eMrJo0ryfqMwP48iMETwNGB5RF9PT/dkk1vH6eG1m6XjyLG1nMac2ihz3nNa5Keciqf9es7Pgz92hPnFJux2ADzxtAhQLxYtPYunbmRJ4GnR0rN46kaWBJ4WLT2bd09dIGeNp7lz53Z7ZW7RokVy5ZVXilvHyb1Od/fdd0tnZ9f/8TRlypTg71jXSS+TvN8ozE+vAUsCT4uWnn29PLfs7pC7fr5R1m8+9pTToPpa+eQFJ8n7z23SB+6ZeL3m5zm82DHmF5uQxlOyhHjiGVmAn2eR6UruiCeeFgHqxaKlZ/HUjbJMVNwTT6NHjw58fvjDH8rYsWPF/XnWrFkyb948ces8TZw4sdB4WrZsmVx11VV8k51HRXFjeiAZIngasDyieHogGSLO89Pz75SHfrNZDnQcLex5zimD5cq/PN30jXU+p+X6+Sj5Z/D0t/JJ4umj5J/B09/KJ4mnj5J/Bk9/K58knj5K/hk8/a18knj6KGWXqbjG07Zt2+S73/2uXHvttUGDqaamRlavXh0sKt6z8dTzz9mxVt6ZuDGTvWZ44mkRyLJe3FNOV9/z/0vN8LMKQ6yvq5GPjTtJprylSepqayxD98pmOT83IM7ndVm8Q3h6U3kF8fRi8g7h6U3lFcTTi8k7hKc3lVcQTy8m7xCe3lRewbx7eiGUCVVc4ymci1vDyb1G19TUFLxKN3369F6NJ/ca3pe//OVgzSe28gJ5v1GYX7J3AJ6V6bnqv3bI0sdfk32HjhQmMPqk42TWpNPktGEDk51U0dGol2Rp8cTTIkC9WLT0LJ66kSWBp0VLz+KpG1kSeFq09CyeupElkbWnZWylshXbeAon49Z8couLL126VIYOHVp41c497fTBD34waEixxpNeJlkXLufTr4klgadFS8/mzbN9b4d877FX5T9f3l2YvHuy6UNvPyH4XxpPORUr582zZwUxP/2esiTwtGjpWTx1I0sCT4uWnsVTN7Ik8LRo6Vk8dSNLAk+Llp7N2lMfUflExTee3Kt3l156qaxYsaLXTMeNGyfLly/nW+08qiTrwuV8HhfFEMHTgOURzZPnEy/skiWrX+n2lJPseU1uvuzdclbzIA+N+JE8eZbSYH7xa4RGZbKGeOIZVYCfZ1HlSu+HJ54WAerFoqVn8dSNskxUfOMpxHILiT/11FPy6KOPyuTJk+XMM88MnnZi8xPgxvRz8k3h6Svll8PTz6k4tfvAEfneY6+IazyFm3uyaepbm+VH//BFaXlgqf2gEffg+kWE62M3PPG0CFAvFi09i6duZEngadHSs3jqRpYEnhYtPYunbmRJZO1pGVupbMU3ntwrdWPGjCn5VJNbB2r37t3Bt9+xlRfIunA5X7IViSeexQJPvrRblqzeJK75FG5uDSe3lpNb04l6oV4sAtSLRUvP4qkbWRJ4WrT0LJ66kSWBp0VLz+KpG1kSeFq09GzePXWB8omKbzwVf6tdz6m6p6BmzpzJ4uIeVZL3G4X5eRSBIYKnAcsjmpSnWzTcLR7uFhEv3qa9tTn41jr37XVuS+p8HlPjfL5IhhzXz4DlEcXTA8kQwdOA5RHF0wPJEMHTgOURxdMDyRDB04DlEcXTAynDSK4bT27R8RkzZkhnZ2eGpJV5Km7MZK8bnnhaBJKoF7dwuFtA3C0kHm4nDqkPnnIac2pjt+Ekcb6s58f5jglw/SzVoGfx1I0sCTwtWnoWT93IksDToqVn8dSNLAk8LVp6Fk/dKMtExTaepkyZEji5RcXdIuLNzc3d3Nyi42vXrpWLLrooWGCcrbwAN2ayFYInnhaBOPVyoOOoPPSbzfLTZ9q7nfL95zbJJy84SQbV1/YaSpzzWeYVZjlfFLW+98ETT4sA9WLR0rN46kaWBJ4WLT2Lp25kSeBp0dKzeOpGlkTWnpaxlcrmtvHkJnv++efLF7/4Rb7VzqNKsi5czudxUQwRPA1YHtH+4Hl16/Oydc+xp5c8ht0tcsIb6uUfpr+p5G79YX7W+VjyzM+ipWfx1I0sCTwtWnoWT93IksDToqVn8dSNLAk8LVp6Fk/dyJLIu6fFIleNp3Ay5dZ4iotTTfvn/UZhfslWM57pe85c8kzskyy94lwaT7EV9QNwP+hGlgSeFi09i6duZEngadHSs3jqRpYEnhYtPYunbmRJ4GnR0rNZe+ojKp+o2CeewmmtW7eOb62LWwUsNpyAYPdDZP2DgPMlewn7g+fs+5+TvQePfSuddYaNA+tk0WXn0HiywkXI94d6iTBs712YnzeVVxBPLybvEJ7eVF5BPL2YvEN4elN5BfH0YvIO4elN5RXMu6cXQplQxTee3Nxc8+nxxx+XnTt3lpzqvHnz4jrlfv+83yjML9kSxvP18Xxh636542cbZcvuY6/gjT97qHz6wlNlyKA670Fx/bypvIJ4ejF5h/D0pvIK4unF5B3C05vKK4inF5N3CE9vKq8gnl5M3iE8vam8gll7eg0qz42nZcuWybRp0/qcIouL+5VI1oXL+fyui28KT18pv1x/9Fz1Xzvke4+9Ih1Hur6ls662Rma+62Rxi4hbt/44P+scyuWZX5KaInjiaRGgXixaehZP3ciSwNOipWfx1I0sCTwtWnoWT90oy0TFP/E0evTo4FvtbrnlFtm0aZNMnDhROjs7xX2r3Zve9Cb5xje+IbNnz87StCLPxY2Z7GXDE0+LQLl6OXK0M2g4/eK5HYVDHn/cALnm/W+U0ScdZzlNIUt9RmLrcyc88bQIUC8WLT2Lp25kSeBp0dKzeOpGlgSeFi09i6duZEnk3dNiUSpb8Y2n4sXF16xZU2g8ucm2trbK/PnzZf369XGdcr9/3m8U5pdsCeOZjWf73g759k83invFLtzGnNoo/3Py6eKaT1E3rl9UudL74YmnRYB6sWjpWTx1I0sCT4uWnsVTN7Ik8LRo6Vk8dSNLIu+eFovcN57cWk9vf/vbZcOGDTJy5Ejp2YiKi5XG/lOmTJEVK1YEhx41alShSeaaZjNmzCicMpxTW1tbkHPbbbfdJsXrV7mnv+69916ZMGGCeah5v1GYn7kkyu6AZ/qeT/1xr9z9iz/Kzv2HCyebcl6TzBh/cvCaXZyN6xdHr/e+eOJpEaBeLFp6Fk/dyJLA06KlZ/HUjSwJPC1aehZP3ciSyLunxSKXjafp06cHjZibb745mF9TU5O4v3MX/s4775S1a9f22yeeXNNp8uTJ3ZpHbg5hwyxsNi1YsEAWL14czGPu3LkyadKkYI7uaS/3WqHb3N+PGDGi17F8CyTvNwrz860Evxyefk6+qZ6ej/x+m/zgN5vFvWbntkH1tcEC4heOPt73kGVzXL9EGAsHwRNPiwD1YtHSs3jqRpYEnhYtPYunbmRJ4GnR0rN46kaWRN49LRa5bDy5xcVnzpwp7e3twfx6Pin04IMPBk2a/ra55tLll19esinmGk0vvviiLFy4sDDs8JXCm266KXh90D3V5J5wcs0oN2f3pNPy5csjTzPvNwrzi1waJXfEMx3PAx1HZfGqTfLEC7sKJzh5aEOwntMZwwcmdlKuX2KUwYHwxNMiQL1YtPQsnrqRJYGnRUvP4qkbWRJ4WrT0LJ66kSWRd0+LRS4bT6Um5V65e/bZZ2XMmDEyduzYuEap7N+zQeZOEr46V+pJKNdkck2nVatW9XriqfjJp6iDzfuNwvyiVkbp/fBM3vObC78nd/xso2zcfrBw8HecOUTmvOc0GdxQl+gJuX6JctJ4SpYTTzxNAvw8M3GpYTxVIlMATxOXGsZTJTIF8DRxqeG8e6oASqDiFxd3TzN96lOfkqlTp8a1yHT/4tfn3ImLX69zr831fAUvbDyNHz++sMaTe5rLPenknoByT0+5V/PmzJnT7Ukp30nl/UZhfr6V4JfD08/JN3Xp335NjnvnJ8U98eQ2t4bTh95+gvz1O0/0PYQpx/UzcalhPFUiUwBPE5caxlMlMgXwNHGpYTxVIlMATxOXGsZTJTIF8DRxqeGsPdUB5b3xVPytdnExstzfNZ4effTRbq/HhYuDuyeb+mo8Fb826I5RvLmFxt0xVq5cGSyubtlc4bIhgEDGAjW1UnP2RKkZMfHYiQ8flM6n/0U6t23IeDCcDgEEEEAAAQQQQAABBCpFoKWlpVKG6tanrqnpDFeorphhHxto2Ii56667pLm5uWJm4F61c08quTWawi1sooUF1HONp3CxcZd3T0i5BpVb16l4wXH3ml64BpQFI+uOKeezXB09i6duZElk4bn7wBG56+cbxX17Xbid1TxIrv4fb5QTh9RbhmvOZjG/4kFxPvMlKrsDnnhaBKgXi5aexVM3siTwtGjpWTx1I0sCT4uWnsVTN7Iksva0jK1UtuIbT25x8auuuiqY26xZs0p6uCeB+tvW1tYWvDK3evXqYKHw4kZUuW+1C+fhmlTF33rn/j7uE09ZdkyzvlE4X7J3AJ7xPF/Yuj9Yz2nL7o7CgSa9eZh86t2nBN9gl/bG9UtWGE88LQLUi0VLz+KpG1kSeFq09CyeupElgadFS8/iqRtZEnn3tFjksvHkGjDa1l8f6Oq5wHjxON1rdNdee21hasWfuaea3JpOxa/dhQ6s8VS6GvL+g4D5aT8FbJ+n6bnqv3bI9x57RTqOdAaDcus5Hf7DT+SBBV+0DTJGOs35lRoW54txsUrsiieeFgHqxaKlZ/HUjSwJPC1aehZP3ciSwNOipWfx1I0siaw9LWPLZeMpLgD7dwlkXbicL9nKw7P/ex452hk0nH7x3I7CYI8/boBc8/43ylev/qzwxGFy15D7ITlLfj8ka4knnlYBfp5Zxcrn8cTTIkC9WLT0LJ66kSWRtadlbDSe4mrleP+sC5fzJVtMePZvz/a9HfLtn24U94pduI05tVH+5+TTxTWfuH79+/ppo+P6aUK2z/G0eWlpPDUh2+d42ry0NJ6akO1zPG1eWhpPTcj2OZ42Ly2dtac2Hu3zil/jqdy32pVawFsDqdbPsy5czpdspeHZfz3d4uF3/+KPsnP/4cIgp5zXJDPGnxy8Zuc2rl//vX4+I+P6+Sj5Z/D0t/JJ4umj5J/B09/KJ4mnj5J/Bk9/K58knj5K/hk8/a18kll7+oypXCbXjSe38Pi0adOkv67xFPfiJbl/1oXL+ZK8ejQuktVMzvOR32+TH/xms7jX7NzmFg7/9IWnyoWjj+82ZO6HZK8gnnhaBKgXi5aexVM3siTwtGjpWTx1I0sCT4uWnsVTN7Ik8LRopZ+t2MaTW3zbbW4Bbreg9ogRI7pp7dy5Ux566KHg79avX5++ZIWfgRsz2QuIZ3V7Hug4KotXbZInXthVgDh5aEOwntMZwwf2wqFeqrterLOnXqxi5fN44mkRoF4sWnoWT93IksDToqVn8dSNLAk8LVp6NmtPfUTlExXbePL5Nrtx48bJkiVLZOzYsXGdcr9/1oXL+ZItKTz7j+emHQfljp9tlI3bDxYG9Y4zh8ic95wmgxvqSg6U69d/rl+UkXD9oqj1vQ+eeFoEqBeLlp7FUzeyJPC0aOlZPHUjSwJPi5aezbunLpDTxlM4rXJrPMXFqab9836jML9kq7kaPa9ufV627umIDHnCG+rlH6a/icZTZEH/HauxPv117Ek87Wbl9sATT4sA9WLR0rN46kaWBJ4WLT2Lp25kSeBp0Uo/W7FPPIU0ixYtko997GPS3NycvlaOz8CNmezFxTN/njOXPBN7UkuvOJfGU2xF/QDcf7qRJYGnRUvP4qkbWRJ4WrT0LJ66kSWBp0VLz+KpG1kSeFq09GzePXWB8omKbzytW7dOVqxYIfPmzQtmum3bNvn85z8vK1eulOnTp8uNN95IU8qjSvJ+ozA/jyIwRKrRc/b9z8neg0cMSt2jjQPrZNFl59B4iizov2Pv9f4GAAAgAElEQVQ11qe/jj2Jp92s3B544mkRoF4sWnoWT93IksDToqVn8dSNLAk8LVrpZyu+8TRlyhQZOXKkLFy4MNByzaaw6dTa2hr8Ofwsfc7KPQM3ZrLXDs/q8dx36Ihc98M2ad/b9RqeW8/p8+89PfgGO9+NevGV8svh6efkm8LTV8ovh6efk28KT18pvxyefk6+KTx9pfxyePo5+abw9JXyy+Xd00+h71TFN56K13hqa2uTUaNGyYMPPhg0nFzjae7cudLe3h7XKff75/1GYX7JljCexzzdQuLht9c1NdbLrR8d2eci4n1dBTypT4sA9WLR0rN46kaWBJ4WLT2Lp25kSeBp0dKzeOpGlgSeFi09i6dulGWi4htPTU1NwRNNrtG0YMECufXWWwuNpjVr1sjEiROls7MzS9OKPBc3ZrKXDc/q8Hxs/U65+xd/LEz2uovPkvNObzRPnnoxk5XdAU88LQLUi0VLz+KpG1kSeFq09CyeupElgadFS8/iqRtZEnhatNLPVnzjyT3R5J5sGj9+fLDW02233VZY78ktPH777bfL+vXr05es8DNwYyZ7AfHMv+eW3R1yw7+2iXvVzm1TzmuSme86JdLEqZdIbH3uhCeeFgHqxaKlZ/HUjSwJPC1aehZP3ciSwNOipWfx1I0sCTwtWulnK77x5BYT/8pXviLuNbvJkycXmk6ObvTo0TJr1qxuf5c+aWWegRsz2euGZ749jxztlFt/8rI8+8reYKJnDB8oN354pNTX1USaOPUSiY3GU7JseOKZiAA/zxJhLBwETzwtAtSLRUvP4qkbWRJ4WrT0bNae+ojKJyq+8RQXgP27BLIuXM6XbOXhma3nI7/fJg/++rXgpHW1NfL1D50tZzUPijwIrl9kupI74omnRYB6sWjpWTx1I0sCT4uWnsVTN7Ik8LRo6Vk8dSNLAk+LVvrZimw8rVu3TsaOHavquKehnn32WZkwYYKarfYAN2ayFYBnfj1f2nZAvvqjF8Q99eS2GX9+skx7a3OsCVMvsfh67YwnnhYB6sWipWfx1I0sCTwtWnoWT93IksDToqVn8dSNLAk8LVrpZyuy8VT8TXaOyL1m9/DDD/d6pY7Fxf0LiBvT38oniaePkn+mv3h2HOmUr/xbm2zcfjAY/JhTG+W6i88MnnqKs/WX+cWZQ7l9mV+ysnjiaRGgXixaehZP3ciSwNOipWfx1I0sCTwtWnoWT93Iksja0zK2UtlcNJ76ajDRePIvj6wLl/P5XxufJJ4+Sv6ZvjyXPv6qLH+qPTjQ4IY6ufkjI+XEIfX+B+4jyfWLTdjtAHjiaRGgXixaehZP3ciSwNOipWfx1I0sCTwtWnoWT93IksDTopV+lsZT+sYVcQZuzGQvE57583zqj3vl1p+8VJjYnPecLheOPj6RiVIviTAWDoInnhYB6sWipWfx1I0sCTwtWnoWT93IksDToqVn8dSNLAk8LVrpZ2k8pW9cEWfgxkz2MuGZL899h47IdT9sk/a9HcHExp89VK563xmJTZJ6SYwyOBCeeFoEqBeLlp7FUzeyJPC0aOlZPHUjSwJPi5aexVM3siTwtGiln63YxtM999wjb3nLWwKhp59+Wq688kpZvXp1N7Hw7zs7uxYBZutbgBsz2erAM1+ed/xsozzxwq5gUk2N9XLrR0cGr9oltVEvSUl2HQdPPC0C1ItFS8/iqRtZEnhatPQsnrqRJYGnRUvP4qkbWRJ4WrTSz1Zs48lCQ+NJ1+LG1I0sCTwtWnr29fR8bP1OufsXfywM8rqLz5LzTm/UB21IvJ7zMwwzcpT5RaYruSOeeFoEqBeLlp7FUzeyJPC0aOlZPHUjSwJPi5aexVM3siSy9rSMrVS2IhtPra2t8vLLL3vN/cwzz5Tp06d7Zas5lHXhcr5kqw3PdDy37O6QG/61Tdyrdm6bcl6TzHzXKcmejCd08DQKcL8bwZQ4nnhaBKgXi5aexVM3siTwtGjpWTx1I0sCT4uWns3aUx9R+URFNp7iTpr9ewtkXbicL9kqxDN5z/uXPiC3/uRlefaVvcHBzxg+UG788Eipr6tJ9mQ0nvA0CnC/G8FoPElLS0uyaGWORn0mS40nnhYB6sWipWfx1I0sCTwtWno2a099RDSe4hpVxf5ZFy7nS7as8Eze89Iv/5M8+OvXggPX1dbI1z90tpzVPCjZE/3paFy/ZFnxxNMiQL1YtPQsnrqRJYGnRUvP4qkbWRJ4WrT0LJ66kSWBp0Ur/SxPPKVvXBFn4MZM9jLhWeGes66R+nfNkiNHu76YYMafnyzT3tqc7KSKjka9JEuLJ54WAerFoqVn8dSNLAk8LVp6Fk/dyJLA06KlZ/HUjSwJPC1a6WdpPKVvXBFn4MZM9jLhWbmeHUc65fJ/+nepecNJwSTGnNoo1118ZvDUU1ob9ZKsLJ54WgSoF4uWnsVTN7Ik8LRo6Vk8dSNLAk+Llp7FUzeyJPC0aKWfpfGUvnFFnIEbM9nLhGflei59/FVZ/lR7MIHBDXVy80dGyolD6pOdUI+jUS/J8uKJp0WAerFo6Vk8dSNLAk+Llp7FUzeyJPC0aOlZPHUjSwJPi1b62Vw1ntra2mTTpk0yZswYaW5O77WY9C9L9mfgxkzWHM/K9Hzqj3vl1p+8VBj8nPecLheOPj7ZyZQ4GvWSLDGeeFoEqBeLlp7FUzeyJPC0aOlZPHUjSwJPi5aexVM3siTwtGiln81F46m1tVXmz58vGzZsKIiNGzdOvv3tb8uECRPSV8zBGbgxk72IeFae575DR+S6H7ZJ+96OYPDjzx4qV73vjGQn0sfRqJdkmfHE0yJAvVi09CyeupElgadFS8/iqRtZEnhatPQsnrqRJYGnRSv9bMU3npYtWybTpk2TUaNGyaxZswpiixcvDhpRq1evpvnkUUfcmB5IhgieBiyPaBaed/xsozzxwq6u0RzcLYs/Ny541S6LLYv5Fc+D8yV7VfHE0yJAvVi09CyeupElgadFS8/iqRtZEnhatPQsnrqRJZF3T4tFqWzFN54uuOCCoOnknnrquU2fPj34q1KfxYXL2/55v1GYX7IVmzfPx9bvlLt/8ccC0tH/fEBa7ro5WbQyR8ubZ8+pMr9kSwlPPC0C1ItFS8/iqRtZEnhatPQsnrqRJYGnRUvP4qkbWRJZe1rGlsvGU01NTZ9PNYVPQ3V2dn0lOlvfAlkXLudLthrxjO65ZXeH3PCvbeJetXPblPOaZNkdX5SWlpboBzXuyfUzgilxPPG0CFAvFi09i6duZEngadHSs3jqRpYEnhYtPYunbmRJ4GnRSj9b8U88ucbTI488IlOnTu2ltWbNGpk4caLQeNILiRtTN7Ik8LRo6dm0PI8c7ZRbf/KyPPvK3mAQZwwfKDd+eKT8zWWX0njSL4t3Iq3r19cAOJ/3pfEK4unF5B3C05vKK4inF5N3CE9vKq8gnl5M3iE8vam8gnh6MXmH8u7pDdFHsOIbT+Vep3OfuXWefvOb38R1yv3+eb9RmF+yJZwXz0d+v00e/PVrAU5dbY18/UNny1nNgyQv86Mxk2zd44lnEgL8fElC8dgx8MTTIkC9WLT0LJ66kSWBp0VLz+KpG2WZqPjGU/hUU1+Li/f1NFSWyKXO1dbWFqxNVbzddtttMm/evOCv3LpUM2bMKHzsGmgjR46U4v2K8y44evRouffeeyMtps6NmWxF4Nn/PV/adkC++qMXxD315LYZf36yTHtrc/DvXL/+f/3KjZDrx/WzCFAvFi09i6duZEngadHSs3jqRpYEnhYtPYunbmRJ4GnRSj9b8Y0nR+SaT9dcc42sXbu2IOaaOjfddJOET0SlT2k7Q9hAChtKxXuHzbTwswULFoj7lr7169fL3LlzZdKkScG83GuG4WuE7u9HjBhRaFzZRsP/oW310vL8oNOEbJ8n7dlxpFO+8m9tsnH7wWAgY05tlOsuPjN46onGk+3a+KSTvn7aOTmfJmT7HE+bl5bGUxOyfY6nzUtL46kJ2T7H0+alpfHUhGyf42nz0tL/h727gZKqOvNG/zQdFCWI3Y1fgAhNJw4GLzEhaBSYiBFQchMzMQNEMiFLLwjO8jrxpkEbs3KDECA36vKd0JGla5wJ4WM0S/MhAq6AL2BWFHyjb4jESdN8BIwfNIiIii30Xfv0VFHdXV3P/6lzalO1619rzZpI/U/ts3/7OW3zeM6u0D21+WvvB9F4Sk2ypaVFduzYIf3794/uDirmV67Gk2s07d69W5YuXZqeQmoTdddMmzdvXnRXk7vDyTWj3N1R7k6ntWvX5j3l0C8Uzi/v0sh6YKl7Lv/967J2+8FobmeeVikLvlor5/TpmZ5rqc9PW23OTxOyvU9Pm5eWpqcmZHufnjYvLU1PTcj2Pj1tXlqanpqQ7X162ry0ND01Idv7vj1tZ9c1HVTjKS6Gz+OzPWqXuntp4sSJMm7cuA53L7kmk2s6bdq0qcsdT5l3PuU7B9+Fy/HyXansx9ET99y+/6gsenpP+oBZXxggV9X17fAB9MQ9kSQ9ESU8Q0/cCknSE1HCM/TErZAkPRElPENP3ApJ0hNRwjP0xK2QJD0RJX+ZIBpP7g6hDRs2dKsW504gX0vhHpVbv359dAdTrsbTqFGj0ntDrVy5MrrTyd0BNX369Ggj9VmzZnW4Uwo9f16YqBSWoyfmhKaS8nzvw+My9xfNcvBoazT0qCFnye3XDOxyGkmN53t+HK9dgOuHVgKWoyfmhKboiUphOXpiTmiKnqgUlqMn5oSm6IlKYTl6Yk5oKnRP1KG7XMk3nhoaGmThwoUycuRIqalp3xg483X22WdHj6IV+yt1B5S76ylX4ylzzyrXcMt8uY3J3Z1RroFlfdTQXSh8USB0gYrhX5OKc4e1T/PYETnx/E9FPmrf54kvClCAAhSgAAUoQAEKUIACpSKwYsWKUjlVtz91RUVb6hmvkjntkydaXV0d3eWzYMGCEjz7k6ec2lDcLYW7+8m9Ou/xlLkRucu7R+/c3VyZG467plVqDygLSOgdWs7PUg16thQ9n2s6LI3P7k9Pbu51F8nwAb2zTrYU56ev2skE52fR0rP01I0sCXpatPQsPXUjS4KeFi09S0/dyJKgp0VLz9JTN7Ik6GnR0rO+PfUzyp0o+cZTatNtt9l2Kb3c3UqDBg1Kf+ueaxi5u5RcsynXt9ql5ujmnfmtd+7P497x5LNj6vtC4XjJXh2l5vnWkVZpeKJZ3KN27jVxeLVMu+L8blFKbX7W1eX8rGK58/Skp0WA9WLR0rP01I0sCXpatPQsPXUjS4KeFi09S0/dyJII3dNikS1b8o0n9+iZu+sp8+6guCg+ju+8ufiECRM6fCuda0zNmTMnfSqZN6W5JpXb0ynzsTvXiHIv7vGUffVC/0HA+XV/1R4/0SaLnt4rO/52NAoNrDpd5t9QKz0r26+ZbC96JvtTkJ70tAiwXixaepaeupElQU+Llp6lp25kSdDToqVn6akbWRL0tGjpWd+e+hnlTpR848k1cNz+TnPnzpUrr7wy62xL7W6ouIuaz/G+C5fj5bNK3R9Dz+5tnvpji6x8/o0oUNmjQn7wlSFyUU2vnAtAT9anRYD1YtHSs/TUjSwJelq09Cw9dSNLgp4WLT1LT93IkqCnRUvP0lM3siR8e1rOLVu25BtPqTt9ckGU8BZWcdcXPt534XI8eGmgID2zM+1p+UC+98td4u56cq+pl58nky7t+iUEnY+mJ1R2cIieMBUUpCfEBIfoCVNBQXpCTHCInjAVFKQnxASH6AlTQUF6QkxwiJ4wlZdgyTee3H5I2ot3PGlC/PpxXciW4A86m5eWzuZ5x6q/yIF3W7VDu32/38d7ygNTPpH1fa5f3qz0TJaOnvSMLcCfZ7EJO3wAPelpEWC9WLT0LD11I0uCnhYtPRu6py6QO1Hyjae4ADy+XSD0C4XzS7bSi8Fz2sOvxJ7U8lsu4V/sYyvqH1AM9aKfZf4Jzi9/u2xH0pOeFgHWi0VLz9JTN7Ik6GnR0rP01I0sCXpatPRs6J66ABtPcY3K4vjQLxTOL9kyLgbPmT97VY4ea/+WunxevU+vlIe+eTEbT/ngGY8phnoxnrIpzvmZuNQwPVUiU4CeJi41TE+VyBSgp4lLDdNTJTIF6GniUsP0VIlMAd+eppPLEi75O55aWlrktttuk/Xr18uhQ4eyenCPJ71MfBcux9PXxJKgZ7tW6/E2aXx2v7yw650031V1fWXWFwZYOHkHoElLD7M+dSNLgp4WLT1LT93IkqCnRUvP0lM3siToadHSs/TUjSwJelq09Cw9dSOfiZJvPM2ePVtWrVolU6ZMidwaGxtl8eLFcvjwYVm4cKGsXLky/Z5P2FIbixdmsitGT/+eH7SekB+t2yuvvv5eevBrhlXJP33+/Ojb7Cwvrp9FS8/SUzeyJOhp0dKz9NSNLAl6WrT0LD11I0uCnhYtPUtP3ciSoKdFS8/SUzfymSj5xpP7VrtUc8ltND5mzBhJ3eGUaka5xhRfuQV4YSZbIfT063n4/Y/k/mf+Kk1vvp8eeOLwapl2xfl5nQjXLy+2bg+iJz0tAqwXi5aepaduZEnQ06KlZ+mpG1kS9LRo6Vl66kaWBD0tWnrWt6d+RrkTQTSeNm/eLO6b6zo3njr/c1yskI/3XbgcL9lqKmdP13Ra8NQeee3tY2lU13Byjad8X+Xsma9ZruPomawqPelpEWC9WLT0LD11I0uCnhYtPUtP3ciSoKdFS8/SUzeyJHx7Ws4tW7bkG091dXVy7733Ro/Tuf2e+vXrJ0899ZRcf/310SN4U6dOTd8BFRcr5ON9Fy7HS7aaytXTNZsWPb1XDh5tjUDdI3Xu0Tr3iF2cV7l6xjFj42lFofi6fC7rM1lqetLTIsB6sWjpWXrqRpYEPS1aepaeupElQU+Llp717amfUe5EyTeeGhoa5MUXX5S1a9dGM504caK88MILMmrUqOj/jx8/PmpA8ZVbwHfhcrxkK7IcPfe0fCBL1u4Vd8dTqul029UDZNSQs2LjlqNnbLQcH0DPZHXpSU+LAOvFoqVn6akbWRL0tGjpWXrqRpYEPS1aepaeupEl4dvTcm7ZsiXfeHJ3OT3yyCNSX18fzS/1LXfbtm2TkSNHyk9+8hOpqamJ6xT88b4Ll+MlW1Ll5uk2EHcbibsNxd2rV88ecscXL5ThA3onAltunomgsfFUaMb057M+k6WmJz0tAqwXi5aepaduZEnQ06KlZ+mpG1kS9LRo6VnfnvoZ5U6UfOMpLgCPbxfwXbgcL9nKKyfPF/cckcZn96ebTmeeVil3jr9QLj7/zMRQy8kzMTQ2nnxQ8ud1AZR5vSeLSk96WgRYLxYtPUtP3ciSoKdFS8/SUzeyJHx7Ws4tW5aNp7iCgRzvu3A5XrKFUy6eL+x6R36ycb8cP9EWAfY942PSMOki6X/26YmClotnomhsPPni5H8oSFia13uyoPSkp0WA9WLR0rP01I0sCXpatPQsPXUjS8K3p+Xcgmg8VVRUmOfc1tb+l1S+uhfwXbgcL9lqLAfPf7r7X2X5719Pw7lm0x1fHJh408kNUA6eK1ZwM+ykrkLWS1KS7Z9DT3paBFgvFi09S0/dyJKgp0VLz9JTN7Ik6GnR0rOhe+oCuRMld8fTkiVLzHNO7f9kPrCMDgj9QuH8ki1m35433d0oFbV/36Hp5O50cnc8FeLle34cL9lVpCc9LQKsF4uWnqWnbmRJ0NOipWfpqRtZEvS0aOlZeupGlgQ9LVqFz5Zc46nwJOU5Ai/MZNednsl5uruc1m4/mP5At5eT29PJ7e1UqBfXL1lZetLTIsB6sWjpWXrqRpYEPS1aepaeupElQU+Llp6lp25kSdDToqVnfXvqZ5Q7UdKNp+bmZnnttddk2LBh/Oa6mJXgu3A5XswF63R4iJ5uH6dlm16T55oOp2frvrXOfXud+xa7Qr5C9Mz04vySrR560tMiwHqxaOlZeupGlgQ9LVp6lp66kSVBT4uWnqWnbmRJhO5psciWLcnGU0tLi9x0002ybt269JzuvvtuWbBgQVyPsj0+9AuF80u2tAvt2Xq8LfrmOreZeOo1ashZctvVA6Syh32fN+vsCz2/zufD8awrlDtPT3paBFgvFi09S0/dyJKgp0VLz9JTN7Ik6GnR0rP01I0sCXpatAqfLcnGk9vnac6cOTJr1iwZPHiwbNiwIWpCrVy5UqZMmVJ4tQBH4IWZ7KLSM3/PD1pPyI/W7ZVXX38v/SFt+1+U/7hnmpemkxuU65f/+mU7kp70tAiwXixaepaeupElQU+Llp6lp25kSdDToqVn6akbWRL0tGjpWd+e+hnlTpRk46murk4mT57c4Q4n13DauXOnbN26Na5JWR7vu3A5XrJlForn4fc/kvuf+as0vfl+Gmji8GpZ8+B3hN/CllzNhFIv3YlwfsnVChuxyVrSk55WAf48s4rlztOTnhYB1otFS8/SUzeyJHx7Ws4tW7YkG08VFRWyefNmGT16dHpOW7ZskTFjxkhbW1tck7I83nfhcrxkyywET9d0WvDUHnnt7WNpnGlXnC+u8RTC/HKtOOfH68EiwHqxaOlZeupGlgQ9LVp6lp66kSVBT4uWnqWnbmRJ0NOipWfpqRv5TLDx5FO7iMfihZns4tDT5umaTYue3isHj7ZGB7p9nP7p8+fLNcOqon+mp81TS9NTE7K9T0+bl5ampyZke5+eNi8tTU9NyPY+PW1eWpqempDtfXravLQ0PTUh2/u+PW1n1zVdso2n1P5OqSnt3r1bGhsbZfHixR1m2bdvX5k5c2Zcp+CP9124HC/Zkiplzz0tH8iStXvF3fGUajq5TcTdZuKpVynPD1lpzg9RwjP0xK2QJD0RJTxDT9wKSdITUcIz9MStkCQ9ESU8Q0/cCknSE1HCM6F74hLZkyXbeLJMnI/f6VqhXyicn14DlkRSnm4DcbeRuNtQ3L169ewhd3zxQhk+oHeH00lqPHSOHA+VwnL0xJzQFD1RKSxHT8wJTdETlcJy9MSc0BQ9USksR0/MCU3RE5XCcvTEnHylSrLx1NzcLK+99hpk1KdPHxkxYgSULecQL8xkV5+euueLe45I47P7002nM0+rlDvHXygXn39ml4PpqXtaEvS0aOlZeupGlgQ9LVp6lp66kSVBT4uWnqWnbmRJ0NOipWfpqRtZEvS0aOlZ3576GeVOlGTjKe6keXxXAd+Fy/GSrcJS83xh1zvyk4375fiJ9i8D6HvGx6Rh0kXS/+zTs8KU2vysq8v5WcVy5+lJT4sA68WipWfpqRtZEvS0aOlZeupGlgQ9LVp6lp66kSVBT4tW4bNsPBXeuCRG4IWZ7DLRs3vPtdsPyvLfv54OuGbTHV8c2G3TyQXpyfq0CLBeLFp6lp66kSVBT4uWnqWnbmRJ0NOipWfpqRtZEvS0aOlZeupGlkTonhaLbFk2nuIKBnJ86BcK55dsoWbzvGPVX+TAu+3fSpfPq9/He8oDUz6R9VCuXz6i3R9DT3paBFgvFi09S0/dyJKgp0VLz9JTN7Ik6GnR0rP01I0sCXpatPRs6J66QO4EG09xBQM5PvQLhfNLtlCzeU57+JXYgyy/5RI2nmIr6h/A60E3siToadHSs/TUjSwJelq09Cw9dSNLgp4WLT1LT93IkqCnRUvP0lM3siR8e1rOLVuWjae4goEc77twOV6yhVMMnjN/9qocPXY874n1Pr1SHvrmxWw85S2IH1gM9YKfrT3J+dnNch1BT3paBFgvFi09S0/dyJKgp0VLz9JTN7Ik6GnR0rP01I18JoJpPLlvunvhhRdk7969Mnz4cLn88sulpqbGp2VJj8ULM9nlK3fP9z48Lm4vpzV/bEl/a11K+PNDz5Jb/36AVPaogNHL3ROGAoP0BKHAGD1BKDBGTxAKjNEThAJj9AShwBg9QSgwRk8QCozRE4QCY/QEocCYb0/wtLqNBdF4mj17tjQ2NnaZ5OLFi6W+vj6uUVkc77twOV6yZVUsnq3H2+S3Ow7Jr18+IIff/6jDJC+q6SVTR50nwwf0Nk++WOZnPnHwAM4PhAJj9AShwBg9QSgwRk8QCozRE4QCY/QEocAYPUEoMEZPEAqM0ROEAmOhe4IM4TaelixZInPmzJFZs2ZF33yVeq1YsSJqRq1cuVKmTJkS1yn440O/UDi/ZEs4m+em/3pbfvnSAXnjnQ87DHbeWafJP3zmHLmqrm/eJ8H1y5su64H0pKdFgPVi0dKz9NSNLAl6WrT0LD11I0uCnhYtPUtP3ciSoKdFS8+G7qkL5E6U/B1PdXV1MmPGjKx3NjU0NMj69etl69atcZ2CPz70C4XzS7aEMz3/sPeIPP7iW7Kn5YMOg/Q942Nyw2X9ZNzfVZkeq8t2ply/wq1fsp+c/dO4fskq05OeFgHWi0VLz9JTN7Ik6GnR0rP01I0sCXpatPQsPXUjS8K3p+XcsmVLvvFUUVEhmzdvltGjR3eZ35YtW2TMmDHS1tYW16mgx0+cOFHWrVvXYR6rVq2SqVOnpsfduXOn1NbWitvLaujQodGfd36U0DXhHn300awW2gR8Fy7H01bE9v6p8PzBA4/I6q1vyo6/He1wsmeeVikTh1fL9ZfWSK+ePWwT6SZ9Kubn7pr09eL8kpWmJz0tAqwXi5aepaduZEnQ06KlZ+mpG1kS9LRo6Vl66kaWBD0tWoXPlnzjqbq6WpYuXZr1cbo1a9bIpEmTirrx5BpMrlmU2XhKNcxSzSb3OOGyZcukqalJ3H5WY8eOjebrmm6pppr788GDB+e9pxUvzGQvtpA9X3v7mHy3cY1UnNPxG+h6VlbINcOq5CufPkf69KpMFDRkTwfF+SVaLvRMlpOe9DQJ8OeZiUsN01MlMgXoaeJSw/RUiUwBepq41DA9VSKvgZJvPLmGi3uUbvXq1dEdQTtEjRsAACAASURBVKmXuzNo8uTJ0d1BrrlTrC93l5J7HNCdZ+rOLddo2r17d9RQS71Sd3bde++9Mm/evOiuJnesa0almldr167Ne5q8MPOmy3pgiJ5us3B3h9NzTYfl+ImTdxG6b6dz+zd95dP9xO3nVIhXiJ6ZTpxfslVDT3paBFgvFi09S0/dyJKgp0VLz9JTN7Ik6GnR0rP01I0sCXpatAqfLfnGk2swjRw5Ug4dOiQTJkxIi7k7iKqqqmTjxo0yYsSIwkvmMUJmgynzkUH36N24ceM63L3kmkyu6bRp06Yudzxl3vmUx2lEh/DCzFcu+3Eheb734XH55R8OyPpXDor71rrM12WD+siNnz1H3DfWFfIVkmc2J84v2eqhJz0tAqwXi5aepaduZEnQ06KlZ+mpG1kS9LRo6Vl66kaWBD0tWoXPlnzjyRG1tLTIfffdF905tG3btujuofHjx8vMmTOLtumU2qsp9agc2ngaNWpUeo8n94197jE9dwfU9OnTxT2a577dL/NOKbSEeGGiUlguBE/XZFq7vUV+/XKLuOZTh9fhv0rDN0bLsAt6YyAxUyF45iLg/GIWSKfD6UlPiwDrxaKlZ+mpG1kS9LRo6Vl66kaWBD0tWnqWnrqRJUFPi1bhs0E0ngrPlPwImXs1uU9HG09ub6fUy90xlfmqr6+PHr9zDbjMxw6Rs3cXJl8UiAQqekjFBSNEhvy9VJz+8Y4o77VI284N0vbWq8SiAAUoQAEKUIACFKAABShAgVMk4PPLkOJOkY2nuIJ5Hu8aRO4Opc4v9011bn8n9+q8x1Nqs3H3ntuA3D165/Z1ymxiucf0UntAWU6NHWGLlp4tVc8X9xyRFc+/IW+882GHSVb37hk9Uuf2cnJ7OpXq/PSVa09wfqgUlqMn5oSm6IlKYTl6Yk5oip6oFJajJ+aEpuiJSmE5emJOaIqeqBSWoyfm5CtVco0nd2eQ9ZV6nM16nM985h1Pub7VLnVOLp/5rXfuz+Pe8eSzY8ofBMlWV1zPHX87Kiuef1N2HXi/w4mdeVqlfOWyfjL+kmpx31qXesUdzzp7jmcVy52nJz0tAqwXi5aepaduZEnQ06KlZ+mpG1kS9LRo6Vl66kaWBD0tWno2dE9dIHei5BpPnR8vO3z4sCxcuDDaWNxtyJ16PfbYY9H/vP/++6NvgCv2V2bjyZ2rm+ecOXPSp53ZPHN3Nbk9nTIfu0s15LjHU/aVDv0HQbb53bHqL3Lg3da8S//M03rIA1M+Ia751PlVjp55QwIH0hNAMkToacACovQEkAwRehqwgCg9ASRDhJ4GLCBKTwDJEKGnAQuI0hNAMkRC9zRQZI2WXOOp8ywaGhqiPY22bt3a4S234bhr0Hz961/v8O1wccFCPT70C6Uc5zft4Vdil+vyWy7J+hnl6BkbM8cH0DNZXXrS0yLAerFo6Vl66kaWBD0tWnqWnrqRJUFPi5aepaduZEnQ06JV+GzJN56qq6tl+fLlcv3113fRWrNmjUybNk0OHjxYeMkSH4EXZrILWAyeM3/2qhw91unb6AzT7H16pTz0zYvZeDKY5RsthnrJ99yR4zg/RAnP0BO3QpL0RJTwDD1xKyRJT0QJz9ATt0KS9ESU8Aw9cSskSU9EyV+m5BtP7hGzlStXdnjsLMXnGk+TJk2SUtjjyd+SZx+JF2ayK1DMnvsOHZPv/2qXfNB6Ipr0xeefKdOuOE+G9DsDRijm+cGTyBHk/JJQPPkZ9KSnRYD1YtHSs/TUjSwJelq09Cw9dSNLgp4WLT1LT93IkqCnRUvP+vbUzyh3ouQbT26fI/eonfsGuGuvvVZqamqiGafudho1alT0zW985RbwXbgcL9mKRD3f+/C43PPkrvS31rlm0/f+z8EdNg5HzgwdD/ksJMPxECU8Q0/cCknSE1HCM/TErZAkPRElPENP3ApJ0hNRwjP0xK2QJD0RJTxDT9wKSfr2RM4pV6bkG0+pvZy2bdvWZZ5VVVWyceNGGTFiRFyn4I/3XbgcL9mSQjyPn2iTH6//q/zvfe9Gg/c942My/4YhUt27p/lkkPHMH5rjAI6XpKYIPelpEWC9WLT0LD11I0uCnhYtPUtP3ciSoKdFS8/SUzeyJOhp0dKzoXvqArkTJd94Sk3P3eG0ffv29GwHDRrU4Q6ouFChHx/6hcL5iTz+4pvy5B8ORKVc2aNC5l43SIZd0Duv0qZnXmzdHkRPeloEWC8WLT1LT93IkqCnRUvP0lM3siToadHSs/TUjSwJelq09Cw9dSOfiWAaTz7RQhyLF2ayq1psni/sekce/O2+9CS/deX5cu0l1XlPutjml/dEujmQ80tWlJ70tAiwXixaepaeupElQU+Llp6lp25kSdDToqVn6akbWRL0tGjpWd+e+hnlTrDxFFcwkON9Fy7HS7Zwcnl23kx87CfPlhlj+8c6Aa5fLL4uB9OTnhYB1otFS8/SUzeyJOhp0dKz9NSNLAl6WrT0LD11I0uCnhYtPUtP3chngo0nn9pFPBYvzGQXp1g8k9pMvLNOscwv2VU7+WmcX7Ky9KSnRYD1YtHSs/TUjSwJelq09Cw9dSNLgp4WLT1LT93IkqCnRUvP+vbUzyh3go2nuIKBHO+7cDlesoWTzTPJzcTZeEp2vehJzzgC/PkZR6/rsfSkp0WA9WLR0rP01I0sCXpatPQsPXUjS4KeFi0969tTPyM2nuIalcXxvguX4yVbVtk8k9xMnI2SZNeLnvSMI8Cfn3H02HhKVo+e9IwnwJ9n8fz4+0SyfvSkZxyB0H+exbFxxwZzx1Nzc7O88MILsnfvXhk+fLhcfvnlUlNTE9enbI4P/UIpt/klvZk4/0Vc2B8F5VafhdUUoWeywvSkp0WA9WLR0rP01I0sCXpatPQsPXUjS4KeFi09S0/dyGciiMbT7NmzpbGxsYvb4sWLpb6+3qdnyY7FCzPZpTuVnoXYTJyNp2Trg570jCNwKn++xDlv9FjOD5XCcvTEnNAUPVEpLEdPzAlN0ROVwnL0xJzQFD1RKSzn2xM7q+5TJd94WrJkicyZM0dmzZoV/Vfu1GvFihVRM2rlypUyZcqUuE7BH++7cDlesiWV8izUZuJslCS7XvSkZxwB/vyMo9f1WHrS0yLAerFo6Vl66kaWBD0tWnqWnrqRJUFPi5ae9e2pn1HuRMk3nurq6mTGjBlZ72xqaGiQ9evXy9atW+M6BX+878LleMmWlPP82fKfy4/X/1X+9753ow/ve8bHZP4NQ6S6d89kBxM+ypQ0KK+HZEXpSU+LAOvFoqVn6akbWRL0tGjpWXrqRpYEPS1aepaeupElQU+LVuGzJd94qqiokM2bN8vo0aO7aG3ZskXGjBkjbW1thZcs8RF4YSa7gKfC8x/ufECe/MOBaCKVPSpk7nWDZNgFvZOd2H9/2qmYn7uL0deL80tWmp70tAiwXixaepaeupElQU+Llp6lp25kSdDToqVn6akbWRL0tGjpWd+e+hnlTpR846m6ulqWLl2a9XG6NWvWyKRJk9h4AqrEd+FyPGBRDJGb7pgvFcO/lj7iW1eeL9deUm34BFuU62fz0tL01IRs79PT5qWl6akJ2d6np81LS9NTE7K9T0+bl5ampyZke5+eNi8tTU9NyPZ+6J42ja7pkm88uY3F3aN0q1evltra2vQM3bfcTZ48WYYOHSqrVq2K6xT88aFfKCHPz20mPvc/d4hUnhbV6dhPni0zxvYvaM2G7OngOL9ky4ee9LQIsF4sWnqWnrqRJUFPi5aepaduZEnQ06KlZ+mpG1kS9LRo6VnfnvoZ5U6UfOPJNZhGjhwphw4dkgkTJqRnu27dOqmqqpKNGzfKiBEj4joFf7zvwuV4yZSUr83EO58t1y+Z9Ut9Cj3paRFgvVi09Cw9dSNLgp4WLT1LT93IkqCnRUvP0lM3siToadHSs/TUjXwmSr7x5LBaWlrkvvvuizYS37ZtW3SX0/jx42XmzJlsOoHVxAsThAJjPjyPn2jztpk4G0/gwucZ81EvmafG8fJcqG4Ooyc9LQKsF4uWnqWnbmRJ0NOipWfpqRtZEvS0aOlZeupGlkTonhaLbNkgGk9xEXg8Hy1KugZ8/OB5/MU305uJS9sJafjSkIJtJs7GU9IV0vHzfNQLG0+FW0OuX7K29KSnRYD1YtHSs/TUjSwJelq09Cw9dSNLgp4WLT0buqcukDsRTOPp5ZdfliNHjmSdbbZvvIsLF9rxoV8ooc3vhV3vyIO/3Zcuw7b/Wis/X/Idb2UZmicba4UtHdZLsr70pKdFgPVi0dKz9NSNLAl6WrT0LD11I0uCnhYtPUtP3ciS8O1pObds2ZJqPLnm0pw5c+Tss8+Wu+66K3qMzv3Z1VdfHe3x1N2rra0trlPwx/suXI6Xf0m5zcS//6td8kHriehD3Gbiz/70/5EVK1bk/6HGI7l+RjAlTk96WgRYLxYtPUtP3ciSoKdFS8/SUzeyJOhp0dKz9NSNLAl6WrT0LD11I5+Jkmo8ub2cduzYIU8//bQ0NjbKwYMHZeLEidEeT3feeaccPnxYbr31Vtm8ebO88847MmnSpOh/844nvaR4YepGlkShPLvbTPxb37yJjSfLArERxHphvcAChfp51t0JcDx4aaAgPSEmOERPmAoK0hNigkP0hKmgID0hJjhET5gKCvr2hE4qR6ikGk+pecyePTvaSLypqUkqKirkqaeekuuvv162bNkiY8aMkdQdTkuWLJHHHntMtm7dGtcp+ON9Fy7Hs5dUrs3E6Wn3zHUEPelpEWC9WLT0LD11I0uCnhYtPUtP3ciSoKdFS8/SUzeyJOhp0dKz9NSNLAnfnpZzy5YtucbT5z73uWgeq1evltra2qjxlLqrKdV4OnDggNTU1HRpRMXFCvl434XL8ezVlLmZeGWPCpl73aD0ZuL0tHuy8cRHM5OqGl5/SUm2fw496WkRYL1YtPQsPXUjS4KeFi09S0/dyJKgp0VLz4buqQvkTpRU4ynVWNq5c2fUdHIv14i65ZZbZObMmdE/u0bUT3/60+if3R1PixYtih7J4yu3QOgXSqnPr/Nm4t+68ny59pLq9KKW+vy065Pz04Rs79PT5qWl6akJ2d6np81LS9NTE7K9T0+bl5ampyZke5+eNi8tTU9NyPY+PW1eWtq3p3Y+2vsl1Xhyezm5PZ1c42nUqFGydu1aeeihh+RHP/pR9NidezU0NMjChQvT87777rtlwYIFmkPZv++7cDkeXnLZNhOfMbZ/hw+gJ+6JJOmJKOEZeuJWSJKeiBKeoSduhSTpiSjhGXriVkiSnogSnqEnboUk6Yko4Rl64lY+kiXVeEqBuG+yO3LkSHrTcHcnVOYG4q4Z5TLuW+9Sd0L5wCzlMXhhJrt6SXl2t5l4z8oKNp6SXTJ60jNvgaSud/QEOB4qheXoiTmhKXqiUliOnpgTmqInKoXl6Ik5oSl6olJYjp6Yk69USTaeOuM0NzenH73LfC/VfPKFWcrj8MJMdvWS8My1mXjns01iPIsAx7No6Vl66kaWBD0tWnqWnrqRJUFPi5aepaduZEnQ06KlZ+mpG1kS9LRo6Vl66kaWROieFots2ZJvPLl9nJYtW5Z+1C5zknV1dTJjxgypr6+P6xT88aFfKKU4v1ybibPxVNhLshTrxSLC+Vm09Cw9dSNLgp4WLT1LT93IkqCnRUvP0lM3siToadHSs/TUjSwJelq09KxvT/2McidKvvHkmkv33nuvTJkypctMV61aJfPmzZPnn39eHn/8cbn22muz3hkVFzGE430XLsfLXTXaZuJsPBX2qmN9JutLT3paBFgvFi09S0/dyJKgp0VLz9JTN7Ik6GnR0rP01I0sCXpatPSsb0/9jAJvPLlvsdu8eXOHPZ5SU059C15VVZUcOnRIhg4dmvXOqLiIIRzvu3A5XvdVg2wmzsZTYa861meyvvSkp0WA9WLR0rP01I0sCXpatPQsPXUjS4KeFi09S0/dyJKgp0VLz/r21M8o8MZTrsfp3GN4ixYtkl/96leRwpgxY6StrS2uWZDH+y5cjpe9jNDNxNl4KuxlyPpM1pee9LQIsF4sWnqWnrqRJUFPi5aepaduZEnQ06KlZ+mpG1kS9LRo6VnfnvoZBd54cs2lOXPmyN133y3XXXdderZPP/20LFy4UGbNmiVLly4Vd/fT9OnTecdTN/Xgu3DLcbw7Vv1FDrzbmvc12+/jPeWBKZ/Ienw5euYNCRxITwDJEKGnAQuI0hNAMkToacACovQEkAwRehqwgCg9ASRDhJ4GLCBKTwDJEKGnActDtOT3eHJGDQ0NUZOp82vChAny85//XGpqajxQ2oeYOHGirFu3Ljqw82OAbn+qqVOnpj90586d0f5U7hv8XNa9Fi9e3GHjdHf316OPPpr1sUPt7HhhakK297N5Tnv4FduHZEkvv+WSrJ/B9YtN2+ED6ElPiwDrxaKlZ+mpG1kS9LRo6Vl66kaWBD0tWnqWnrqRJUFPi5aepaduZEn49rScW7ZsEI0nNzHXkPnzn/8s27dvl0GDBsmwYcNkxIgRcX0Kdry7A2vFihXR3VjulfnIYGpvqlSzKfOb+2bPni1jx46NNlN3+1ulHh10fz548OC8v8HPd+GW43gzf/aqHD12PO+a6n16pTz0zYvZeMpbED+wHOsT17En6Wk3y3UEPelpEWC9WLT0LD11I0uCnhYtPUtP3ciSoKdFS8/SUzeyJHx7Ws4t6MZTXIhTfbxrHLmXa0S5RtPu3bvTTSn356lN1N03+Llv6hs9enTUrGpqahJ3d5S702nt2rV5T8N34XK89qXadeB9efC3++StIycfwZs4vFqmXXG+aS3paeJSw/RUiUwBepq41DA9VSJTgJ4mLjVMT5XIFKCniUsN01MlMgXoaeJSw/RUiUwBepq4Ch4u+TueXJNGe9XX12uRU/5+5rfzuUfwxo0b1+UxOtd02rRpU5c7njLvfMp3Irww85XLfhziuem/3pZ/e+5v0nq8fcP7yh4VMu2K8+TaS6rNJ4OMZ/7QHAdwvCQ1RehJT4sA68WipWfpqRtZEvS0aOlZeupGlgQ9LVp6lp66kSVBT4uWnqWnbuQzUfKNJ9d06e5VVVUlo0aNinUnUCEXw93l1NjYGA2RuV9TrsaTm09qj6eVK1dGdzq5O6Dcxunu0bzUZurW8+aFaRXLnc/lefxEW9RwevbVt9Mf0veMj8m/XHuh1J17Rl4nwvXLi63bg+hJT4sA68WipWfpqRtZEvS0aOlZeupGlgQ9LVp6lp66kSVBT4uWnqWnbmRJ+Pa0nFu2bMk3nroDSO2T9NJLLxX1Xk+p83fNJvdyj8vlajy5vZ1Sr853e7k7u9zjd+vXr482Ire8XOHy5UHg9D5Scek/SsVZF6QHazu0R+SVJ6Tt2LseToBDUIACFKAABShAAQpQgAIUoECpC7g9o0vlFWzjyS2Aa8xs2LChaO94yiySVKPMbRaeud9TKuPu7EptNu7+zOXdo3euUZW54bhrWqX2gLIUoe+OaTmOt33/UWl8dr8cfv+j9NK4/ZymjjoveswuzqscPeN4acfSUxOyvU9Pm5eWpqcmZHufnjYvLU1PTcj2Pj1tXlqanpqQ7X162ry0ND01Idv79LR5FToddOMps5lTaEjr57ummPv2vdQdTK555L6ZzzWScn2rXbZGVOrOp7h3PPnsmJbbD4Kn/tgi/7n1TXGP2blXr5495NtXXSBX1fW1lk7WfLl5JoKW40PomawwPelpEWC9WLT0LD11I0uCnhYtPUtP3ciSoKdFS8/SUzeyJOhp0dKzvj31M8qdCLbx1NLSIrfddlv02NnBgwfjOiV+vGsypfZqch/u/rf7hrrUyzWT5syZk/5ndydU6uXuanJ7OmU+dpfa64p7PGVfKt8XZmq8D1pPyLJNr8kLu95Jn9h5Z50W7ec0sOr0xOrqVM0vsQkoH8T5JStNT3paBFgvFi09S0/dyJKgp0VLz9JTN7Ik6GnR0rP01I0sCXpatPRs6J66QOCNp+rqajl06FC3s3QbcGc2aOKChXp86BfKqZjf/7f03+TB3+6TfYeOpcvmskF9ZNYX+suZp1UmWkqnYn68Qy65JeT6JWfpPome9LQIsF4sWnqWnrqRJUFPi5aepaduZEnQ06KlZ+mpG1kS9LRoFT5b8nc8uabS22+f/HYwR/bZz35W+vbtK1deeaWMHj268IoBjMALM9lFvOn//n/ljM9MFnfHk3u5PZy+8ul+8g+fOSfZgf7707h+ybLSk54WAdaLRUvP0lM3siToadHSs/TUjSwJelq09Cw9dSNLgp4WLT1LT93IkvDtaTm3bNmSbzzFBeDx7QK+CzfU8dweTk/84S158g8H0qXl7m7653ED5P8Y+PGClVuonikwzi/Z0qEnPS0CrBeLlp6lp25kSdDToqVn6akbWRL0tGjpWXrqRpYEPS1aejZ0T10gd6LkG09uL6dnnnlGrr32WqmpqUnP1v35I488IjfffHOHP48LFurxoV8oPuZ35IPj8pON+8R9e13qdVFNL7njixfKOX16FrR0fMwvcwIcL9nlpCc9LQKsF4uWnqWnbmRJ0NOipWfpqRtZEvS0aOlZeupGlgQ9LVp6lp66kc9EyTee3LfBuQ3En3/++S4Nps997nPi/m/p0qU+TUtyLF6Y8ZZt14H3o/2c3jrSmv6gsZ88W/7p8+dH32BX6BfXL1lhetLTIsB6sWjpWXrqRpYEPS1aepaeupElQU+Llp6lp25kSdDToqVn6akbWRK+PS3nli1b8o0nt7m4ayxl20B81apV4hpTxfitdnEXLunjfRduSONt+q+35d+e+5u0Hm//5kG3n9NHf35afr7kO0kvU7efF5JntklyfsmWEj3paRFgvVi09Cw9dSNLgp4WLT1LT93IkqCnRUvP0lM3siToadHSs6F76gK5EyXfeKqoqJDNmzdn3UR8y5YtMmbMGGlra28I8NW9QOgXSiHm5/Zzcg2nZ189ubl93zM+Jv9y7YXyvTtuFn7rW3JXXCHWL9fZcbzk1s59Ej3paRFgvVi09Cw9dSNLgp4WLT1LT93IkqCnRUvP0lM3siToadHSs7499TMKvPHkHqUbOnSouLubOr/cXVDbtm2TpqamuE7BH++7cEt9vINHW+X+Z/aJe8Qu9Rp2Qe9oE3HXfCr1+WkFz/lpQrb36Wnz0tL01IRs79PT5qWl6akJ2d6np81LS9NTE7K9T0+bl5ampyZke5+eNi8tHbqnNn/t/ZK/42nNmjUyadIkGTlypHz9619Pz/exxx6Lmk6LFy+W+vp6zaHs3w/9Qklyfm7z8MZn98vh9z9K183E4dUyddR50WN27pXkeEhxcjxECc/QE7dCkvRElPAMPXErJElPRAnP0BO3QpL0RJTwDD1xKyRJT0QJz9ATt0KS9ESU/GVKvvHkqFzz6fbbb5edO3em5aqqqmTu3LlsOoG1xAsTg3rqjy3yn1vfFPeYnXu5jcO/fdUFclVd3w4fQE/ME03RE5XCcvTEnNAUPVEpLEdPzAlN0ROVwnL0xJzQFD1RKSxHT8wJTdETlcJy9MSc0JRvT/S8ussF0XhKTa6lpUV27Ngh/fv3l9ra2rg2ZXW878IttfE+aD0hyza9Ji/seiddF+eddVq0n9PAqtO71Eqpzc9a7JyfVSx3np70tAiwXixaepaeupElQU+Llp6lp25kSdDToqVn6akbWRL0tGjpWXrqRj4TwTSempub5bXXXpM+ffrIiBEjfBoGMRYvzO6X8bW3j8mDv90n+w4dS4cuG9RHZn2hv5x5WmXWA+mZ7GVBT3paBFgvFi09S0/dyJKgp0VLz9JTN7Ik6GnR0rP01I0sCXpatPQsPXUjSyJ0T4tFtmzJN57cXU733HOPNDY2pufnvsXONaLcvk8bN25kIwqoktAvlGzzu2PVX+TAu62ATvZIv4/3lAemfIKNp7wF8QPLsT5xHXuSnnazXEfQk54WAdaLRUvP0lM3siToadHSs/TUjSwJelq09Cw9dSNLInRPi0WQjaeGhoao6eT2c+rbt6/ceuut4hpP7jV79mw5ePBg1m+8iwsX2vGhXyjZ5jft4VdiL+PyWy5h4ym2ov4B5Vifukr+CXrmb5ftSHrS0yLAerFo6Vl66kaWBD0tWnqWnrqRJUFPi5aepaduZEmE7mmxCLLxVF1dLUuXLpUpU6bIli1bZMyYMenGk/vnL3/5y1Hzia/cAqFfKNnmN/Nnr8rRY8fzLo3ep1fKQ9+8mI2nvAXxA8uxPnEde5KedrNcR9CTnhYB1otFS8/SUzeyJOhp0dKz9NSNLAl6WrT0LD11I0sidE+LRZCNp4qKCtm8ebOMHj06a+MpsxEVFyvk40O/UCzze+/D4zL3F81y8Gj7Y3huP6fbrh4QfYMd+rKMh34m/+K7Igkq6DO4fhATHKInTAUF6QkxwSF6wlRQkJ4QExyiJ0wFBekJMcEhesJUUJCeEBMcoidM5SVY8ns81dXVyYwZM6S+vr5L48k9hrd69WppamryglnKg/DCPLl6biPx1LfXVffuKYu+VtvtJuLdrTk9k70a6ElPiwDrxaKlZ+mpG1kS9LRo6Vl66kaWBD0tWnqWnrqRJUFPi5aepaduZEmE7mmxyJYt+cbTkiVLZM6cOXL33XfLoEGDoj2e3B1Qv/vd76I/X7x4cdSU4iu3QOgXCjq/55oOS+Oz+9NYc6+7SIYP6G0uH3Q88wd3cwDHS0qy/XPoSU+LAOvFoqVn6akbWRL0tGjpWXrqRpYEPS1aepaeupElQU+Llp6lp25kSfj2tJxbkI0nN6lU86nzBF0zasGCBXGNyuJ434VbjOO9daRVGp5oFveonXtNHF4t0644P6/1L8b55TWRbg7i/JLUZKMrWU160tMmwJ9nNi8tTU9NyPY+PW1eWpqerGNyMAAAIABJREFUmpDtfXravLQ0PTUh2/v0tHkVOl3ydzylgFpaWmTHjh3RnU5XXnml9O/fX2prawvtF8znl/uFefxEmyx6eq/s+NvRaE0HVp0u82+olZ6VFXmtcbl75oWW4yB6JitKT3paBFgvFi09S0/dyJKgp0VLz9JTN7Ik6GnR0rP01I0sCXpatPRs6J66QO5EyTee3D5O3/nOd6SmpqbLTJubm6NH8FatWhXXKfjjQ79QtPk99ccWWfn8G9E6V/aokB98ZYhcVNMr73XXxsv7g7s5kOMlK0pPeloEWC8WLT1LT93IkqCnRUvP0lM3siToadHSs/TUjSwJelq09Cw9dSNLwren5dyyZUu+8VRdXR3Na/ny5XL99den55h6/K6qqkoOHjwY1yn4430XbjGNt6flA/neL3eJu+vJvaZefp5MurRrI9NSBMU0P8t5o1nOD5XCcvTEnNAUPVEpLEdPzAlN0ROVwnL0xJzQFD1RKSxHT8wJTdETlcJy9MSc0FTonqhDd7mSbzy5R+xuu+226NvrJkyYILfffnv0fzt37pTJkyfLwoUL+cgdUCWhXyjdza/1eJvc82Sz7Dt0LFIadkFvmXvdoOiupzivcvWMY5brWHomK0tPeloEWC8WLT1LT93IkqCnRUvP0lM3siToadHSs/TUjSwJelq09GzonrpA7kTJN55S09uyZYt8+ctflkOHDsnQoUPl0UcfldGjR8f1KZvjQ79Qupvf8t+/Lmu3t98Rd+ZplbLgq7VyTp+esde9XD1jw3XzAfRMVpae9LQIsF4sWnqWnrqRJUFPi5aepaduZEnQ06KlZ+mpG1kS9LRo6dnQPXWBMmg8ubue7rnnHmlsbIxm6x6vW7p0qUyZMiWuT9kcH/qFkm1+2/cflUVP70mv8awvDJCr6vomsubl6JkIHBtPhWRMfzbrM1lmetLTIsB6sWjpWXrqRpYEPS1aepaeupElQU+Llp6lp25kSYTuabHIli35O54eeughueuuu6I7nRYvXiw333yz3HfffdEjdu7Ru3nz5vHOJ6BKQr9QOs/vvQ+Py9xfNMvBo62RzqghZ8nt1wwEpLBIuXliKvmn6Jm/XbYj6UlPiwDrxaKlZ+mpG1kS9LRo6Vl66kaWBD0tWnqWnrqRJUFPi5aeDd1TF8idKPnGU0VFRdRgcnc41dbWpmfrHr2bPn16tNdTW1v7ptF8dS8Q+oXSeX4P/nafvLDrnQikundPWfS12uhRu6Re5eaZlFt3n0PPZIXpSU+LAOvFoqVn6akbWRL0tGjpWXrqRpYEPS1aepaeupElQU+Llp4N3VMXyJ0o+cbTqlWrcj5S5+6ImjlzZlyn4I8P/ULJnN9zTYel8dn96TWde91FMnxA70TXuJw8E4Xr5sPomawyPelpEWC9WLT0LD11I0uCnhYtPUtP3ciSoKdFS8/SUzeyJOhp0dKzoXvqAgE2nl5++WUZMWKEOne399OOHTv4qJ0qJRL6hZKa31tHWqXhiWZxj9q518Th1TLtivMBIVukXDxtKvmn6Zm/XbYj6UlPiwDrxaKlZ+mpG1kS9LRo6Vl66kaWBD0tWnqWnrqRJUFPi5aeDd1TFwiw8eQer9u8eXO6odTc3CyPP/641NfXd5ite9xuzJgxfNQOqJLQLxQ3v58t/7ksenqv7Pjb0UhkYNXpMv+GWulZWQEI2SLl4LlixQobSow0PWPgZTmUnvS0CLBeLFp6lp66kSVBT4uWnqWnbmRJ0NOipWfpqRtZEvS0aOnZ0D11gTJoPHXXYGLjCS+P0C8UN7+b7vofsvL5NyKUyh4V8oOvDJGLanrhSIZkOXiy8WQoCCXKeknO0n0SPelpEWC9WLT0LD11I0uCnhYtPUtP3ciSoKdFS8/SUzeyJOhp0Sp8tiT3eOp8xxMbT/ELJfgLc8a/SM8rZsjxE+0bzU+9/DyZdGlNfLhuPiF4z298Q9h4Sq58WC/JWbLxlKwlPelpFeDPM6tY7jw96WkRYL1YtPQsPXUjS4KeFi0969tTP6PcCTae4goGcrzvwvU5XuvxNpn+P/6nVHz83Gi1hl3QW+ZeNyi666lQL2R+B7/3GdPw1T/4X93mkfFMgylhjpekJu/QSVaTnvS0CfDnmc1LS9NTE7K9T0+bl5ampyZke5+eNi8tTU9NyPY+PW1ehU6XbOPppz/9qXzqU5+KfP70pz/JrbfeGu37lPlK/XlbW/tdLnx1LxDyhbn896/L2u0Ho8mfeVqlLPhqrZzTp2dBywHxZOMJXwLEE/80PcnxdCNLgp4WLT1LT93IkqCnRUvP0lM3siToadHSs/TUjSwJelq09Cw9dSNLgp4WrcJnS7bxZKFh40nXCvXC3L7/qCx6ek8aYNYXBshVdX11kJgJxJONJxwZ8cQ/TU9yPN3IkqCnRUvP0lM3siToadHSs/TUjSwJelq09Cw9dSNLgp4WLT1LT93IkqCnRavw2ZJsPK1atUr27t0L6QwaNEimTJkCZX2HZs+eLY2NjdGwQ4cOlaampvQpuDlOnTo1/c87d+6U2tpacd/g57LutXjx4g7f5FdXVyePPvpo+tv+LPMJ8cJ878PjMvcXzXLwaGtEMWrIWXL7NQMtLHlnEU82nnBexBP/ND3J8XQjS4KeFi09S0/dyJKgp0VLz9JTN7Ik6GnR0rP01I0sCXpatPQsPXUjS4KeFq3CZ0uy8VR4lsKP4DZEd5szL126NBps4sSJUWPJ/XNqs/RUs2nJkiWybNmyqDHlmlVjx46Nmmluk/XU3VzuzwcPHtyhEWWZRYgX5oO/3Scv7HqnneHYEVn2f42MHrXz8UI82XjCVwLxxD9NT3I83ciSoKdFS8/SUzeyJOhp0dKz9NSNLAl6WrT0LD11I0uCnhYtPUtP3ciSoKdFq/BZNp4KbwyN4JpLGzZskLVr14r737t37043pdwHpL7J795775V58+ZFdzW5O5xcM8rdHeXudHLH5vsK7cJ8rumwND67P81x4g8/lxU/WZAvj/k4xJONJ5wV8cQ/TU9yPN3IkqCnRUvP0lM3siToadHSs/TUjSwJelq09Cw9dSNLgp4WLT1LT93IkqCnRavwWTaeCm8MjeDuWHIvd8eTu/tp3LhxXR6jc02nTZs2dbnjKfPOJ2iwLKGQLsy3jrRKwxPN4h61c6+Jw6tlzYPfie4w8/VCPNl4wlcD8cQ/TU9yPN3IkqCnRUvP0lM3siToadHSs/TUjSwJelq09Cw9dSNLgp4WLT1LT93IkqCnRavwWTaeCm+sjpDatyn1aF2uxtOoUaPSezytXLkyutPJ3QE1ffp0ccfPmjWrw51S6uD/HQjlwjx+ok0WPb1XdvztaDSzgVWny/wbauVb37yJjSe0GIBcKPXS3VQ5P6AIDBF6GrCAKD0BJEOEngYsIEpPAMkQoacBC4jSE0AyROhpwAKi9ASQDBF6GrA8RNl48oCsDeEemXN3M6U2Qc/VeMrcKN09kpf5qq+vjx6/W79+fbRflOXlLswQXhUXfV4qhl7TPpW2E3Ji6yMi775RlFP717o/m87rn5v+zpRnmAIUoAAFKEABClCAAhSgAAXCFPD5RE9cQTae4grGPN41imbMmNHhsbrMx+5SH+8ep0vdEeX+zG1A7ppVbl+nzA3HXdMqtQeU5dRC6AjvaflAvvfLXeLuenKvqZefJ5MurYn+dzHOj4/a4RVajOuHn72e5Px0I0uCnhYtPUtP3ciSoKdFS8/SUzeyJOhp0dKz9NSNLAl6WrT0LD11I0sidE+LRbYsG09xBWMcn63plGoqjRkzJt1oyvxWu9RwmY2o1J1Pce948tkxTfrCbD3eJvc82Sz7Dh2LiIZd0FvmXjdIKntUsPEUo0a7OzTp9dNOkeNpQrb36Wnz0tL01IRs79PT5qWl6akJ2d6np81LS9NTE7K9T0+bl5ampyZke5+eNi8t7dtTOx/tfTaeNKECve++iW7q1KldPj11V5NrJs2ZMyf9fltb+1087uXuanJ7OmU+ducaUe5Vrns8Lf/967J2+8HI4MzTKmXBV2vlnD4902a+L0xkPN7xhF9ciCf+aXqS4+lGlgQ9LVp6lp66kSVBT4uWnqWnbmRJ0NOipWfpqRtZEvS0aOlZeupGlgQ9LVqFz7LxVHjjkhihlC/M7fuPyqKn96SdZ31hgFxV17eDezHOj40n/NIoxvXDz15Pcn66kSVBT4uWnqWnbmRJ0NOipWfpqRtZEvS0aOlZeupGlgQ9LVp6lp66kSURuqfFIluWjae4goEcX6oXynsfHpe5v2iWg0dbo5UYNeQsuf2agV1WpRjnx8YTfvEU4/rhZ68nOT/dyJKgp0VLz9JTN7Ik6GnR0rP01I0sCXpatPQsPXUjS4KeFi09S0/dyJII3dNiwcZTXK2Ajy/VC+XB3+6TF3a9E61Mde+esuhrtdGjdp1fxTg/Np7wC6oY1w8/ez3J+elGlgQ9LVp6lp66kSVBT4uWnqWnbmRJ0NOipWfpqRtZEvS0aOlZeupGlkTonhYLNp7iagV8fCleKM81HZbGZ/enV2XudRfJ8AG9s64SMj/fjSDf4yVZvognx8MF6IlbIUl6Ikp4hp64FZKkJ6KEZ+iJWyFJeiJKeIaeuBWSpCeihGfoiVshydA9EYNcGT5qF1cwkONL7UJ560irNDzRLO5RO/eaOLxapl1xfrergczPdyPI93hJliriyfFwAXriVkiSnogSnqEnboUk6Yko4Rl64lZIkp6IEp6hJ26FJOmJKOEZeuJWSDJ0T8SAjae4SmVwfCldKMdPtMmip/fKjr8djVZmYNXpMv+GWulZ2f7NftleyPx8N4J8j5dkGSOeHA8XoCduhSTpiSjhGXriVkiSnogSnqEnboUk6Yko4Rl64lZIkp6IEp6hJ26FJEP3RAxyZXjHU1zBQI4vpQvlqT+2yMrn34jkK3tUyA++MkQuqumVcyWQ+fluBPkeL8lSRTw5Hi5AT9wKSdITUcIz9MStkCQ9ESU8Q0/cCknSE1HCM/TErZAkPRElPENP3ApJhu6JGLDxFFepDI4vlQtlT8sH8r1f7hJ315N7Tb38PJl0aY26Qsj8fDeCfI+nIhkCiKfh49Qox1OJTAF6mrjUMD1VIlOAniYuNUxPlcgUoKeJSw3TUyUyBehp4lLD9FSJTAF6mrjUsG9P9YSUAO94iisYyPG+CzfbeHes+osceLc1b9F+H+8pD0z5RNbjkfn5bgT5Hi9v2CwHIp4cDxegJ26FJOmJKOEZeuJWSJKeiBKeoSduhSTpiSjhGXriVkiSnogSnqEnboUkQ/dEDHJl2HiKKxjI8cVwoUx7+JXYmstvuYSNp9iK+gcUQ73oZ5l/gvPL3y7bkfSkp0WA9WLR0rP01I0sCXpatPQsPXUjS4KeFi09S0/dyJKgp0VLz/r21M8od4KNp7iCgRzvu3CzjTfzZ6/K0WPt31KXz6v36ZXy0DcvznooMj/fdyD5Hi8f0+6OQTw5Hi5AT9wKSdITUcIz9MStkCQ9ESU8Q0/cCknSE1HCM/TErZAkPRElPENP3ApJhu6JGOTKsPEUVzCQ44v5QnnjnQ+l4Ylm+aD1RKQ99pNny4yx/U3yyPx8N4J8j2cCU8KIJ8fDBeiJWyFJeiJKeIaeuBWSpCeihGfoiVshSXoiSniGnrgVkqQnooRn6IlbIcnQPREDNp7iKpXB8cV6obhm0/d/tUv2HToWrYL79rp7vjRYevXsYVoVZH6+G0G+xzOBsfEkK1asSJIs52ch9ZnkyXC8JDVF6ElPiwDrxaKlZ+mpG1kS9LRo6Vl66kaWBD0tWnqWnrqRJRG6p8UiW5Z3PMUVDOT4Yr1QGp/dL881HY6UzzytUubfMETOO+s0szoyP9+NIN/jmdFyHIB4cjxcgJ64FZKkJ6KEZ+iJWyFJeiJKeIaeuBWSpCeihGfoiVshSXoiSniGnrgVkgzdEzHIlWHjKa5gIMcX44XyzCsH5d9/93pa+M7xF8plg/rkJY7Mz3cjyPd4ecF1cxDiyfFwAXriVkiSnogSnqEnboUk6Yko4Rl64lZIkp6IEp6hJ26FJOmJKOEZeuJWSDJ0T8SAjae4SmVwfLFdKE1vvi/zf7Nbjp9oi/RvuKyf3PjZc/NeCWR+vhtBvsfLGy/LgYgnx8MF6IlbIUl6Ikp4hp64FZKkJ6KEZ+iJWyFJeiJKeIaeuBWSpCeihGfoiVshydA9EQM2nuIqlcHxxXShHH7/I7nnyV1y8GhrJD98QG/57oRBUtmjIu+VQObnuxHke7y88dh4SpIu62ch9ZnkSXC8JDW5x1OymvSkp02AP89sXlqanpqQ7X162ry0ND01Idv79LR5aenQPbX5a+/zUTtNqEzeL5YLxd3h9KN1e2X7/qORfHXvnrLgq7XSp1dlrJVA5ue7EeR7vFiAnQ5GPDkeLkBP3ApJ0hNRwjP0xK2QJD0RJTxDT9wKSdITUcIz9MStkCQ9ESU8Q0/cCkmG7okY5Mqw8RRXMJDji+VCWb31Tfn1ywciVXeH0/e/PFiG9DsjtjIyP9+NIN/jxUbM+ADEk+PhAvTErZAkPRElPENP3ApJ0hNRwjP0xK2QJD0RJTxDT9wKSdITUcIz9MStkGTonogBG09xlcrg+GK4UF7cc0Tuf+avae1vX3WBXDOsKhF9ZH6+G0G+x0sE8r8/BPHkeLgAPXErJElPRAnP0BO3QpL0RJTwDD1xKyRJT0QJz9ATt0KS9ESU8Aw9cSskGbonYsDGU1ylMjj+VF8ob7zzoTQ80SwftJ6ItMd+8myZMbZ/YvLI/Hw3gnyPlximcA+WJC3dZyH1meSYHC9JTa5fspr0pKdNgD/PbF5amp6akO19etq8tDQ9NSHb+/S0eWnp0D21+Wvv81E7TahM3j+VF4prNn3/V7tk36FjkfZFNb3kni8Nll49eySmj8zPdyPI93iJYbJRkiRl9FlIfSY5KMdLUpPrl6wmPelpE+DPM5uXlqanJmR7n542Ly1NT03I9j49bV5aOnRPbf7a+2w8aUJl8v6pvFAan90vzzUdjqTPPK1S5t8wRM4767RE5ZH5+W4E+R4vSVDEk+PhAvTErZAkPRElPENP3ApJ0hNRwjP0xK2QJD0RJTxDT9wKSdITUcIz9MStkGTonohBrgwbT3EFAzn+VF0oz7xyUP79d6+nFe8cf6FcNqhP4qrI/Hw3gnyPlyQq4snxcAF64lZIkp6IEp6hJ26FJOmJKOEZeuJWSJKeiBKeoSduhSTpiSjhGXriVkgydE/EgI2nuEplcPypuFB+8MAjMv83u+X4ibZI+IbL+smNnz23INrI/Hw3gnyPlyQs4snxcAF64lZIkp6IEp6hJ26FJOmJKOEZeuJWSJKeiBKeoSduhSTpiSjhGXriVkgydE/EgI2nuEplcLzvC+Wmb8+QmvHflYNHWyPd4QN6y3cnDJLKHhUF0Ubm57sR5Hu8JGERT46HC9ATt0KS9ESU8Aw9cSskSU9ECc/QE7dCkvRElPAMPXErJElPRAnP0BO3QpKheyIGbDzFVSqD431eKO4Op2/9eI1I1ZBItrp3T1nw1Vrp06uyYNLI/Hw3gnyPlyQu4snxcAF64lZIkp6IEp6hJ26FJOmJKOEZeuJWSJKeiBKeoSduhSTpiSjhGXriVkgydE/EgI2nuEplcLzPC2X11jfl1y8fiFTdHU7f//JgGdLvjIIqI/Pz3QjyPV6SwIgnx8MF6IlbIUl6Ikp4hp64FZKkJ6KEZ+iJWyFJeiJKeIaeuBWSpCeihGfoiVshydA9EQM2nuIqlcHxvi6UF/cckfuf+Wta9NtXXSDXDKsquDAyP9+NIN/jJYmMeHI8XICeuBWSpCeihGfoiVshSXoiSniGnrgVkqQnooRn6IlbIUl6Ikp4hp64FZIM3RMxYOMprlIZHO/jQnnjnQ+l4Ylm+aD1RCQ69pNny4yx/bvV9d2YCX28JMvYR71kni/HS3L1ROhJT4sA68WipWfpqRtZEvS0aOlZeupGlgQ9LVp6lp66kSVBT4uWng3dUxfInahwr7a2tvavFeOrbAUKfaG4ZtP3f7VL9h061m787hvy8G1/L7169mDjCay66h/8r26ThV6/zgNzPHDRwBg9QSgwRk8QCozRE4QCY/QEocAYPUEoMEZPEAqM0ROEAmP0BKHAGD1BKDAWuifI0G2Mjae4goEcX+gLpfHZ/fJc0+FI68zTKuXd//mgrHjkJzn1Qr8Dyff8kizVQtcLG11JrlbXz+L6JetLT3paBFgvFi09S0/dyJKgp0VLz9JTN7Ik6GnR0rP01I0sidA9LRbZsmw8xRUM5PhCXijPvHJQ/v13r6el7hx/ofxo7kxZsWIFG0+G+uEdT7nrxUCpRgt5PWQbnOOpS2IK0NPEpYbpqRKZAvQ0calheqpEpgA9TVxqmJ4qkSlATxOXGqanSmQKhO5pwsgSZuMprmAgxxfqQml6832Z/5vdcvxE+9OcN1zWT2787LnQHjO+7wgKfbwkS7VQ9dLdOXK8JFePezwlq0lPetoE+PPM5qWl6akJ2d6np81LS9NTE7K9T0+bl5ampyZkez90T5tG1zQbT3EFAzm+EBfK4fc/knue3CUHj7ZGSsMH9JbvThgklT0q2HgSEd+NriRLtRD1kuv8OF6Sq8dGSbKa9KSnTYA/z2xeWpqempDtfXravLQ0PTUh2/v0tHlpaXpqQrb3Q/e0abDxFNcr8eNnz54tjY2NsnnzZhk9enT681etWiVTp05N//POnTultrZWmpubZejQodGfL168WOrr69OZuro6efTRRzt8DnrCSV8o7g6nH63bK9v3H41Oobp3T1nw1Vrp06sy+mdkPN+NmdDHQ2sBySHrh3wOmuF4qBSWoyfmhKboiUphOXpiTmiKnqgUlqMn5oSm6IlKYTl6Yk5oip6oFJajJ+aEpnx7oufVXY53PMUVjHF8RUWFrFy5MmowZTaetmzZImPGjJFUs2nJkiWybNkyaWpqEteoGjt2rEyZMkXc8akvJHR/Pnjw4A6NKMupJV24q7e+Kb9++UB0Cu4Op+9/ebAM6XdG+pSQ8UJvBPmen6UetCyyftpnWN7neBYtPUtP3ciSoKdFS8/SUzeyJOhp0dKz9NSNLAl6WrT0LD11I0uCnhYtPUtP3ciS8O1pObdsWTae4gomcLxrIGU2nlyjaffu3bJ06dL0p6cy9957r8ybNy+6q8nd4eSaUe7uKHen09q1a/M+myQL98U9R+T+Z/6aPpdvX3WBXDOsqsO5IeP5bsyEPl7exZHlQGT9OB4uQE/cCknSE1HCM/TErZAkPRElPENP3ApJ0hNRwjP0xK2QJD0RJTxDT9wKSYbuiRjkyrDxFFcwgeM7N54mTpwo48aN6/IYnWs6bdq0qcsdT5l3PuV7OkldKG+886E0PNEsH7SeiE5l7CfPlhlj+3c5LWS80BtBvueXb21kOw5ZP46HC9ATt0KS9ESU8Aw9cSskSU9ECc/QE7dCkvRElPAMPXErJElPRAnP0BO3QpKheyIGbDzFVSrw8ZbG06hRo9J7PLnH9NydTu4OqOnTp0eP5s2aNavDnVLoqSdxobhm0/d/tUv2HToWDXtRTS+550uDpVfPHmw8ZVkINp7Q6sT2BMM/TU8mcT3oo5xMcDyLlp6lp25kSdDToqVn6akbWRL0tGjpWXrqRpYEPS1aepaeupElQU+Llp4N3VMXyJ3gHU9xBRM43tJ4cns7pV7ukbzMl9to3D1+t379+mgjcsvLXShxXxWXfEUqzr+0/WM+OiYntj4s8v6hvD/2X+v+bDr2n5v+zpTvHA59vFg4PJgCFKAABShAAQpQgAIUoAAFikZgxYoVRXMu2omw8aQJeXi/c+PJbRTuXp33eEptNu7ecxuQu0fv3L5OmRuOu8f0UntAWU49bof2mVcOyr//7vX0kHeOv1AuG9Sn21NAxvN9R1Do41nqQcsi66d9huV9jmfR0rP01I0sCXpatPQsPXUjS4KeFi09S0/dyJKgp0VLz9JTN7Ik6GnR0rP01I0sCd+elnPLlmXjKa5gAsd3bjzl+la71HDumMxvvXN/HveOp3w7pk1vvi/zf7Nbjp9oi07vhsv6yY2fPTenDHKhhN4I8j2/BEo1/RHI+nE8XICeuBWSpCeihGfoiVshSXoiSniGnrgVkqQnooRn6IlbIUl6Ikp4hp64FZIM3RMxyJVh4ymuYJ7HNzc3p/dqyvyIzGbSnDlz0m+1tbU3ddzL3dXk9nTKfOzONaLcy/ceT4ff/0jueXKXHDzaGo0/fEBv+e6EQVLZo/18unshF6bvxkzo4+VZqlkPQ9aP4+EC9MStkCQ9ESU8Q0/cCknSE1HCM/TErZAkPRElPENP3ApJ0hNRwjP0xK2QZOieiEGuDBtPcQUDOT7bhXLHqr/IgXfbG0r5vPp9vKc8MOUTeTcuQm8E+Z5fPmvY3TGh/2Dl/JKsFm4On6wmPelpE+DPM5uXlqanJmR7n542Ly1NT03I9j49bV5amp6akO193562s+uaZuMprmAgx2cr3GkPvxJ7dstvuYSNp24U2XjCy8v3D1aOh68NkqQnooRn6IlbIUl6Ikp4hp64FZKkJ6KEZ+iJWyFJeiJKeIaeuBWSpCei5C/DxpM/66IeKduFOfNnr8rRY8fzPu/ep1fKQ9+8mI0nNp7yrqHUgfwXR2zCDh9AT3paBFgvFi09S0/dyJKgp0VLz9JTN7Ik6GnR0rP01I0sCXpatPRs6J66QO4EG09xBQM5Pp8LxX2T3WPb3pLxn6pSNxPvzISM5/uOoNDHS7JUkfXjeLgAPXErJElPRAnP0BO3QpL0RJTwDD1xKyRJT0QJz9ATt0KS9ESU8Aw9cSskGbonYpArw8ZTXMFAji/GCyX0RpDv+SVZqsVYL5wfLsD1w62QJD0RJTxDT9wKSdITUcKKUY1lAAAgAElEQVQz9MStkCQ9ESU8Q0/cCknSE1HCM/TErZCkb0/knNh4iqtUBsf7LlxkPN+NmdDHS7KMkfXjeLgAPXErJElPRAnP0BO3QpL0RJTwDD1xKyRJT0QJz9ATt0KS9ESU8Aw9cSskGbonYsDGU1ylMji+GC+U0BtBvueXZBkXY71wfrgA1w+3QpL0RJTwDD1xKyRJT0QJz9ATt0KS9ESU8Aw9cSskSU9ECc/QE7dCkr49kXNi4ymuUhkc77twkfF8N2ZCHy/JMkbWj+PhAvTErZAkPRElPENP3ApJ0hNRwjP0xK2QJD0RJTxDT9wKSdITUcIz9MStkGTonogBG09xlcrg+GK8UEJvBPmeX5JlXIz1wvnhAlw/3ApJ0hNRwjP0xK2QJD0RJTxDT9wKSdITUcIz9MStkCQ9ESU8Q0/cCkn69kTOiY2nuEplcLzvwkXG892YCX28JMsYWT+OhwvQE7dCkvRElPAMPXErJElPRAnP0BO3QpL0RJTwDD1xKyRJT0QJz9ATt0KSoXsiBmw8xVUqg+OL8UIJvRHke35JlnEx1gvnhwtw/XArJElPRAnP0BO3QpL0RJTwDD1xKyRJT0QJz9ATt0KS9ESU8Aw9cSsk6dsTOSc2nuIqlcHxvgsXGc93Yyb08ZIsY2T9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XK4HjkQgm9MRP6/JIsY6ReOB4uQE/cCknSE1HCM/TErZAkPRElPENP3ApJ0hNRwjP0xK2QJD0RJTxDT9wKSYbuiRiw8RRXqQyORy6U0Bszoc8vyTJG6oXj4QL0xK2QJD0RJTxDT9wKSdITUcIz9MStkCQ9ESU8Q0/cCknSE1HCM/TErZBk6J6IARtPcZVOwfFbtmyRMWPGpEfevHmzjB49OvrnioqK6P/PmjVLli5dms5MnDhRpk+fLlOmTDGfMXKhhN6YCX1+5qLIcQBSLxwPF6AnboUk6Yko4Rl64lZIkp6IEp6hJ26FJOmJKOEZeuJWSJKeiBKeoSduhSRD90QMcmUq3Kutra0t7gfx+OQEmpubZejQoZJqNq1atUqmTp0qbpmWLFkSDVRfXy91dXWyfv16qa2tjf589+7dHRpRljNCLpTQGzOhz89SD1oWqRftMyzvczyLlp6lp25kSdDToqVn6akbWRL0tGjpWXrqRpYEPS1aepaeupElQU+Llp6lp25kSfj2tJxbtiwbT3EFC3C8azQ9+uijsnbt2vSnuybTvffeK5s2bZKxY8dGdzW5O5zcHU+vvfZadKdTU1NT3meDFG7ojZnQ55d3cWQ5EKkXjocL0BO3QpL0RJTwDD1xKyRJT0QJz9ATt0KS9ESU8Aw9cSskSU9ECc/QE7dCkqF7Iga5Mmw8xRUswPGzZ8+OPrXzY3Tjxo1Lj5Z5x9P48ePTdz7lezrIhRJ6Yyb0+eVbG9mOQ+qF4+EC9MStkCQ9ESU8Q0/cCknSE1HCM/TErZAkPRElPENP3ApJ0hNRwjP0xK2QZOieiAEbT3GVPB+fq/HkGk6pPZ4WL14cPV7n7oByd0itW7dOJkyY0OFOKfTUkQsl9MZM6PNDawHJIfWCfA6a4XioFJajJ+aEpuiJSmE5emJOaIqeqBSWoyfmhKboiUphOXpiTmiKnqgUlqMn5oSmfHui59Vdjnc8xRUswPFa4yk1pHskL/Xonfv/7g4p9/jdvHnz0huRo6fnNjM/99xz0ThzFKAABShAAQpQgAIUoAAFKEABCpwCgTfffNP8d/5TcJrpIdl4OpX63YztNgrfsGFDlz2e3F1NqW+2cxuQu0fs3L5OmRuOu6ZVag+oIpwaT4kCFKAABShAAQpQgAIUoAAFKECBMhJg46kIFzvXt9qlTtdtNp5qRKXufIpzx1MRMvCUKEABClCAAhSgAAUoQAEKUIACFChxATaeinQBXTNp6tSp6bPbuXOn1NbWRv/s7moaPHiwuP2eMhtRLpPvHk9FysDTogAFKEABClCAAhSgAAUoQAEKUKCEBdh4KuHF46lTgAIUoAAFKEABClCAAhSgAAUoQIFiFmDjqZhXh+dGAQpQgAIUoAAFKEABClCAAhSgAAVKWICNpxJePJ46BShAAQpQgAIUoAAFKEABClCAAhQoZgE2nop5dXhuFKAABShAAQpQgAIUoAAFKEABClCghAXYeCrhxeOpU4ACFKAABShAAQpQgAIUoAAFKECBYhZg46mYV4fnRgEKUIACFKAABShAAQpQgAIUoAAFSliAjacSXjyeOgUoQAEKUIACFKAABShAAQpQgAIUKGYBNp6KeXV4bhSgAAUoQAEKUIACFKAABShAAQpQoIQF2Hgq4cXjqVOAAhSgAAUoQAEKUIACFKAABShAgWIWYOOpmFenSM9t1apV8uSTT8rOnTtl27Zt6bMcOXKkfO5zn5NvfOMbMnr06MTOnuPR01JMrBfWSzHXC3JuroYHDhyY6M/RXONyPGRV8Aw9cSskSU9ECc/QE7dCkkuWLJEbb7xRamtrkXjsDMeLTdjhA+hJT4tA6PViscgny8ZTPmplfMzs2bOlsbExEpgwYUIXiXXr1kV/tnLlSpkyZUpsKY5HT0sRsV5YL8VcL+i5TZw4UcaNGyf19fXoIbFyHC8WX5eD6UlPiwDrBdPasmWLTJ8+PfqPnu41efJkueuuu2TEiBEdPiApz4ceeij6/EOHDklVVVX0O+38+fOlpqamw3gVFRWyefPm2P+hgOO1s9ITux5YL6wXrFKKK8XGU3GtR1Gfzcsvvyyf/vSnZfHixd3+hailpUXuueeeqDnlfjmI81+AOJ4IPfFLgvXCesGrRcR3vVjOLam/OKFjcjxUCsvRE3NCU/REpbBcKXo2NzeLu6veNYHcf/R0vxul7rjv/B86k5jfmjVrZNKkSVHDadSoUdLU1BT9Tuv+eePGjR2aXUk0SjjeyeYhPfXrmPXCetGrpDgTbDwV57oU5Vm52wsfe+wx2bp1q3p+dXV18t3vfldmzpypZrsLcLyTMvTUy4j1wnrRq+Rk4lTUy5w5c+BTzNXgRz7EzY/jnZSiZ+6qYb109GG9FFe9uLs7br31VnnppZfSTR/XjHJ3Obs77WfNmiVLly6NTjqJxpO7u8k1tp5//vn0HU6Zd1xlNruSaJRwvJNPSdBT/zc864X1oldJcSbYeCrOdSnKs3K/mG7YsEHWrl2rnl8S/+LneCeZ6amWnLBeWC96lXRsPPn8eZb6L5Tu8ZDPfOYzOU912bJlMmPGjFiP2nG8k8T01K8M1gvrRa+Skwnf9ZLr3++ppmmq+ZTE70vdfYa70+q2226T1atXp7eUSKJRwvHoabn+WC+sF0u9FFOWjadiWo0iP5fULxqZ/8Up2ymnHmGJu88Tx2vXpSd2YbBeWC9YpbSnfNeLG9P9snj22WeL29w31yuJvzhxvGQbsfSkp+XnC+sl2Xpxdzw9/PDD3d5x736mTp06Nbrzyd0JFXePPHdHydChQ2XBggVZlz21n6T7PdeNG3ePJ47Xvn8sPbGfMqwX1gtWKcWXYuOp+NakqM/IfWudu/3Y/cvdbej4qU99Kn2+f/rTn6ImifsFoLq6usMtyvlOiuPR01I7rBfWSzHXS6qJrO1/l1TjieO1VwM9sauC9cJ6wSql43/k8PHzzDWTXCMo11ip5pM7u7iPSrrPmjdvXrS3U3evzC8zidt44ngSPTaZ+vIieua+ElkvrBfLz+piyrLxVEyrUQLn4m4zvu+++6J/ObhNHrO93KMkCxcujLWxeOpzOV77N7fQE7s4WC+sF6xS2lO+68WN6e60uvzyy7t8M1LmebsGQJ8+fRL5Gcrx2u8apSd2ZbBeWC9YpbSnfNZLQ0ODXHrppTm/Mdld61dffbX88Ic/jLXHaOqRumzfmpfpk2p2aU8CaKYcr12InlqlnPzdxT3yyfpsv9OR1x9WN8WQYuOpGFahRM/B/Qv+yJEjHc5+9OjRBZsNx0uWlp70tAiwXixazFKAAhSgAAUoQAEKUIACKQE2nlgLQQi4/0oycOBAKWTjq/N/5fI5XhCLVESTYL0U0WKUwKn4rhffJL7n53s8356hj+d7/XyPF/r6+Z5f6OvnNje/8cYbE7lDFVkb3+Mh58QMLuB7/XyPh0swiQiEtn5sPCGrzoxZIKlfNDK/vtadhHvsLNutpUnt4eF7PBQ2Kc/Qx/O9fr7HC339fM8v9PXzPT/f4/mul9DH871+vscLff18zy/09XMbmrvfN922ElVVVdEjfvPnz+/ymHQS32rn1s73eGi9+P6Lb6mO53v9fI/HemkXSKo+i3X90HXON8fGU75yZXqcz1803GaSI0eOjP6lP2HChGg/FrexuXt1/sa8JBpPvsdz8/DpGfp4vtfP93ihr5/v+YW+fr7n53s83/US+ni+18/3eKGvn+/5hb5+qW89dQ2nUaNGRZuMu43N3T9v3Lgx+nKd1CuJxpPv8U5Fo8v3X7R9jud7/XyPx3o5+Zf+Ur3ei6VtwcZTsaxECZyH71803L80br311g6bxrlzcN98sW7duuib9ZYuXRrJJdF48j2eb8/Qx/O9fr7HC339fM8v9PXzPT/f4/mul9DH871+vscLff18zy/09XN3N7n/0Pn888+n73DK/A+Fmf/xM4m/iPoez3fjIvTxfK+f7/FCXz/f8/O9fsXUYmDjqZhWo8jPxfcvGu52xg0bNsjatWu7yLj35syZk24+JdF48j2eb8/Qx/O9fr7HC339fM8v9PXzPT/f4/mul9DH871+vscLff18zy/09evud8rUt8+tXr06fed9Eo0n3+P5/otv6OP5Xj/f44W+fr7n53v9iqm9wMZTMa1GkZ/LqfhF4+GHH5atW7dmlUl97aq788n9175x48ZJfX193oruFzef4/n2DH083+vne7zQ18/3/EJfP9/z8z2e73oJfTzf6+d7vNDXz/f8Ql8/9xfRoUOHyoIFC7L+TunuvG9sbIyaT+7r3Ddv3hzry218j+f7L76hj+d7/XyPF/r6+Z6f7/XL+y/GBTiQjacCoIb6kb5/0XDNJPcvfvdcfW1tbc7mk3tz8eLFsRpPvsfz7Rn6eL7Xz/d4oa+f7/mFvn6+5+d7PN/1Evp4vtfP93ihr5/v+YW+fu4/bM6bNy/a26m7V6r55N6P23jyPZ7vv/iGPp7v9fM9Xujr53t+vtevmPoSbDwV02oU+bn4/kXDcTQ0NMill14afZtId6+XX35Zrr76avnhD38oM2fOjKXoczzfnqGPx3oRSd0FWIqNWN/16bteQp9f6J6+18/3eL7Xz/d4vj1DHy/09Us9UpftW5Qzf8lM/Tv3pZde6rDhuPUXUd/j+f6Lb+jj+V4/3+OFvn6+5+d7/aw/jwqZZ+OpkLoBfrbPxkyAfF2m5NszxPHcD3D3qqmp8VIyvsfLnFSI63cq5+elYDIG8b1+vufnezzfniGO5/vnme/xTuXPlxDrxfc1firX71TOtdBj+/6Lb6jjuQZzd09kFGINfY+XmkOo63eq5leI2iiVz2TjqVRW6hSep+9fFDlesosduqfb22LRokXRXXFf+tKX5Prrr08WsNOn+R4v9PXj/JItV3rS0yLg++eZ7/F4PViqQc+G7un7L/YcT685S8K3p9sbyD2OOXnyZPnHf/zHWHe9IfP0PZ5vT46HVEFpZ9h4Ku3183L2vn9R5HjJLmvonu5fVI888oi4b5lx+4FVVVUVtAnle7zQ14/z4/VuEWC9WLT0rO+fZ77HY73oNWBJhO7p+y/2HM9SfXrWt+eWLVtkxYoV0TYHhw4divalLWQTyvd4vj05nl7jpZ5g46nUV9DD+fv+RZHjJbuooXtmarn9vtwmq75+CfAxXujrx/nxercIsF4sWrasj59nvn9es15sNaClQ/f0/Rd7jqdVnO19356ZZ7dmzRr5j//4j+g/grrXyJEj5ZZbbpFrr722II/j+RjPtyfHs9V7KabZeCrFVTuF5xziL6a+fxHmeH5uSXb/Uv7Nb37TpQl18803F+yXgEKPx+sv2R9+9KSnRSD0eun8l6hC/zzzPV7o68f5Wa5mPevjL/ahNy7KaX6pubrHUZ955hl58sknuzShbrzxxsT3I/U1Hq8H/WeGJeHb03Juhcyy8VRI3cA/O8S/2Pv+RZjjTZZCNYJC/4WH11+yP2DpSU+LQOj1wp+flmrQs6HXS8jz8/UX+9AbF+Uyv8yfBqna+fGPfyzbtm2L3nKP4t1www3RnVBJfymOj/F4PST7RUa+PfV/WxU2wcZTYX3L5tN9d245XrKlFbqn9gvP/fffL6NHj04WVUS6+xdK0uOFvn6cX7KlSU965iPg6+eZ75/XvB7yqYbujwnZ08df7ENvXJTT/DLn6h5TdXdCPfzwwx2aUAsXLizIXfg+xuP1UJgmlK9GZbI/+bFPY+MJc2IKFAj1F1PfvwhzvMI0grr7hcc9hz9z5kywyvOLZf4LulDj8frLb226O4qe9LQIhF4v/PlpqQY9G3q9hD4/H3+xD71xUU7z6zzXxx9/XJb9/+2dzctV1RfHT3+AZOKoJKSXQWAUWg2sBgrVD41okJEmERS9GYKFmqUjKw2pILAXKZAohcqJFJUDGwRCRRJUOMhANBxJKf4B/fgeWU/H85x7Xu5Ze917n/s5k+y55+y192evvc4+a6+99r592aFDh5KfhiddTS2P8dBs87vcEc2zS9363IvjqQ89nq0l4PmhrQF45ZVX1oalespTWSdOnKiNgplkeW1U17N94yivTZ2GvUcJEufNm5d8MlFXv0nuv+jx3qaf4dmG0qV7sJ//RTtq5TKVo3mUjqD22tD9Tuxnv4UQ7Kfv+FPurFtuuaVWkT0/7FXWxYsXa2VOsrw2FsGzfeMor02dhrnH3r1XX311kiiqtnWa5P6LHu9tmEbzbFOnYe/B8TQsOZ4LJaAjfLdu3Zp0b3SxQZL3+eefZz/99FNIO6PlhTRqyoTohb9hw4aZZJJq/lVXXZU9++yz2QsvvOC6l1+n9v3666/Za6+9Vkn5kUceyZ5//nm37YPR8qLHuyYa3377bZ5vrCrnwiuvvJLdfPPNmbhO4hXNM9qeRcubRB0Y9zpjP/3sdfR4n+v2U0e8//jjj7n9v//++7NVq1YlHU6St2zZsoHvd2/h0fK86095WaYxqAUOyyMlJtdff322efNm92j+uvmQHCTPPfdc9umnn7rNeaPlRY93bU0+c+bMwH5Sfd54441G5/ekjAMcT5PSU2NYT00UFbp54cKFytotX77c7cPXvL1yBsmw6oM+5STggw8+yPbs2ZOdPHkyhHxqeXop3Xrrrdn777+fGzebmNY1ToZuy5Ytbu1PqS9t2lNuiHf7br/99lw35WhavHhxLu7UqVPZe++9l913333ZN99848ZS7T169OjAMvWiWrlypVv/RcuLHu+mP7Iru3btmjUB8OYpRUg5HsqKFs0ztT0rty+1POznbNOF/WxvzrGfvu+jaPupCLyvv/46X1T6888/8w96JYh++OGHk3wMam67YMGC7N13322vZD3uTC1P9vmZZ57Jfvnll5yX3qda6Km7vv/+e7fvB8mxd+AgmTpt7rrrrhuKYpv2lAv2bJ/adtttt+UiNP/U7hBdmiOKs7etbpoPXXHFFZln+6LlRY930x/Zlf3798/Se2+eQym540M4nhxhTlNR+mjSYCl618vtNyeHNxfb9/rdd9/lEwGLKvE+HU2OBEU/6OU/7AupS9tTyrNViI0bN+ardTKsx44dq62ep+Mwtb60aU+5sZ7t04rF6tWrZyZWRVn20WqTri46UeVAOHv2bHbgwIE8Gk9JysvX77//nk/yPMaf9CZSXhWbiPFuETMag+YoLK4wNU18uvZp6vFQV58InpKf0p5VtS+lPOznbOLYz+ZRj/28tD1tLtlPi+6yRVCLKpHjwuuEMnMkpIiWHvSOleMilTzNj955552ZubQiqE+fPl07gPo4gsoFq89WrFiR/fPPPwNl9pmftWlPWbBn+xQRpG+hH374YZYOyum3bdu27O+//242WA13iKO2gG7atCl/v69bt27WE5qbag7Vh6cVGi2vqvkR4132cf78+dn58+dzR6HG4c6dO2f6EsdTb9WlgLlAQIZ27dq12VdffZU87LiOlz7gZGzlUHnqqafcIjzUPnme61ZlPFcRouVF6+C46EuqdjetaOslvWbNmt762TayS5NIRVj1nQhHy2vqn1Tjvdh/cmJqYiWn+ssvv5xvk3z00UddI8jGZTyk4hltz6LlNemp9+/joi/e7bLysJ8+9rqpf1KN92m1n+bE14f94cOH3SJ05Eg4cuRI7cKuZ0RJtLwmPfX+XVu/xDMiibd33duUV+fY1ZhfuHChSwRS28guOU48ovWi5TWxTjXei/2nd730VZdF3+N4auoZfp8KAk0TxdQQyqelKOrpk08+cXOCtYmg8VzxjZaXun/K5Y9aX1K3tynHjNeKb5sVdM+k5tHyBvVT6vFepZ/62+7du/MqaduDp2N71OMhNc9oexYtL7U9wX5eTgD72U/jUo/3abOf5dOmFPUkx4ZXZHybCBrPiJloef20ufvTXvaju+SYJ5pydHk5LtpEIHkmNY+WN6i3Uo/3sn7KXu/YsSOPHNMishZBPR3NMVo5WApb7UbdAxMqX6Gz69evz/7444/eURVtEQw6WvLBBx+c2KS/bdue4j4Z9c8++yz7+eefK4t//PHH3bhG60v0h2jddjr7zTM6UDx/++233hFUbfUqWp7qFTneBzmCVAdFPSmM3TPCMXo8RPNsq1eTfB/20y+HI/bTfyRgP32Z2ni3PE+WZ1Tbje666y5fYVNQmt6BX375Zf6er7o8kykrokvzXM88m3VdFO3IsxyHg7baKfXCuXPn3L7VNF9asmSJ20J/k7pHy5HRCfsAABX8SURBVFN9Isf7IMdoMfoex1OTlvD7VBDQYNEKT3EvaqqGW3JClS8P8Isvvpjdc889boY0Vb3HtVx51G+88cZ8z7sSX+vEFkV13HDDDfm/tYKn/EGeE6pIfWnaImY65HlKmYUFVyUXl7yoExLHVee61GvcxrsmIYsWLXK1N5HjYdx4dtGFcbwX+3npHYz9HEftzLJxG++Tbj+l53I46VJS8cceeyzso3s8NaxfrfRBfffdd+f5We+44448pYXmSEoNoH+L8euvv+4WQWb2uurgkH4tqX66aYuY5tyejjVrn2pTlVxci2eDTkBO0f5JL3PcxrvGi+e32Kj7h4inUffAhMqXR//NN9+s3YPuGSEgeTo9T84mr3DmJvSRK9qqSzG6wupmq2rezj1LOGgRa0WPu0VjKLzTi3W0vgzqWzuyW7+rTp6Xyn7rrbfy8NhiEktNovbu3evqtLB6F09q0WRGJ8akmORHR5CNYrzbGNRJnbpS8oweD6Pgif3Efnaxr9hPvwiyUYz3uWw/tZB17bXXhi52RkYEqe+K0RU2brUA6bnF3MrVh70SKVsEUnErmOWb8lyos+TbOpFw0BURUaL52r333ptt3rx51sm5XWxl1b2Dvh/kiErldCrOC3W4kxyHKZwk0RFkoxjvNgbt0KeUPPvqWt/ncTz1JTilz0d/iEZ/aEevaBflyVGxdOnSvMnHjx/PV9q8kkUbx/LWonKop5JhP/nkk24vx1HpS9XwNNaeyUDLcmxvespVinJUlzl6m/JNDWOyRhFBVqyn9Mczd1UVg0ieoxoPUY5K7Cf2cxg7Y89gP/vQm/0s9tOHZ9SHdnREUFGenEKLFy/OgdnJfV7Joq0XyvPNouPJkmF7nIpm8qIdF3XaJtYPPPBA0jQlEeO9HNVljrumfFPDjMToCLJiHaWPJ06cyDxzV1UxiOQ5TB94PoPjyZMmZSUlEPlhGB0RZPK+++67PGqleFn+i4MHD7ptbZC8Dz/8cGb7l05R0HGrFgXkdQpbUoXoUbh3sklLwl3naPKcDJhOyNmklZHiqWsRjjVDnzqCbMOGDTNbHCRTEYApjnweF549VLrxUewn9rNRSVregP1sCarhNuynD8eIUiI/DKMjgiRP0UBVJ+Hatk397hUBL3mKprJIHKV4sCggz1PYIvRiGBleyb5NtuaWdY4Rb+eJfa/o5Dr1ZbE95sT8999/h0HT6ZmUEWSaE2rxXTs/7JLOpohWGxeeneD3uBnHUw94PBpHIPrDMDoiqOmUqxQTfRlRm0zYcd3aC65L++s9k2HHaUqzJHsxvv/++24RXdZ/GzduzJN+lxMvypFnLzCP/fblqKayfnjrSx3VVI4uY1aVM0vb4DwThY4Tz2YN7n4H9vN/2cqVK92S8WvCi/3EfnYfibOfwH56UExbRvSHYXREUNN8wdtRovnm9u3bs5MnT+Ydp4VP/e2ll16aifL3TIadVju6lW4LQJ4RXRZldPPNN2enT5+eSROgmuldpR0Tlv7BY15fjmoq64e3vtQRThFBZswktypnlmcaGckYJ57dtHm4u3E8DceNpwpZ/yNORYv+MIyOCKoznjYxtdUFL+XTvne9qCxBrF7+yk9kxlbyvK7orUXF5KpVbUixdXHr1q2XiTLniDm69MI/c+ZMphNG+q4etnGMrlmzxu1Du0kPmiauTc+Xf1d+i9WrV2dVk7O6E7C6yrH7R8EzMgcS9vPGDPvZfnRgP2/PsJ/t9WWu28/oD8PoiKC6hU+bv/SdsxS1ySL9tm3blkf46//F2BbnPKP7JTd6q10xOXXVKEqxdVFJ2YtXMfXCvn37sv3792cHDhzIjhw5MuPwaz/CL7+zjWM0ImeW1crb0WU5wQadEii91Q4Rr2vceHq1a1A5OJ5SE56j5Ufn8Iie2IxiRVuOH8n99NNPZxJRi/OOHTvyv3tGeAxSS8nTpSSBnld0jiA5Lt55553LmjB//vw8d9aVV16ZPfTQQ65ttPbZy7bobFIElHIlWLLMYlj5sIzLjpnii8scMx4rW23qlzKCbJDOe28FjeaJ/fSPqMR++p0yh/28NSziF/vZ5i1z+T3R9jP6wzA6IsgcP0p8XUxErXmnco5GOWElz2s7X1FjonME2fdKsQ5ql3JnKUm952mgkqH2KXpMTiXJsfmoosaUhmHZsmV5v9p3Td9oq7Jjpuj4sUWLqIi1VBFkgyKkU2wFHSee3a1x9ydwPHVnxhPZpeN65fWNOhUt+sNQnZwyIqjJEVNWMkXoeB9fPQ6KnDLHRWT7qlYMbbKqehw9enTGcegVHSTni1YhNYnRhEMOLU0wFLWmbUCep8KMIgKi6Kwr96UXw2K50Tyxn8NHVGI/L2ku9nN4Kx893hXpOuhKEYGL/fQ7VTL6wzB1RFCTI6asp4reVgRNOf/o8KNvPJ5MmSMosoVV8yFzBr366quXbTP3iA6yrWgLFizIHZNKzaEoLl2af3qkkyjyG0UEmTnrqvrRg2Gx3Giekbo5gN8VV/wbkQVs1C1FviuBNhFInqeiqfKRE8VBsLwigtpsPSvXYflyv+OWVbYiY+RQkNGruh5//HH3lZkqOV45LsT0pptuyiOZLJlindJ7npImjnv27LkshNkimy5cuJDE8TTo+HFNAHbu3Oka0RUdAVG3nS5VRFckT+xnv4hK7Od/lg37OdzUJnK8Yz9930fR9nNcPgy9IoLabD0rjypFiXtGI2lMfPzxx9n58+crB3CUo8sjR5DNN+1wGTtsps4yeZ6SJseMnECWHqMY2aQUEMXoHS+niWTIwaRTt+3S4S/K07Vly5bhjPKAp6IjyGw+P2irnRYRvCO6Inm6ds4QhRHxNAQ0HrkU8RR9KlrkRHGu93Ex4aBWs0bpeJLsvhEstl2huK+9nHNpUJ+q/cXtjcP0vfG844478pf88ePH8xeychVob/2PP/6Y6cRCXbfe6r+Nw5yHnhPDYTh4PmOrslXJxRUh4BnRVa53ap7YT09NiS8L+/kfc+xnvP61kYj99M1xOE0fhm30q889toNBjgrNmaquKMeTZPd1xpRTLXSJKPOIDjKeNldStKOi4Q8fPpw98MADeQS80hZ88cUXeY5Rb6eJFgMXLVrkutjZR7/6PmuLOSqnKrm4R5/V1XGu8Sy3FcdTXw2d0udHkQOpiDr1h6FkjUtEUAoV04ty9+7deTLHUTsrPHJc6EXx0UcfzZzmob4rJ1us4qhoJIUJe5xwp5e/TrXTC18veuVLUNixJlf6t60M6f9ti2qfvlUbFbVl/Wf6qvKfeOKJpP2qPvOMGKviMMjRrNDuvXv3TvQkB/uZZVERlX3G2KBnsZ+XyGA/h9Mu7Odw3OypUdvPiA/DcYkI6tdT1U/LMaOr74KfR908cgTZfFPzLkXcq++U27PpsgXKvjmXJMfeSTq9zhaTNQfWIp0uS9zudSJwcYeByjd9XbFihXsO1SJHiy7zjBir6qdBjmY5oop50Jr6mN9nE8DxhFYMTSBlDiSFAitZrJ0cICP3119/hWz9EpBRrGhHn3JVzDs0tBK0fDA6R1DLauW39Y22qpNVdJBaeLtHyLpNvC2ZefH4V6uPh3Or/MLfsGHDrNBqvYhfeOGFpI4gjY2LFy9mFsrepX+r7h2HrVrYT9+tvNjPb5KOwUFjDvvZzhpZ3p7y1hTsZzt+5btS2k+be+qdrUv/VUSH1/unqcWjiAiSzC+//HJg6gXPCKSUNqOKbXSOoKb+Lf7eN9qqTpY5SHWPop10eRysY99nNsc0fdWCqxZevZxbxbapLUrfYg40/SZ5mzdvzp5++ukuyDvf671QMA5bXTtDcHwAx5MjTIq6lOxUV99T0cp7+OuOe03BPXpFO/qUFnNUaPtXRMLI6BwXXXRCdbvmmmtCOHSpV9290s9i8ljTV00EdN14o//x8cqxppd+1da3FBMNL1ZV5XRNTq32RUToYD+H63Xsp+8pnV16AfvZjhb209fRXEXdy36WHSPRjpLoiCCLOretbxYpo3m8/m0JpL2i4y06vCqHTrvR1O2u6BxBXWqnRVkPZ1AXmX3vlX4Wk2+bvmo7n+mSHFBe+lJcWK3a+mYpNvq2K+r5LlsxbUx6On6j2jlIDo6nUffABMmPTN4sj/DatWvz5HV33nlnvhKjnC5vv/32QGKeoZfRjq7oUwIF0VYtlAyw6tLHdoRTaoKGQG1VoyMuio4nJTLX5NBCgL0nyuVTJYsg6hKB9+lbfURolU7beaou72T7YjZ//vzLtvHZMdP6aLTEncO2Cfs5LLnm57CfzYzG/Q7s5y+u71vs57yheSriSfMjzY30ntm0aVN+uM26desGDiM72MRjnHm/v5vqpIggJfmW40BXMQpHkWU6Ndc7p6IYq8w1a9ZUVs+2rTXVnd8vEYiOWDPHk0Xff/XVV9mqVatm6Y9H/5RPlSyWae9+2x3jIU9lqF0WJVZVpsfOBSvXFs7Kidn1TtTWRc09NUbnyoXjaa70ZOJ2jCJ5cxevsJrv6fWOjgiKPqVFvJr49uUZ+aGdWP0bi4+OuDBnjxyzWlnS9o3iCpOdqOcVgtzkiNWkXBNIr9NMzOFTDKsud4JHXi4rU5O29evXV+be8jg1DPvZOIR63YD9zJLnXOvVQQ0PYz+xn3UqEm0/Nf9TXka9U9tetu297f1190VHBJUdXUXHk8bmwoULM488RNbmNnz78Bz1KXMeOtCljOiINXP2yFGiBVDllTp58mRe5eKJel4L13WOWNPPPvpSZm0OH7Vr0OU5HuRY+/nnn2ccv0WZHqcudtGliHtxPEVQngMyRpW82V4gBw4caIx48lxxUpdFRgRFn3JlEWVyLmlFr+rqwzN6ojjqITaKiAu9rJQYXaG4xRWRFKHO5a19Zd7eK7Smn8VVtJR93ORY69s+7Ofs3vOMqMR+/sfX45S5lGOtqmzs5/8uO/K8L3/s5yWCfZPf6yP67NmzrSKevPM/RUYEKZpC+XIsYrq4cJXiw94iyjRvUe6sqqsPz1GfMtd3/HZ9PjpiTTrx6KOP5tswpTeHDh2aiS4U+3379s04orq2per+8ta+8j3eebKkn4ryK7bLox2DymiaX3q3L2Vb2pSN46kNJe7pRaBpULUp3E6J8IqoaCMzdURQsQ7Rp7Q0ORLa8Km7Z1Qf2n3rPezzo4i4GFRX6ZIScXutNklO3XY6+83TSdTkCBq2nwY9Zx9qVatYtvq1a9eu5EksB026Vq5c2SuaDPv5euatn8Wtrt76iP283BGjiEollvWK4KzrL+xnd22e6/ZT76MlS5bMbCXqTqjbE6kjgsq1Uf9t3759xllQ3GpoJ6+dO3eud+5Wk9vkSOhGa/bd43DKXN82dHk+OmKtrm7l05a7tGPQvVqY2LNnT1aVE8wOLvLWz75zri7tNkdXVfvqbGsXGeN0L46nceqNOVqXSUw+mjoiqKqrU57SUpYXHcrdRbU9HJVd5HncGx1x4VHnrmWYI7YqubiO7PXMAVG39a1rvdvcX9zap1xZS5cuzR87depUHvmoy/uUwDb10j3Yz3aksJ+XOGE/2+lL9F3Yzz/cHBdd+m4S7WfqiKAyPztxcdu2bfmCVXmr+8GDB11zzMhWaxujvVu79GfqeycxuiQ6Yi11H1Tppw7M0VWVXFwpJyxaz6NudVvfPMovl2GLm/q7+nLx4sX5Leb0nbTDe5oY4XhqIsTvU0kgdURQW6hep7RUydNEWKdO7Ny5cyQTwkEMJnGiGB2x1lZ/PO+TLr711lvZe++9l+/pt0uOmr1797rrULR+qn07duzIJ8Pl9tmE3JPnXC4L+zm63sV+jo59nWTs5y3j2TFjWKvUEUFtm6x5jdfJZEWZltNtVFHEde2fxFPmoiPW2uqP533SRTmYlM/ULqWZkCPK0+mkskehn3I+aTyU2ydH1Lh9o/XtVxxPfQny/JwkMM4RQR7A9aJ68803s7rkzX2Ti3vUc5LKiIy4GDUXvSS1na9PHoa6NqCfo+7hfvKxn76HXfTrjcl4Gvvp10/YTz+WoyhpnCOCPHjYKWV1yds9k0V71Hmcy4iOWBs1C+UxnTdv+FMrm+qPfjYR6vc7jqd+/Hh6DhOIjriIRCnDfezYsVqR3sfVR7ZvXGSljFgblzamqAf6mYJqbJnYz+XJHLOxPTk6adjP4dhjP4fjNi5PjSLiIrLtcoyePn26VqTncfWRbRsnWaki1sapjSnqgn6moPpfmTie0vKl9AklwIrhhHYc1YYABEZOAPs58i6gAhCAwIQSIOJiQjuOakMAAo0EcDw1IuKGaSTAiuE09jpthgAEPAhgPz0oUgYEIDCNBIi4mMZep80QmA4COJ6mo59pJQQgAAEIQAACEIAABCAAAQhAAAIQCCeA4ykcOQIhAAEIQAACEIAABCAAAQhAAAIQgMB0EMDxNB39TCshAAEIQAACEIAABCAAAQhAAAIQgEA4ARxP4cgRCAEIQAACEIAABCAAAQhAAAIQgAAEpoMAjqfp6GdaCQEIQAACEIAABCAAAQhAAAIQgAAEwgngeApHjkAIQAACEIAABCAAAQhAAAIQgAAEIDAdBHA8TUc/00oIQAACEIAABCAAAQhAAAIQgAAEIBBOAMdTOHIEQgACEIAABCAAAQhAAAIQgAAEIACB6SCA42k6+plWQgACEIAABCAAAQhAAAIQgAAEIACBcAI4nsKRIxACEIAABCAAAQhAAAIQgAAEIAABCEwHARxP09HPtBICEIAABCAAAQhAAAIQgAAEIAABCIQTwPEUjhyBEIAABCAAAQhAAAIQgAAEIAABCEBgOgjgeJqOfqaVEIAABCAAAQhAAAIQgAAEIAABCEAgnACOp3DkCIQABCAAAQhAAAIQgAAEIAABCEAAAtNBAMfTdPQzrYQABCAAAQhAAAIQgAAEIAABCEAAAuEEcDyFI0cgBCAAAQhAAAIQgAAEIAABCEAAAhCYDgI4nqajn2klBCAAAQhAAAIQgAAEIAABCEAAAhAIJ4DjKRw5AiEAAQhAAAIQgAAEIAABCEAAAhCAwHQQwPE0Hf1MKyEAAQhAAAIQgAAEIAABCEAAAhCAQDgBHE/hyBEIAQhAAAIQgAAEIAABCEAAAhCAAASmgwCOp+noZ1oJAQhAAAIQgAAEIAABCEAAAhCAAATCCeB4CkeOQAhAAAIQgAAEIAABCEAAAhCAAAQgMB0EcDxNRz/TSghAAAIQgAAEIAABCEAAAhCAAAQgEE4Ax1M4cgRCAAIQgAAEIAABCEAAAhCAAAQgAIHpIIDjaTr6mVZCAAIQgAAEIAABCEAAAhCAAAQgAIFwAjiewpEjEAIQgAAEIAABCEAAAhCAAAQgAAEITAcBHE/T0c+0EgIQgAAEIAABCEAAAhCAAAQgAAEIhBPA8RSOHIEQgAAEIAABCEAAAhCAAAQgAAEIQGA6COB4mo5+ppUQgAAEIAABCEAAAhCAAAQgAAEIQCCcQO54CpeKQAhAAAIQgAAEIAABCEAAAhCAAAQgAIGpIPB/j83VkeN6VngAAAAASUVORK5CYII="/>
          <p:cNvSpPr>
            <a:spLocks noChangeAspect="1" noChangeArrowheads="1"/>
          </p:cNvSpPr>
          <p:nvPr/>
        </p:nvSpPr>
        <p:spPr bwMode="auto">
          <a:xfrm>
            <a:off x="1372209" y="1371900"/>
            <a:ext cx="304779" cy="30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1" b="0" i="0" u="none" strike="noStrike" kern="1200" cap="none" spc="0" normalizeH="0" baseline="0" noProof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Espaço Reservado para Número de Slide 3">
            <a:extLst>
              <a:ext uri="{FF2B5EF4-FFF2-40B4-BE49-F238E27FC236}">
                <a16:creationId xmlns:a16="http://schemas.microsoft.com/office/drawing/2014/main" id="{2B271398-023E-2F0B-5739-03CFF07A1122}"/>
              </a:ext>
            </a:extLst>
          </p:cNvPr>
          <p:cNvSpPr txBox="1">
            <a:spLocks/>
          </p:cNvSpPr>
          <p:nvPr/>
        </p:nvSpPr>
        <p:spPr>
          <a:xfrm>
            <a:off x="19052418" y="500289"/>
            <a:ext cx="746198" cy="609557"/>
          </a:xfrm>
          <a:prstGeom prst="rect">
            <a:avLst/>
          </a:prstGeom>
        </p:spPr>
        <p:txBody>
          <a:bodyPr lIns="150781" tIns="75390" rIns="150781" bIns="75390" anchor="t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3133" b="0" i="0" u="none" strike="noStrike" kern="1200" cap="none" spc="0" normalizeH="0" baseline="0" noProof="0" dirty="0">
              <a:ln>
                <a:noFill/>
              </a:ln>
              <a:solidFill>
                <a:srgbClr val="4A4A4A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171749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   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pt-BR" dirty="0"/>
              <a:t>  </a:t>
            </a: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C45B5D62-C914-46F4-9E9B-7B127C5A4D4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068"/>
          <a:stretch/>
        </p:blipFill>
        <p:spPr>
          <a:xfrm>
            <a:off x="64788" y="9754805"/>
            <a:ext cx="20039312" cy="1570420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F182D178-6134-47D0-9D12-C53531CDEA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36026" y="2448012"/>
            <a:ext cx="6464997" cy="1043913"/>
          </a:xfrm>
          <a:prstGeom prst="rect">
            <a:avLst/>
          </a:prstGeom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BD2666C1-F95D-49D6-A5A9-B02085858CBA}"/>
              </a:ext>
            </a:extLst>
          </p:cNvPr>
          <p:cNvSpPr/>
          <p:nvPr/>
        </p:nvSpPr>
        <p:spPr>
          <a:xfrm>
            <a:off x="2657017" y="6350672"/>
            <a:ext cx="6891928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3136" marR="0" lvl="0" indent="-342900" algn="l" defTabSz="914400" rtl="0" eaLnBrk="1" fontAlgn="auto" latinLnBrk="0" hangingPunct="1">
              <a:lnSpc>
                <a:spcPct val="100000"/>
              </a:lnSpc>
              <a:spcBef>
                <a:spcPts val="1193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4048" algn="l"/>
              </a:tabLst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8D94"/>
                </a:solidFill>
                <a:effectLst/>
                <a:uLnTx/>
                <a:uFill>
                  <a:solidFill>
                    <a:srgbClr val="29B4AC"/>
                  </a:solidFill>
                </a:uFill>
                <a:latin typeface="Calibri"/>
                <a:ea typeface="+mn-ea"/>
                <a:cs typeface="Calibri"/>
              </a:rPr>
              <a:t>22 cargas de óleo</a:t>
            </a:r>
          </a:p>
          <a:p>
            <a:pPr marL="353136" marR="0" lvl="0" indent="-342900" algn="l" defTabSz="914400" rtl="0" eaLnBrk="1" fontAlgn="auto" latinLnBrk="0" hangingPunct="1">
              <a:lnSpc>
                <a:spcPct val="100000"/>
              </a:lnSpc>
              <a:spcBef>
                <a:spcPts val="1193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>
                <a:tab pos="3404048" algn="l"/>
              </a:tabLst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8D94"/>
                </a:solidFill>
                <a:effectLst/>
                <a:uLnTx/>
                <a:uFill>
                  <a:solidFill>
                    <a:srgbClr val="29B4AC"/>
                  </a:solidFill>
                </a:uFill>
                <a:latin typeface="Calibri"/>
                <a:ea typeface="+mn-ea"/>
                <a:cs typeface="Calibri"/>
              </a:rPr>
              <a:t>11</a:t>
            </a: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008D94"/>
                </a:solidFill>
                <a:effectLst/>
                <a:uLnTx/>
                <a:uFill>
                  <a:solidFill>
                    <a:srgbClr val="29B4AC"/>
                  </a:solidFill>
                </a:uFill>
                <a:latin typeface="Calibri"/>
                <a:ea typeface="+mn-ea"/>
                <a:cs typeface="Calibri"/>
              </a:rPr>
              <a:t> 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008D94"/>
                </a:solidFill>
                <a:effectLst/>
                <a:uLnTx/>
                <a:uFill>
                  <a:solidFill>
                    <a:srgbClr val="29B4AC"/>
                  </a:solidFill>
                </a:uFill>
                <a:latin typeface="Calibri"/>
                <a:ea typeface="+mn-ea"/>
                <a:cs typeface="Calibri"/>
              </a:rPr>
              <a:t>milhões de barris de petróleo da União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C85DE40F-D071-4B86-BDD6-4C11249BF6C0}"/>
              </a:ext>
            </a:extLst>
          </p:cNvPr>
          <p:cNvSpPr/>
          <p:nvPr/>
        </p:nvSpPr>
        <p:spPr>
          <a:xfrm flipH="1">
            <a:off x="4861808" y="3033125"/>
            <a:ext cx="354576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4" normalizeH="0" baseline="0" noProof="0" dirty="0">
                <a:ln>
                  <a:noFill/>
                </a:ln>
                <a:solidFill>
                  <a:srgbClr val="00527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mercializaçã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4" normalizeH="0" baseline="0" noProof="0" dirty="0">
                <a:ln>
                  <a:noFill/>
                </a:ln>
                <a:solidFill>
                  <a:srgbClr val="00527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 petróleo e gás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id="{4C1BB9D2-91CB-474D-A747-1E44FCC9BEA1}"/>
              </a:ext>
            </a:extLst>
          </p:cNvPr>
          <p:cNvSpPr/>
          <p:nvPr/>
        </p:nvSpPr>
        <p:spPr>
          <a:xfrm>
            <a:off x="2657017" y="7633937"/>
            <a:ext cx="6464783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8D94"/>
                </a:solidFill>
                <a:effectLst/>
                <a:uLnTx/>
                <a:uFill>
                  <a:solidFill>
                    <a:srgbClr val="29B4AC"/>
                  </a:solidFill>
                </a:uFill>
                <a:latin typeface="Calibri"/>
                <a:ea typeface="+mn-ea"/>
                <a:cs typeface="Calibri"/>
              </a:rPr>
              <a:t>65</a:t>
            </a: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008D94"/>
                </a:solidFill>
                <a:effectLst/>
                <a:uLnTx/>
                <a:uFill>
                  <a:solidFill>
                    <a:srgbClr val="29B4AC"/>
                  </a:solidFill>
                </a:uFill>
                <a:latin typeface="Calibri"/>
                <a:ea typeface="+mn-ea"/>
                <a:cs typeface="Calibri"/>
              </a:rPr>
              <a:t> 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008D94"/>
                </a:solidFill>
                <a:effectLst/>
                <a:uLnTx/>
                <a:uFill>
                  <a:solidFill>
                    <a:srgbClr val="29B4AC"/>
                  </a:solidFill>
                </a:uFill>
                <a:latin typeface="Calibri"/>
                <a:ea typeface="+mn-ea"/>
                <a:cs typeface="Calibri"/>
              </a:rPr>
              <a:t>milhões de metros cúbicos do gás da Uniã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008D94"/>
                </a:solidFill>
                <a:effectLst/>
                <a:uLnTx/>
                <a:uFill>
                  <a:solidFill>
                    <a:srgbClr val="29B4AC"/>
                  </a:solidFill>
                </a:uFill>
                <a:latin typeface="Calibri"/>
                <a:ea typeface="+mn-ea"/>
                <a:cs typeface="Calibri"/>
              </a:rPr>
              <a:t> 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8D17089A-625D-4239-BEDC-03E78285E72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0466" r="12089" b="17617"/>
          <a:stretch/>
        </p:blipFill>
        <p:spPr>
          <a:xfrm>
            <a:off x="4633447" y="4332915"/>
            <a:ext cx="4156026" cy="1054514"/>
          </a:xfrm>
          <a:prstGeom prst="rect">
            <a:avLst/>
          </a:prstGeom>
        </p:spPr>
      </p:pic>
      <p:grpSp>
        <p:nvGrpSpPr>
          <p:cNvPr id="27" name="Agrupar 26">
            <a:extLst>
              <a:ext uri="{FF2B5EF4-FFF2-40B4-BE49-F238E27FC236}">
                <a16:creationId xmlns:a16="http://schemas.microsoft.com/office/drawing/2014/main" id="{B8C5E210-E787-46F5-9B98-061C3B5CD3C0}"/>
              </a:ext>
            </a:extLst>
          </p:cNvPr>
          <p:cNvGrpSpPr/>
          <p:nvPr/>
        </p:nvGrpSpPr>
        <p:grpSpPr>
          <a:xfrm>
            <a:off x="2958475" y="3678182"/>
            <a:ext cx="1328554" cy="1247668"/>
            <a:chOff x="4492319" y="7827767"/>
            <a:chExt cx="1089025" cy="1089025"/>
          </a:xfrm>
        </p:grpSpPr>
        <p:sp>
          <p:nvSpPr>
            <p:cNvPr id="28" name="object 12">
              <a:extLst>
                <a:ext uri="{FF2B5EF4-FFF2-40B4-BE49-F238E27FC236}">
                  <a16:creationId xmlns:a16="http://schemas.microsoft.com/office/drawing/2014/main" id="{56BA0849-1B18-46A2-97A2-66A2624848DE}"/>
                </a:ext>
              </a:extLst>
            </p:cNvPr>
            <p:cNvSpPr/>
            <p:nvPr/>
          </p:nvSpPr>
          <p:spPr>
            <a:xfrm>
              <a:off x="4492319" y="7827767"/>
              <a:ext cx="1089025" cy="1089025"/>
            </a:xfrm>
            <a:custGeom>
              <a:avLst/>
              <a:gdLst/>
              <a:ahLst/>
              <a:cxnLst/>
              <a:rect l="l" t="t" r="r" b="b"/>
              <a:pathLst>
                <a:path w="1089025" h="1089025">
                  <a:moveTo>
                    <a:pt x="544423" y="0"/>
                  </a:moveTo>
                  <a:lnTo>
                    <a:pt x="497447" y="1998"/>
                  </a:lnTo>
                  <a:lnTo>
                    <a:pt x="451581" y="7884"/>
                  </a:lnTo>
                  <a:lnTo>
                    <a:pt x="406988" y="17494"/>
                  </a:lnTo>
                  <a:lnTo>
                    <a:pt x="363832" y="30664"/>
                  </a:lnTo>
                  <a:lnTo>
                    <a:pt x="322276" y="47233"/>
                  </a:lnTo>
                  <a:lnTo>
                    <a:pt x="282484" y="67035"/>
                  </a:lnTo>
                  <a:lnTo>
                    <a:pt x="244618" y="89908"/>
                  </a:lnTo>
                  <a:lnTo>
                    <a:pt x="208842" y="115689"/>
                  </a:lnTo>
                  <a:lnTo>
                    <a:pt x="175320" y="144214"/>
                  </a:lnTo>
                  <a:lnTo>
                    <a:pt x="144215" y="175319"/>
                  </a:lnTo>
                  <a:lnTo>
                    <a:pt x="115691" y="208842"/>
                  </a:lnTo>
                  <a:lnTo>
                    <a:pt x="89910" y="244618"/>
                  </a:lnTo>
                  <a:lnTo>
                    <a:pt x="67037" y="282486"/>
                  </a:lnTo>
                  <a:lnTo>
                    <a:pt x="47234" y="322280"/>
                  </a:lnTo>
                  <a:lnTo>
                    <a:pt x="30665" y="363839"/>
                  </a:lnTo>
                  <a:lnTo>
                    <a:pt x="17494" y="406997"/>
                  </a:lnTo>
                  <a:lnTo>
                    <a:pt x="7884" y="451594"/>
                  </a:lnTo>
                  <a:lnTo>
                    <a:pt x="1998" y="497463"/>
                  </a:lnTo>
                  <a:lnTo>
                    <a:pt x="0" y="544444"/>
                  </a:lnTo>
                  <a:lnTo>
                    <a:pt x="1998" y="591418"/>
                  </a:lnTo>
                  <a:lnTo>
                    <a:pt x="7884" y="637282"/>
                  </a:lnTo>
                  <a:lnTo>
                    <a:pt x="17494" y="681873"/>
                  </a:lnTo>
                  <a:lnTo>
                    <a:pt x="30665" y="725027"/>
                  </a:lnTo>
                  <a:lnTo>
                    <a:pt x="47234" y="766582"/>
                  </a:lnTo>
                  <a:lnTo>
                    <a:pt x="67037" y="806373"/>
                  </a:lnTo>
                  <a:lnTo>
                    <a:pt x="89910" y="844238"/>
                  </a:lnTo>
                  <a:lnTo>
                    <a:pt x="115691" y="880012"/>
                  </a:lnTo>
                  <a:lnTo>
                    <a:pt x="144215" y="913532"/>
                  </a:lnTo>
                  <a:lnTo>
                    <a:pt x="175320" y="944636"/>
                  </a:lnTo>
                  <a:lnTo>
                    <a:pt x="208842" y="973159"/>
                  </a:lnTo>
                  <a:lnTo>
                    <a:pt x="244618" y="998939"/>
                  </a:lnTo>
                  <a:lnTo>
                    <a:pt x="282484" y="1021812"/>
                  </a:lnTo>
                  <a:lnTo>
                    <a:pt x="322276" y="1041613"/>
                  </a:lnTo>
                  <a:lnTo>
                    <a:pt x="363832" y="1058181"/>
                  </a:lnTo>
                  <a:lnTo>
                    <a:pt x="406988" y="1071352"/>
                  </a:lnTo>
                  <a:lnTo>
                    <a:pt x="451581" y="1080962"/>
                  </a:lnTo>
                  <a:lnTo>
                    <a:pt x="497447" y="1086848"/>
                  </a:lnTo>
                  <a:lnTo>
                    <a:pt x="544423" y="1088846"/>
                  </a:lnTo>
                  <a:lnTo>
                    <a:pt x="591398" y="1086848"/>
                  </a:lnTo>
                  <a:lnTo>
                    <a:pt x="637264" y="1080962"/>
                  </a:lnTo>
                  <a:lnTo>
                    <a:pt x="681857" y="1071352"/>
                  </a:lnTo>
                  <a:lnTo>
                    <a:pt x="725013" y="1058181"/>
                  </a:lnTo>
                  <a:lnTo>
                    <a:pt x="766569" y="1041613"/>
                  </a:lnTo>
                  <a:lnTo>
                    <a:pt x="806362" y="1021812"/>
                  </a:lnTo>
                  <a:lnTo>
                    <a:pt x="844228" y="998939"/>
                  </a:lnTo>
                  <a:lnTo>
                    <a:pt x="880003" y="973159"/>
                  </a:lnTo>
                  <a:lnTo>
                    <a:pt x="913525" y="944636"/>
                  </a:lnTo>
                  <a:lnTo>
                    <a:pt x="944630" y="913532"/>
                  </a:lnTo>
                  <a:lnTo>
                    <a:pt x="973155" y="880012"/>
                  </a:lnTo>
                  <a:lnTo>
                    <a:pt x="998935" y="844238"/>
                  </a:lnTo>
                  <a:lnTo>
                    <a:pt x="1021809" y="806373"/>
                  </a:lnTo>
                  <a:lnTo>
                    <a:pt x="1041611" y="766582"/>
                  </a:lnTo>
                  <a:lnTo>
                    <a:pt x="1058180" y="725027"/>
                  </a:lnTo>
                  <a:lnTo>
                    <a:pt x="1071351" y="681873"/>
                  </a:lnTo>
                  <a:lnTo>
                    <a:pt x="1080962" y="637282"/>
                  </a:lnTo>
                  <a:lnTo>
                    <a:pt x="1086848" y="591418"/>
                  </a:lnTo>
                  <a:lnTo>
                    <a:pt x="1088846" y="544444"/>
                  </a:lnTo>
                  <a:lnTo>
                    <a:pt x="1086848" y="497463"/>
                  </a:lnTo>
                  <a:lnTo>
                    <a:pt x="1080962" y="451594"/>
                  </a:lnTo>
                  <a:lnTo>
                    <a:pt x="1071351" y="406997"/>
                  </a:lnTo>
                  <a:lnTo>
                    <a:pt x="1058180" y="363839"/>
                  </a:lnTo>
                  <a:lnTo>
                    <a:pt x="1041611" y="322280"/>
                  </a:lnTo>
                  <a:lnTo>
                    <a:pt x="1021809" y="282486"/>
                  </a:lnTo>
                  <a:lnTo>
                    <a:pt x="998935" y="244618"/>
                  </a:lnTo>
                  <a:lnTo>
                    <a:pt x="973155" y="208842"/>
                  </a:lnTo>
                  <a:lnTo>
                    <a:pt x="944630" y="175319"/>
                  </a:lnTo>
                  <a:lnTo>
                    <a:pt x="913525" y="144214"/>
                  </a:lnTo>
                  <a:lnTo>
                    <a:pt x="880003" y="115689"/>
                  </a:lnTo>
                  <a:lnTo>
                    <a:pt x="844228" y="89908"/>
                  </a:lnTo>
                  <a:lnTo>
                    <a:pt x="806362" y="67035"/>
                  </a:lnTo>
                  <a:lnTo>
                    <a:pt x="766569" y="47233"/>
                  </a:lnTo>
                  <a:lnTo>
                    <a:pt x="725013" y="30664"/>
                  </a:lnTo>
                  <a:lnTo>
                    <a:pt x="681857" y="17494"/>
                  </a:lnTo>
                  <a:lnTo>
                    <a:pt x="637264" y="7884"/>
                  </a:lnTo>
                  <a:lnTo>
                    <a:pt x="591398" y="1998"/>
                  </a:lnTo>
                  <a:lnTo>
                    <a:pt x="544423" y="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chemeClr val="accent1">
                  <a:lumMod val="90000"/>
                  <a:lumOff val="10000"/>
                </a:schemeClr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220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object 13">
              <a:extLst>
                <a:ext uri="{FF2B5EF4-FFF2-40B4-BE49-F238E27FC236}">
                  <a16:creationId xmlns:a16="http://schemas.microsoft.com/office/drawing/2014/main" id="{D86EA24C-39EA-4CE7-A362-40E90821C40D}"/>
                </a:ext>
              </a:extLst>
            </p:cNvPr>
            <p:cNvSpPr/>
            <p:nvPr/>
          </p:nvSpPr>
          <p:spPr>
            <a:xfrm>
              <a:off x="4492319" y="7827767"/>
              <a:ext cx="1089025" cy="1089025"/>
            </a:xfrm>
            <a:custGeom>
              <a:avLst/>
              <a:gdLst/>
              <a:ahLst/>
              <a:cxnLst/>
              <a:rect l="l" t="t" r="r" b="b"/>
              <a:pathLst>
                <a:path w="1089025" h="1089025">
                  <a:moveTo>
                    <a:pt x="544423" y="1088846"/>
                  </a:moveTo>
                  <a:lnTo>
                    <a:pt x="591398" y="1086848"/>
                  </a:lnTo>
                  <a:lnTo>
                    <a:pt x="637264" y="1080962"/>
                  </a:lnTo>
                  <a:lnTo>
                    <a:pt x="681857" y="1071352"/>
                  </a:lnTo>
                  <a:lnTo>
                    <a:pt x="725013" y="1058181"/>
                  </a:lnTo>
                  <a:lnTo>
                    <a:pt x="766569" y="1041613"/>
                  </a:lnTo>
                  <a:lnTo>
                    <a:pt x="806362" y="1021812"/>
                  </a:lnTo>
                  <a:lnTo>
                    <a:pt x="844228" y="998939"/>
                  </a:lnTo>
                  <a:lnTo>
                    <a:pt x="880003" y="973159"/>
                  </a:lnTo>
                  <a:lnTo>
                    <a:pt x="913525" y="944636"/>
                  </a:lnTo>
                  <a:lnTo>
                    <a:pt x="944630" y="913532"/>
                  </a:lnTo>
                  <a:lnTo>
                    <a:pt x="973155" y="880012"/>
                  </a:lnTo>
                  <a:lnTo>
                    <a:pt x="998935" y="844238"/>
                  </a:lnTo>
                  <a:lnTo>
                    <a:pt x="1021809" y="806373"/>
                  </a:lnTo>
                  <a:lnTo>
                    <a:pt x="1041611" y="766582"/>
                  </a:lnTo>
                  <a:lnTo>
                    <a:pt x="1058180" y="725027"/>
                  </a:lnTo>
                  <a:lnTo>
                    <a:pt x="1071351" y="681873"/>
                  </a:lnTo>
                  <a:lnTo>
                    <a:pt x="1080962" y="637282"/>
                  </a:lnTo>
                  <a:lnTo>
                    <a:pt x="1086848" y="591418"/>
                  </a:lnTo>
                  <a:lnTo>
                    <a:pt x="1088846" y="544444"/>
                  </a:lnTo>
                  <a:lnTo>
                    <a:pt x="1086848" y="497463"/>
                  </a:lnTo>
                  <a:lnTo>
                    <a:pt x="1080962" y="451594"/>
                  </a:lnTo>
                  <a:lnTo>
                    <a:pt x="1071351" y="406997"/>
                  </a:lnTo>
                  <a:lnTo>
                    <a:pt x="1058180" y="363839"/>
                  </a:lnTo>
                  <a:lnTo>
                    <a:pt x="1041611" y="322280"/>
                  </a:lnTo>
                  <a:lnTo>
                    <a:pt x="1021809" y="282486"/>
                  </a:lnTo>
                  <a:lnTo>
                    <a:pt x="998935" y="244618"/>
                  </a:lnTo>
                  <a:lnTo>
                    <a:pt x="973155" y="208842"/>
                  </a:lnTo>
                  <a:lnTo>
                    <a:pt x="944630" y="175319"/>
                  </a:lnTo>
                  <a:lnTo>
                    <a:pt x="913525" y="144214"/>
                  </a:lnTo>
                  <a:lnTo>
                    <a:pt x="880003" y="115689"/>
                  </a:lnTo>
                  <a:lnTo>
                    <a:pt x="844228" y="89908"/>
                  </a:lnTo>
                  <a:lnTo>
                    <a:pt x="806362" y="67035"/>
                  </a:lnTo>
                  <a:lnTo>
                    <a:pt x="766569" y="47233"/>
                  </a:lnTo>
                  <a:lnTo>
                    <a:pt x="725013" y="30664"/>
                  </a:lnTo>
                  <a:lnTo>
                    <a:pt x="681857" y="17494"/>
                  </a:lnTo>
                  <a:lnTo>
                    <a:pt x="637264" y="7884"/>
                  </a:lnTo>
                  <a:lnTo>
                    <a:pt x="591398" y="1998"/>
                  </a:lnTo>
                  <a:lnTo>
                    <a:pt x="544423" y="0"/>
                  </a:lnTo>
                  <a:lnTo>
                    <a:pt x="497447" y="1998"/>
                  </a:lnTo>
                  <a:lnTo>
                    <a:pt x="451581" y="7884"/>
                  </a:lnTo>
                  <a:lnTo>
                    <a:pt x="406988" y="17494"/>
                  </a:lnTo>
                  <a:lnTo>
                    <a:pt x="363832" y="30664"/>
                  </a:lnTo>
                  <a:lnTo>
                    <a:pt x="322276" y="47233"/>
                  </a:lnTo>
                  <a:lnTo>
                    <a:pt x="282484" y="67035"/>
                  </a:lnTo>
                  <a:lnTo>
                    <a:pt x="244618" y="89908"/>
                  </a:lnTo>
                  <a:lnTo>
                    <a:pt x="208842" y="115689"/>
                  </a:lnTo>
                  <a:lnTo>
                    <a:pt x="175320" y="144214"/>
                  </a:lnTo>
                  <a:lnTo>
                    <a:pt x="144215" y="175319"/>
                  </a:lnTo>
                  <a:lnTo>
                    <a:pt x="115691" y="208842"/>
                  </a:lnTo>
                  <a:lnTo>
                    <a:pt x="89910" y="244618"/>
                  </a:lnTo>
                  <a:lnTo>
                    <a:pt x="67037" y="282486"/>
                  </a:lnTo>
                  <a:lnTo>
                    <a:pt x="47234" y="322280"/>
                  </a:lnTo>
                  <a:lnTo>
                    <a:pt x="30665" y="363839"/>
                  </a:lnTo>
                  <a:lnTo>
                    <a:pt x="17494" y="406997"/>
                  </a:lnTo>
                  <a:lnTo>
                    <a:pt x="7884" y="451594"/>
                  </a:lnTo>
                  <a:lnTo>
                    <a:pt x="1998" y="497463"/>
                  </a:lnTo>
                  <a:lnTo>
                    <a:pt x="0" y="544444"/>
                  </a:lnTo>
                  <a:lnTo>
                    <a:pt x="1998" y="591418"/>
                  </a:lnTo>
                  <a:lnTo>
                    <a:pt x="7884" y="637282"/>
                  </a:lnTo>
                  <a:lnTo>
                    <a:pt x="17494" y="681873"/>
                  </a:lnTo>
                  <a:lnTo>
                    <a:pt x="30665" y="725027"/>
                  </a:lnTo>
                  <a:lnTo>
                    <a:pt x="47234" y="766582"/>
                  </a:lnTo>
                  <a:lnTo>
                    <a:pt x="67037" y="806373"/>
                  </a:lnTo>
                  <a:lnTo>
                    <a:pt x="89910" y="844238"/>
                  </a:lnTo>
                  <a:lnTo>
                    <a:pt x="115691" y="880012"/>
                  </a:lnTo>
                  <a:lnTo>
                    <a:pt x="144215" y="913532"/>
                  </a:lnTo>
                  <a:lnTo>
                    <a:pt x="175320" y="944636"/>
                  </a:lnTo>
                  <a:lnTo>
                    <a:pt x="208842" y="973159"/>
                  </a:lnTo>
                  <a:lnTo>
                    <a:pt x="244618" y="998939"/>
                  </a:lnTo>
                  <a:lnTo>
                    <a:pt x="282484" y="1021812"/>
                  </a:lnTo>
                  <a:lnTo>
                    <a:pt x="322276" y="1041613"/>
                  </a:lnTo>
                  <a:lnTo>
                    <a:pt x="363832" y="1058181"/>
                  </a:lnTo>
                  <a:lnTo>
                    <a:pt x="406988" y="1071352"/>
                  </a:lnTo>
                  <a:lnTo>
                    <a:pt x="451581" y="1080962"/>
                  </a:lnTo>
                  <a:lnTo>
                    <a:pt x="497447" y="1086848"/>
                  </a:lnTo>
                  <a:lnTo>
                    <a:pt x="544423" y="1088846"/>
                  </a:lnTo>
                  <a:close/>
                </a:path>
              </a:pathLst>
            </a:custGeom>
            <a:ln w="57150">
              <a:solidFill>
                <a:schemeClr val="accent1">
                  <a:lumMod val="90000"/>
                  <a:lumOff val="10000"/>
                </a:schemeClr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220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object 14">
              <a:extLst>
                <a:ext uri="{FF2B5EF4-FFF2-40B4-BE49-F238E27FC236}">
                  <a16:creationId xmlns:a16="http://schemas.microsoft.com/office/drawing/2014/main" id="{D8D9300D-5359-4BCB-A1A1-01DADD9A2BEB}"/>
                </a:ext>
              </a:extLst>
            </p:cNvPr>
            <p:cNvSpPr/>
            <p:nvPr/>
          </p:nvSpPr>
          <p:spPr>
            <a:xfrm>
              <a:off x="4930452" y="8344172"/>
              <a:ext cx="220202" cy="85316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220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object 15">
              <a:extLst>
                <a:ext uri="{FF2B5EF4-FFF2-40B4-BE49-F238E27FC236}">
                  <a16:creationId xmlns:a16="http://schemas.microsoft.com/office/drawing/2014/main" id="{397CE46E-265D-4CC5-8E7E-207A3A6A35AA}"/>
                </a:ext>
              </a:extLst>
            </p:cNvPr>
            <p:cNvSpPr/>
            <p:nvPr/>
          </p:nvSpPr>
          <p:spPr>
            <a:xfrm>
              <a:off x="4718317" y="8048983"/>
              <a:ext cx="537210" cy="647065"/>
            </a:xfrm>
            <a:custGeom>
              <a:avLst/>
              <a:gdLst/>
              <a:ahLst/>
              <a:cxnLst/>
              <a:rect l="l" t="t" r="r" b="b"/>
              <a:pathLst>
                <a:path w="537210" h="647065">
                  <a:moveTo>
                    <a:pt x="255549" y="194308"/>
                  </a:moveTo>
                  <a:lnTo>
                    <a:pt x="204650" y="194308"/>
                  </a:lnTo>
                  <a:lnTo>
                    <a:pt x="250586" y="240254"/>
                  </a:lnTo>
                  <a:lnTo>
                    <a:pt x="198971" y="255184"/>
                  </a:lnTo>
                  <a:lnTo>
                    <a:pt x="158984" y="277344"/>
                  </a:lnTo>
                  <a:lnTo>
                    <a:pt x="133145" y="305422"/>
                  </a:lnTo>
                  <a:lnTo>
                    <a:pt x="124007" y="337979"/>
                  </a:lnTo>
                  <a:lnTo>
                    <a:pt x="123972" y="530004"/>
                  </a:lnTo>
                  <a:lnTo>
                    <a:pt x="133927" y="567179"/>
                  </a:lnTo>
                  <a:lnTo>
                    <a:pt x="161766" y="599189"/>
                  </a:lnTo>
                  <a:lnTo>
                    <a:pt x="204455" y="624254"/>
                  </a:lnTo>
                  <a:lnTo>
                    <a:pt x="258958" y="640598"/>
                  </a:lnTo>
                  <a:lnTo>
                    <a:pt x="322238" y="646441"/>
                  </a:lnTo>
                  <a:lnTo>
                    <a:pt x="385562" y="640598"/>
                  </a:lnTo>
                  <a:lnTo>
                    <a:pt x="440068" y="624254"/>
                  </a:lnTo>
                  <a:lnTo>
                    <a:pt x="463403" y="610546"/>
                  </a:lnTo>
                  <a:lnTo>
                    <a:pt x="322238" y="610546"/>
                  </a:lnTo>
                  <a:lnTo>
                    <a:pt x="255855" y="603419"/>
                  </a:lnTo>
                  <a:lnTo>
                    <a:pt x="204636" y="584874"/>
                  </a:lnTo>
                  <a:lnTo>
                    <a:pt x="171574" y="559013"/>
                  </a:lnTo>
                  <a:lnTo>
                    <a:pt x="159856" y="530004"/>
                  </a:lnTo>
                  <a:lnTo>
                    <a:pt x="159856" y="499084"/>
                  </a:lnTo>
                  <a:lnTo>
                    <a:pt x="240058" y="499084"/>
                  </a:lnTo>
                  <a:lnTo>
                    <a:pt x="204636" y="486258"/>
                  </a:lnTo>
                  <a:lnTo>
                    <a:pt x="171574" y="460394"/>
                  </a:lnTo>
                  <a:lnTo>
                    <a:pt x="159856" y="431379"/>
                  </a:lnTo>
                  <a:lnTo>
                    <a:pt x="159856" y="399443"/>
                  </a:lnTo>
                  <a:lnTo>
                    <a:pt x="252965" y="399443"/>
                  </a:lnTo>
                  <a:lnTo>
                    <a:pt x="205162" y="384555"/>
                  </a:lnTo>
                  <a:lnTo>
                    <a:pt x="171771" y="362459"/>
                  </a:lnTo>
                  <a:lnTo>
                    <a:pt x="159856" y="337979"/>
                  </a:lnTo>
                  <a:lnTo>
                    <a:pt x="171771" y="313499"/>
                  </a:lnTo>
                  <a:lnTo>
                    <a:pt x="205162" y="291403"/>
                  </a:lnTo>
                  <a:lnTo>
                    <a:pt x="256495" y="275415"/>
                  </a:lnTo>
                  <a:lnTo>
                    <a:pt x="322238" y="269258"/>
                  </a:lnTo>
                  <a:lnTo>
                    <a:pt x="471290" y="269258"/>
                  </a:lnTo>
                  <a:lnTo>
                    <a:pt x="443666" y="254258"/>
                  </a:lnTo>
                  <a:lnTo>
                    <a:pt x="390835" y="239516"/>
                  </a:lnTo>
                  <a:lnTo>
                    <a:pt x="328720" y="233636"/>
                  </a:lnTo>
                  <a:lnTo>
                    <a:pt x="337124" y="225239"/>
                  </a:lnTo>
                  <a:lnTo>
                    <a:pt x="286480" y="225239"/>
                  </a:lnTo>
                  <a:lnTo>
                    <a:pt x="255549" y="194308"/>
                  </a:lnTo>
                  <a:close/>
                </a:path>
                <a:path w="537210" h="647065">
                  <a:moveTo>
                    <a:pt x="520494" y="499084"/>
                  </a:moveTo>
                  <a:lnTo>
                    <a:pt x="484610" y="499084"/>
                  </a:lnTo>
                  <a:lnTo>
                    <a:pt x="484610" y="530004"/>
                  </a:lnTo>
                  <a:lnTo>
                    <a:pt x="472892" y="558960"/>
                  </a:lnTo>
                  <a:lnTo>
                    <a:pt x="439832" y="584827"/>
                  </a:lnTo>
                  <a:lnTo>
                    <a:pt x="388567" y="603419"/>
                  </a:lnTo>
                  <a:lnTo>
                    <a:pt x="322238" y="610546"/>
                  </a:lnTo>
                  <a:lnTo>
                    <a:pt x="463403" y="610546"/>
                  </a:lnTo>
                  <a:lnTo>
                    <a:pt x="482737" y="599189"/>
                  </a:lnTo>
                  <a:lnTo>
                    <a:pt x="510552" y="567179"/>
                  </a:lnTo>
                  <a:lnTo>
                    <a:pt x="520494" y="530004"/>
                  </a:lnTo>
                  <a:lnTo>
                    <a:pt x="520494" y="499084"/>
                  </a:lnTo>
                  <a:close/>
                </a:path>
                <a:path w="537210" h="647065">
                  <a:moveTo>
                    <a:pt x="240058" y="499084"/>
                  </a:moveTo>
                  <a:lnTo>
                    <a:pt x="159856" y="499084"/>
                  </a:lnTo>
                  <a:lnTo>
                    <a:pt x="190704" y="519276"/>
                  </a:lnTo>
                  <a:lnTo>
                    <a:pt x="228926" y="534676"/>
                  </a:lnTo>
                  <a:lnTo>
                    <a:pt x="273208" y="544493"/>
                  </a:lnTo>
                  <a:lnTo>
                    <a:pt x="322238" y="547941"/>
                  </a:lnTo>
                  <a:lnTo>
                    <a:pt x="371280" y="544493"/>
                  </a:lnTo>
                  <a:lnTo>
                    <a:pt x="415589" y="534676"/>
                  </a:lnTo>
                  <a:lnTo>
                    <a:pt x="453815" y="519276"/>
                  </a:lnTo>
                  <a:lnTo>
                    <a:pt x="465017" y="511932"/>
                  </a:lnTo>
                  <a:lnTo>
                    <a:pt x="322238" y="511932"/>
                  </a:lnTo>
                  <a:lnTo>
                    <a:pt x="255904" y="504821"/>
                  </a:lnTo>
                  <a:lnTo>
                    <a:pt x="240058" y="499084"/>
                  </a:lnTo>
                  <a:close/>
                </a:path>
                <a:path w="537210" h="647065">
                  <a:moveTo>
                    <a:pt x="520494" y="399443"/>
                  </a:moveTo>
                  <a:lnTo>
                    <a:pt x="484610" y="399443"/>
                  </a:lnTo>
                  <a:lnTo>
                    <a:pt x="484610" y="431379"/>
                  </a:lnTo>
                  <a:lnTo>
                    <a:pt x="472892" y="460394"/>
                  </a:lnTo>
                  <a:lnTo>
                    <a:pt x="439832" y="486258"/>
                  </a:lnTo>
                  <a:lnTo>
                    <a:pt x="388567" y="504821"/>
                  </a:lnTo>
                  <a:lnTo>
                    <a:pt x="322238" y="511932"/>
                  </a:lnTo>
                  <a:lnTo>
                    <a:pt x="465017" y="511932"/>
                  </a:lnTo>
                  <a:lnTo>
                    <a:pt x="484610" y="499084"/>
                  </a:lnTo>
                  <a:lnTo>
                    <a:pt x="520494" y="499084"/>
                  </a:lnTo>
                  <a:lnTo>
                    <a:pt x="520494" y="399443"/>
                  </a:lnTo>
                  <a:close/>
                </a:path>
                <a:path w="537210" h="647065">
                  <a:moveTo>
                    <a:pt x="252965" y="399443"/>
                  </a:moveTo>
                  <a:lnTo>
                    <a:pt x="159856" y="399443"/>
                  </a:lnTo>
                  <a:lnTo>
                    <a:pt x="190438" y="417351"/>
                  </a:lnTo>
                  <a:lnTo>
                    <a:pt x="228498" y="430939"/>
                  </a:lnTo>
                  <a:lnTo>
                    <a:pt x="272832" y="439565"/>
                  </a:lnTo>
                  <a:lnTo>
                    <a:pt x="322238" y="442583"/>
                  </a:lnTo>
                  <a:lnTo>
                    <a:pt x="371691" y="439565"/>
                  </a:lnTo>
                  <a:lnTo>
                    <a:pt x="416017" y="430939"/>
                  </a:lnTo>
                  <a:lnTo>
                    <a:pt x="454046" y="417351"/>
                  </a:lnTo>
                  <a:lnTo>
                    <a:pt x="472226" y="406699"/>
                  </a:lnTo>
                  <a:lnTo>
                    <a:pt x="322238" y="406699"/>
                  </a:lnTo>
                  <a:lnTo>
                    <a:pt x="256439" y="400525"/>
                  </a:lnTo>
                  <a:lnTo>
                    <a:pt x="252965" y="399443"/>
                  </a:lnTo>
                  <a:close/>
                </a:path>
                <a:path w="537210" h="647065">
                  <a:moveTo>
                    <a:pt x="471290" y="269258"/>
                  </a:moveTo>
                  <a:lnTo>
                    <a:pt x="322238" y="269258"/>
                  </a:lnTo>
                  <a:lnTo>
                    <a:pt x="387975" y="275490"/>
                  </a:lnTo>
                  <a:lnTo>
                    <a:pt x="439305" y="291501"/>
                  </a:lnTo>
                  <a:lnTo>
                    <a:pt x="472695" y="313571"/>
                  </a:lnTo>
                  <a:lnTo>
                    <a:pt x="484610" y="337979"/>
                  </a:lnTo>
                  <a:lnTo>
                    <a:pt x="472695" y="362406"/>
                  </a:lnTo>
                  <a:lnTo>
                    <a:pt x="439305" y="384507"/>
                  </a:lnTo>
                  <a:lnTo>
                    <a:pt x="387975" y="400525"/>
                  </a:lnTo>
                  <a:lnTo>
                    <a:pt x="322238" y="406699"/>
                  </a:lnTo>
                  <a:lnTo>
                    <a:pt x="472226" y="406699"/>
                  </a:lnTo>
                  <a:lnTo>
                    <a:pt x="484610" y="399443"/>
                  </a:lnTo>
                  <a:lnTo>
                    <a:pt x="520494" y="399443"/>
                  </a:lnTo>
                  <a:lnTo>
                    <a:pt x="520494" y="337979"/>
                  </a:lnTo>
                  <a:lnTo>
                    <a:pt x="511092" y="304858"/>
                  </a:lnTo>
                  <a:lnTo>
                    <a:pt x="484617" y="276495"/>
                  </a:lnTo>
                  <a:lnTo>
                    <a:pt x="471290" y="269258"/>
                  </a:lnTo>
                  <a:close/>
                </a:path>
                <a:path w="537210" h="647065">
                  <a:moveTo>
                    <a:pt x="204703" y="150888"/>
                  </a:moveTo>
                  <a:lnTo>
                    <a:pt x="5253" y="342816"/>
                  </a:lnTo>
                  <a:lnTo>
                    <a:pt x="0" y="355491"/>
                  </a:lnTo>
                  <a:lnTo>
                    <a:pt x="1313" y="362265"/>
                  </a:lnTo>
                  <a:lnTo>
                    <a:pt x="5253" y="368261"/>
                  </a:lnTo>
                  <a:lnTo>
                    <a:pt x="10981" y="371646"/>
                  </a:lnTo>
                  <a:lnTo>
                    <a:pt x="18070" y="372702"/>
                  </a:lnTo>
                  <a:lnTo>
                    <a:pt x="25111" y="371537"/>
                  </a:lnTo>
                  <a:lnTo>
                    <a:pt x="30698" y="368261"/>
                  </a:lnTo>
                  <a:lnTo>
                    <a:pt x="204650" y="194308"/>
                  </a:lnTo>
                  <a:lnTo>
                    <a:pt x="255549" y="194308"/>
                  </a:lnTo>
                  <a:lnTo>
                    <a:pt x="217383" y="156141"/>
                  </a:lnTo>
                  <a:lnTo>
                    <a:pt x="211453" y="152201"/>
                  </a:lnTo>
                  <a:lnTo>
                    <a:pt x="204703" y="150888"/>
                  </a:lnTo>
                  <a:close/>
                </a:path>
                <a:path w="537210" h="647065">
                  <a:moveTo>
                    <a:pt x="529017" y="0"/>
                  </a:moveTo>
                  <a:lnTo>
                    <a:pt x="378352" y="0"/>
                  </a:lnTo>
                  <a:lnTo>
                    <a:pt x="370331" y="8020"/>
                  </a:lnTo>
                  <a:lnTo>
                    <a:pt x="370331" y="27863"/>
                  </a:lnTo>
                  <a:lnTo>
                    <a:pt x="378352" y="35883"/>
                  </a:lnTo>
                  <a:lnTo>
                    <a:pt x="475700" y="35883"/>
                  </a:lnTo>
                  <a:lnTo>
                    <a:pt x="286480" y="225239"/>
                  </a:lnTo>
                  <a:lnTo>
                    <a:pt x="337124" y="225239"/>
                  </a:lnTo>
                  <a:lnTo>
                    <a:pt x="501144" y="61338"/>
                  </a:lnTo>
                  <a:lnTo>
                    <a:pt x="537038" y="61338"/>
                  </a:lnTo>
                  <a:lnTo>
                    <a:pt x="537038" y="8020"/>
                  </a:lnTo>
                  <a:lnTo>
                    <a:pt x="529017" y="0"/>
                  </a:lnTo>
                  <a:close/>
                </a:path>
                <a:path w="537210" h="647065">
                  <a:moveTo>
                    <a:pt x="537038" y="61338"/>
                  </a:moveTo>
                  <a:lnTo>
                    <a:pt x="501144" y="61338"/>
                  </a:lnTo>
                  <a:lnTo>
                    <a:pt x="501144" y="158686"/>
                  </a:lnTo>
                  <a:lnTo>
                    <a:pt x="509165" y="166696"/>
                  </a:lnTo>
                  <a:lnTo>
                    <a:pt x="529017" y="166696"/>
                  </a:lnTo>
                  <a:lnTo>
                    <a:pt x="537038" y="158686"/>
                  </a:lnTo>
                  <a:lnTo>
                    <a:pt x="537038" y="61338"/>
                  </a:lnTo>
                  <a:close/>
                </a:path>
              </a:pathLst>
            </a:custGeom>
            <a:solidFill>
              <a:srgbClr val="00527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2204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2" name="Agrupar 31">
            <a:extLst>
              <a:ext uri="{FF2B5EF4-FFF2-40B4-BE49-F238E27FC236}">
                <a16:creationId xmlns:a16="http://schemas.microsoft.com/office/drawing/2014/main" id="{4ABAA5D3-7563-451C-A9E8-D870FAAFE7F9}"/>
              </a:ext>
            </a:extLst>
          </p:cNvPr>
          <p:cNvGrpSpPr/>
          <p:nvPr/>
        </p:nvGrpSpPr>
        <p:grpSpPr>
          <a:xfrm>
            <a:off x="9836025" y="3342300"/>
            <a:ext cx="5634627" cy="5519037"/>
            <a:chOff x="9836026" y="3342301"/>
            <a:chExt cx="4752528" cy="4938902"/>
          </a:xfrm>
        </p:grpSpPr>
        <p:pic>
          <p:nvPicPr>
            <p:cNvPr id="33" name="Imagem 32">
              <a:extLst>
                <a:ext uri="{FF2B5EF4-FFF2-40B4-BE49-F238E27FC236}">
                  <a16:creationId xmlns:a16="http://schemas.microsoft.com/office/drawing/2014/main" id="{85C7E804-177A-4225-ABC3-59DC6C457EC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169" t="22870" r="35821" b="39752"/>
            <a:stretch/>
          </p:blipFill>
          <p:spPr>
            <a:xfrm>
              <a:off x="9836026" y="3342301"/>
              <a:ext cx="4752528" cy="4938902"/>
            </a:xfrm>
            <a:prstGeom prst="rect">
              <a:avLst/>
            </a:prstGeom>
          </p:spPr>
        </p:pic>
        <p:sp>
          <p:nvSpPr>
            <p:cNvPr id="34" name="Retângulo Arredondado 1">
              <a:extLst>
                <a:ext uri="{FF2B5EF4-FFF2-40B4-BE49-F238E27FC236}">
                  <a16:creationId xmlns:a16="http://schemas.microsoft.com/office/drawing/2014/main" id="{A029FA0C-EDC0-4C88-88CB-13A07E29959A}"/>
                </a:ext>
              </a:extLst>
            </p:cNvPr>
            <p:cNvSpPr/>
            <p:nvPr/>
          </p:nvSpPr>
          <p:spPr>
            <a:xfrm>
              <a:off x="11132170" y="4489678"/>
              <a:ext cx="2027934" cy="1460138"/>
            </a:xfrm>
            <a:prstGeom prst="round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$ 4,7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ilhões</a:t>
              </a:r>
            </a:p>
          </p:txBody>
        </p:sp>
      </p:grpSp>
      <p:sp>
        <p:nvSpPr>
          <p:cNvPr id="35" name="Retângulo 34">
            <a:extLst>
              <a:ext uri="{FF2B5EF4-FFF2-40B4-BE49-F238E27FC236}">
                <a16:creationId xmlns:a16="http://schemas.microsoft.com/office/drawing/2014/main" id="{4E733B65-2F56-49BF-9AB6-8AD5590AC549}"/>
              </a:ext>
            </a:extLst>
          </p:cNvPr>
          <p:cNvSpPr/>
          <p:nvPr/>
        </p:nvSpPr>
        <p:spPr>
          <a:xfrm>
            <a:off x="166454" y="238799"/>
            <a:ext cx="11331436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>
              <a:spcBef>
                <a:spcPts val="110"/>
              </a:spcBef>
              <a:defRPr/>
            </a:pPr>
            <a:r>
              <a:rPr lang="pt-BR" sz="6580" b="1" spc="-74" dirty="0">
                <a:solidFill>
                  <a:srgbClr val="2C4272"/>
                </a:solidFill>
                <a:latin typeface="Calibri"/>
                <a:ea typeface="+mj-ea"/>
                <a:cs typeface="Calibri"/>
              </a:rPr>
              <a:t>Resultados de 2022 em números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8B396831-2489-4587-9056-2F8F0F5C8CCC}"/>
              </a:ext>
            </a:extLst>
          </p:cNvPr>
          <p:cNvSpPr txBox="1"/>
          <p:nvPr/>
        </p:nvSpPr>
        <p:spPr>
          <a:xfrm>
            <a:off x="15740682" y="3678182"/>
            <a:ext cx="338437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>
                <a:solidFill>
                  <a:srgbClr val="002060"/>
                </a:solidFill>
              </a:rPr>
              <a:t>Aumento </a:t>
            </a:r>
            <a:r>
              <a:rPr lang="pt-BR" sz="3600">
                <a:solidFill>
                  <a:srgbClr val="002060"/>
                </a:solidFill>
              </a:rPr>
              <a:t>de </a:t>
            </a:r>
            <a:r>
              <a:rPr lang="pt-BR" sz="4800">
                <a:solidFill>
                  <a:srgbClr val="008192"/>
                </a:solidFill>
              </a:rPr>
              <a:t>285</a:t>
            </a:r>
            <a:r>
              <a:rPr lang="pt-BR" sz="4800" dirty="0">
                <a:solidFill>
                  <a:srgbClr val="008192"/>
                </a:solidFill>
              </a:rPr>
              <a:t>% </a:t>
            </a:r>
            <a:r>
              <a:rPr lang="pt-BR" sz="3600" dirty="0">
                <a:solidFill>
                  <a:srgbClr val="002060"/>
                </a:solidFill>
              </a:rPr>
              <a:t>em relação a 2021</a:t>
            </a:r>
          </a:p>
        </p:txBody>
      </p:sp>
    </p:spTree>
    <p:extLst>
      <p:ext uri="{BB962C8B-B14F-4D97-AF65-F5344CB8AC3E}">
        <p14:creationId xmlns:p14="http://schemas.microsoft.com/office/powerpoint/2010/main" val="154263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0" y="9956488"/>
            <a:ext cx="20104100" cy="13528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/>
          <p:cNvSpPr txBox="1"/>
          <p:nvPr/>
        </p:nvSpPr>
        <p:spPr>
          <a:xfrm>
            <a:off x="281875" y="254075"/>
            <a:ext cx="1133143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502946"/>
            <a:r>
              <a:rPr lang="pt-BR" sz="6600" b="1" spc="-75" dirty="0">
                <a:solidFill>
                  <a:schemeClr val="accent2"/>
                </a:solidFill>
                <a:latin typeface="+mj-lt"/>
                <a:ea typeface="+mj-ea"/>
                <a:cs typeface="Calibri"/>
              </a:rPr>
              <a:t>Resultados de 2022 em números</a:t>
            </a:r>
          </a:p>
        </p:txBody>
      </p:sp>
      <p:sp>
        <p:nvSpPr>
          <p:cNvPr id="6" name="CaixaDeTexto 5"/>
          <p:cNvSpPr txBox="1"/>
          <p:nvPr/>
        </p:nvSpPr>
        <p:spPr>
          <a:xfrm>
            <a:off x="619002" y="2054275"/>
            <a:ext cx="5563264" cy="3247043"/>
          </a:xfrm>
          <a:prstGeom prst="rect">
            <a:avLst/>
          </a:prstGeom>
          <a:solidFill>
            <a:srgbClr val="022040"/>
          </a:solidFill>
        </p:spPr>
        <p:txBody>
          <a:bodyPr wrap="square" rtlCol="0">
            <a:spAutoFit/>
          </a:bodyPr>
          <a:lstStyle/>
          <a:p>
            <a:pPr marR="0" lvl="0" defTabSz="7242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BR" sz="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Gestão dos contratos</a:t>
            </a:r>
          </a:p>
          <a:p>
            <a:pPr marL="457200" marR="0" lvl="0" indent="-457200" defTabSz="7242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2000" b="1" kern="0" dirty="0">
              <a:solidFill>
                <a:srgbClr val="FFFFFF"/>
              </a:solidFill>
            </a:endParaRPr>
          </a:p>
          <a:p>
            <a:pPr marL="457200" marR="0" lvl="0" indent="-457200" defTabSz="7242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546 </a:t>
            </a:r>
            <a:r>
              <a:rPr kumimoji="0" lang="pt-BR" sz="2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ballots</a:t>
            </a:r>
            <a:r>
              <a:rPr kumimoji="0" lang="pt-BR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e AFEs respondidos no ano (aumento</a:t>
            </a:r>
            <a:r>
              <a:rPr kumimoji="0" lang="pt-BR" sz="2400" b="0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de 56 % em relação a 2021)</a:t>
            </a:r>
            <a:endParaRPr kumimoji="0" lang="pt-BR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457200" marR="0" lvl="0" indent="-457200" defTabSz="7242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2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457200" marR="0" lvl="0" indent="-457200" defTabSz="7242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98% </a:t>
            </a:r>
            <a:r>
              <a:rPr kumimoji="0" lang="pt-BR" sz="2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umpridos no prazo de 10 dias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6444409" y="2121057"/>
            <a:ext cx="5561628" cy="1699248"/>
          </a:xfrm>
          <a:prstGeom prst="rect">
            <a:avLst/>
          </a:prstGeom>
          <a:solidFill>
            <a:srgbClr val="022040"/>
          </a:solidFill>
        </p:spPr>
        <p:txBody>
          <a:bodyPr wrap="square" rtlCol="0">
            <a:spAutoFit/>
          </a:bodyPr>
          <a:lstStyle/>
          <a:p>
            <a:pPr marR="0" lvl="0" defTabSz="7242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BR" sz="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Reconhecimento de custo</a:t>
            </a:r>
          </a:p>
          <a:p>
            <a:pPr marL="457200" marR="0" lvl="0" indent="-457200" defTabSz="7242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2000" b="1" kern="0" dirty="0">
              <a:solidFill>
                <a:srgbClr val="FFFFFF"/>
              </a:solidFill>
            </a:endParaRP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3600" b="1" kern="0" dirty="0">
                <a:solidFill>
                  <a:srgbClr val="FFFFFF"/>
                </a:solidFill>
              </a:rPr>
              <a:t>94 % </a:t>
            </a:r>
            <a:r>
              <a:rPr lang="pt-BR" sz="2400" kern="0" dirty="0">
                <a:solidFill>
                  <a:srgbClr val="FFFFFF"/>
                </a:solidFill>
              </a:rPr>
              <a:t>dos custos reconhecidos  </a:t>
            </a:r>
            <a:endParaRPr lang="pt-BR" sz="2900" kern="0" dirty="0">
              <a:solidFill>
                <a:srgbClr val="FFFFFF"/>
              </a:solidFill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12202263" y="2139021"/>
            <a:ext cx="5563263" cy="2339102"/>
          </a:xfrm>
          <a:prstGeom prst="rect">
            <a:avLst/>
          </a:prstGeom>
          <a:solidFill>
            <a:srgbClr val="022040"/>
          </a:solidFill>
        </p:spPr>
        <p:txBody>
          <a:bodyPr wrap="square" rtlCol="0">
            <a:spAutoFit/>
          </a:bodyPr>
          <a:lstStyle/>
          <a:p>
            <a:pPr marR="0" lvl="0" defTabSz="7242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pt-BR" sz="3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omercialização</a:t>
            </a:r>
          </a:p>
          <a:p>
            <a:pPr marL="457200" marR="0" lvl="0" indent="-457200" defTabSz="7242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pt-BR" sz="2000" b="1" kern="0" dirty="0">
              <a:solidFill>
                <a:srgbClr val="FFFFFF"/>
              </a:solidFill>
            </a:endParaRP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3600" b="1" kern="0" dirty="0">
                <a:solidFill>
                  <a:srgbClr val="FFFFFF"/>
                </a:solidFill>
              </a:rPr>
              <a:t>135 % </a:t>
            </a:r>
            <a:r>
              <a:rPr lang="pt-BR" sz="2400" kern="0" dirty="0">
                <a:solidFill>
                  <a:srgbClr val="FFFFFF"/>
                </a:solidFill>
              </a:rPr>
              <a:t>do volume de óleo previsto foi comercializado</a:t>
            </a:r>
          </a:p>
        </p:txBody>
      </p:sp>
      <p:sp>
        <p:nvSpPr>
          <p:cNvPr id="3" name="Retângulo 2"/>
          <p:cNvSpPr/>
          <p:nvPr/>
        </p:nvSpPr>
        <p:spPr>
          <a:xfrm>
            <a:off x="1051050" y="7751827"/>
            <a:ext cx="1714652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/>
            <a:r>
              <a:rPr lang="pt-BR" sz="2400" dirty="0">
                <a:latin typeface="Calibri" panose="020F0502020204030204" pitchFamily="34" charset="0"/>
              </a:rPr>
              <a:t>No 1º Ciclo da </a:t>
            </a:r>
            <a:r>
              <a:rPr lang="pt-BR" sz="2400" b="1" dirty="0">
                <a:latin typeface="Calibri" panose="020F0502020204030204" pitchFamily="34" charset="0"/>
              </a:rPr>
              <a:t>Oferta Permanente </a:t>
            </a:r>
            <a:r>
              <a:rPr lang="pt-BR" sz="2400" dirty="0">
                <a:latin typeface="Calibri" panose="020F0502020204030204" pitchFamily="34" charset="0"/>
              </a:rPr>
              <a:t>de Partilha da Produção (OPP), realizado em (16/12) pela ANP, foram arrematados quatro blocos (</a:t>
            </a:r>
            <a:r>
              <a:rPr lang="pt-BR" sz="2400" b="1" dirty="0">
                <a:latin typeface="Calibri" panose="020F0502020204030204" pitchFamily="34" charset="0"/>
              </a:rPr>
              <a:t>Água-Marinha, Norte de Brava, Bumerangue e SO de Sagitário</a:t>
            </a:r>
            <a:r>
              <a:rPr lang="pt-BR" sz="2400" dirty="0">
                <a:latin typeface="Calibri" panose="020F0502020204030204" pitchFamily="34" charset="0"/>
              </a:rPr>
              <a:t>), dos 11 em oferta, gerando arrecadação de R$ 916 milhões em bônus de assinatura. </a:t>
            </a:r>
            <a:r>
              <a:rPr lang="pt-BR" sz="2400" b="1" dirty="0">
                <a:latin typeface="Calibri" panose="020F0502020204030204" pitchFamily="34" charset="0"/>
              </a:rPr>
              <a:t>Todos os contratos ficarão sob gestão da PPSA a partir de 2023</a:t>
            </a:r>
            <a:r>
              <a:rPr lang="pt-BR" sz="2400" dirty="0">
                <a:latin typeface="Calibri" panose="020F0502020204030204" pitchFamily="34" charset="0"/>
              </a:rPr>
              <a:t>, assim como outros 19 contratos que atualmente operam em regime de partilha de produção. A assinatura dos contratos está prevista para ocorrer até o dia 28/04/2023.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6701FC24-AF3C-4C7C-865F-8467361F53BE}"/>
              </a:ext>
            </a:extLst>
          </p:cNvPr>
          <p:cNvSpPr/>
          <p:nvPr/>
        </p:nvSpPr>
        <p:spPr>
          <a:xfrm>
            <a:off x="869897" y="6441934"/>
            <a:ext cx="1714652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340" algn="just">
              <a:spcAft>
                <a:spcPts val="0"/>
              </a:spcAft>
            </a:pPr>
            <a:r>
              <a:rPr lang="pt-BR" sz="2800" b="1" dirty="0">
                <a:solidFill>
                  <a:srgbClr val="008192"/>
                </a:solidFill>
                <a:latin typeface="Calibri" panose="020F0502020204030204" pitchFamily="34" charset="0"/>
              </a:rPr>
              <a:t>2022 foi um ano de ótimos resultados para a </a:t>
            </a:r>
            <a:r>
              <a:rPr lang="pt-BR" sz="2800" b="1" dirty="0" err="1">
                <a:solidFill>
                  <a:srgbClr val="008192"/>
                </a:solidFill>
                <a:latin typeface="Calibri" panose="020F0502020204030204" pitchFamily="34" charset="0"/>
              </a:rPr>
              <a:t>Pré</a:t>
            </a:r>
            <a:r>
              <a:rPr lang="pt-BR" sz="2800" b="1" dirty="0">
                <a:solidFill>
                  <a:srgbClr val="008192"/>
                </a:solidFill>
                <a:latin typeface="Calibri" panose="020F0502020204030204" pitchFamily="34" charset="0"/>
              </a:rPr>
              <a:t>-Sal Petróleo, com 98% de realização do Planejamento Estratégico</a:t>
            </a:r>
          </a:p>
        </p:txBody>
      </p:sp>
    </p:spTree>
    <p:extLst>
      <p:ext uri="{BB962C8B-B14F-4D97-AF65-F5344CB8AC3E}">
        <p14:creationId xmlns:p14="http://schemas.microsoft.com/office/powerpoint/2010/main" val="32795164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3" grpId="0" animBg="1"/>
      <p:bldP spid="1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11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 - &amp;quot;Template corporativo&amp;quot;&quot;/&gt;&lt;property id=&quot;20307&quot; value=&quot;256&quot;/&gt;&lt;/object&gt;&lt;object type=&quot;3&quot; unique_id=&quot;10004&quot;&gt;&lt;property id=&quot;20148&quot; value=&quot;5&quot;/&gt;&lt;property id=&quot;20300&quot; value=&quot;Slide 2 - &amp;quot;ALGUMAS  DICAS ANTES  DE COMEÇAR&amp;quot;&quot;/&gt;&lt;property id=&quot;20307&quot; value=&quot;284&quot;/&gt;&lt;/object&gt;&lt;object type=&quot;3&quot; unique_id=&quot;10006&quot;&gt;&lt;property id=&quot;20148&quot; value=&quot;5&quot;/&gt;&lt;property id=&quot;20300&quot; value=&quot;Slide 3 - &amp;quot;Tipografia &amp;amp; Cores&amp;quot;&quot;/&gt;&lt;property id=&quot;20307&quot; value=&quot;315&quot;/&gt;&lt;/object&gt;&lt;object type=&quot;3&quot; unique_id=&quot;10007&quot;&gt;&lt;property id=&quot;20148&quot; value=&quot;5&quot;/&gt;&lt;property id=&quot;20300&quot; value=&quot;Slide 4 - &amp;quot;Layouts&amp;quot;&quot;/&gt;&lt;property id=&quot;20307&quot; value=&quot;316&quot;/&gt;&lt;/object&gt;&lt;object type=&quot;3&quot; unique_id=&quot;10008&quot;&gt;&lt;property id=&quot;20148&quot; value=&quot;5&quot;/&gt;&lt;property id=&quot;20300&quot; value=&quot;Slide 5 - &amp;quot;Exemplos de Utilização&amp;quot;&quot;/&gt;&lt;property id=&quot;20307&quot; value=&quot;318&quot;/&gt;&lt;/object&gt;&lt;object type=&quot;3&quot; unique_id=&quot;10009&quot;&gt;&lt;property id=&quot;20148&quot; value=&quot;5&quot;/&gt;&lt;property id=&quot;20300&quot; value=&quot;Slide 6 - &amp;quot;Exemplos de Utilização&amp;quot;&quot;/&gt;&lt;property id=&quot;20307&quot; value=&quot;319&quot;/&gt;&lt;/object&gt;&lt;object type=&quot;3&quot; unique_id=&quot;10010&quot;&gt;&lt;property id=&quot;20148&quot; value=&quot;5&quot;/&gt;&lt;property id=&quot;20300&quot; value=&quot;Slide 8 - &amp;quot;Exemplos de Utilização&amp;quot;&quot;/&gt;&lt;property id=&quot;20307&quot; value=&quot;322&quot;/&gt;&lt;/object&gt;&lt;object type=&quot;3&quot; unique_id=&quot;10011&quot;&gt;&lt;property id=&quot;20148&quot; value=&quot;5&quot;/&gt;&lt;property id=&quot;20300&quot; value=&quot;Slide 7 - &amp;quot;Exemplos de Utilização&amp;quot;&quot;/&gt;&lt;property id=&quot;20307&quot; value=&quot;323&quot;/&gt;&lt;/object&gt;&lt;object type=&quot;3&quot; unique_id=&quot;10012&quot;&gt;&lt;property id=&quot;20148&quot; value=&quot;5&quot;/&gt;&lt;property id=&quot;20300&quot; value=&quot;Slide 9 - &amp;quot;Exemplos de Utilização&amp;quot;&quot;/&gt;&lt;property id=&quot;20307&quot; value=&quot;324&quot;/&gt;&lt;/object&gt;&lt;object type=&quot;3&quot; unique_id=&quot;10013&quot;&gt;&lt;property id=&quot;20148&quot; value=&quot;5&quot;/&gt;&lt;property id=&quot;20300&quot; value=&quot;Slide 10 - &amp;quot;Exemplos de Utilização&amp;quot;&quot;/&gt;&lt;property id=&quot;20307&quot; value=&quot;334&quot;/&gt;&lt;/object&gt;&lt;object type=&quot;3&quot; unique_id=&quot;10014&quot;&gt;&lt;property id=&quot;20148&quot; value=&quot;5&quot;/&gt;&lt;property id=&quot;20300&quot; value=&quot;Slide 11 - &amp;quot;Editando o Rodapé&amp;quot;&quot;/&gt;&lt;property id=&quot;20307&quot; value=&quot;332&quot;/&gt;&lt;/object&gt;&lt;object type=&quot;3&quot; unique_id=&quot;10877&quot;&gt;&lt;property id=&quot;20148&quot; value=&quot;5&quot;/&gt;&lt;property id=&quot;20300&quot; value=&quot;Slide 19 - &amp;quot;Sua apresentação começa no próximo slide&amp;quot;&quot;/&gt;&lt;property id=&quot;20307&quot; value=&quot;336&quot;/&gt;&lt;/object&gt;&lt;object type=&quot;3&quot; unique_id=&quot;10985&quot;&gt;&lt;property id=&quot;20148&quot; value=&quot;5&quot;/&gt;&lt;property id=&quot;20300&quot; value=&quot;Slide 15&quot;/&gt;&lt;property id=&quot;20307&quot; value=&quot;262&quot;/&gt;&lt;/object&gt;&lt;object type=&quot;3&quot; unique_id=&quot;10986&quot;&gt;&lt;property id=&quot;20148&quot; value=&quot;5&quot;/&gt;&lt;property id=&quot;20300&quot; value=&quot;Slide 16&quot;/&gt;&lt;property id=&quot;20307&quot; value=&quot;263&quot;/&gt;&lt;/object&gt;&lt;object type=&quot;3&quot; unique_id=&quot;10987&quot;&gt;&lt;property id=&quot;20148&quot; value=&quot;5&quot;/&gt;&lt;property id=&quot;20300&quot; value=&quot;Slide 17&quot;/&gt;&lt;property id=&quot;20307&quot; value=&quot;264&quot;/&gt;&lt;/object&gt;&lt;object type=&quot;3&quot; unique_id=&quot;11189&quot;&gt;&lt;property id=&quot;20148&quot; value=&quot;5&quot;/&gt;&lt;property id=&quot;20300&quot; value=&quot;Slide 12 - &amp;quot;SLIDES &amp;amp; Elementos  Prontos para usar&amp;quot;&quot;/&gt;&lt;property id=&quot;20307&quot; value=&quot;309&quot;/&gt;&lt;/object&gt;&lt;object type=&quot;3&quot; unique_id=&quot;11190&quot;&gt;&lt;property id=&quot;20148&quot; value=&quot;5&quot;/&gt;&lt;property id=&quot;20300&quot; value=&quot;Slide 13 - &amp;quot;Elementos Gráficos &amp;quot;&quot;/&gt;&lt;property id=&quot;20307&quot; value=&quot;340&quot;/&gt;&lt;/object&gt;&lt;object type=&quot;3&quot; unique_id=&quot;11531&quot;&gt;&lt;property id=&quot;20148&quot; value=&quot;5&quot;/&gt;&lt;property id=&quot;20300&quot; value=&quot;Slide 14 - &amp;quot;Slides Especiais&amp;quot;&quot;/&gt;&lt;property id=&quot;20307&quot; value=&quot;341&quot;/&gt;&lt;/object&gt;&lt;object type=&quot;3&quot; unique_id=&quot;11911&quot;&gt;&lt;property id=&quot;20148&quot; value=&quot;5&quot;/&gt;&lt;property id=&quot;20300&quot; value=&quot;Slide 20&quot;/&gt;&lt;property id=&quot;20307&quot; value=&quot;342&quot;/&gt;&lt;/object&gt;&lt;object type=&quot;3&quot; unique_id=&quot;12050&quot;&gt;&lt;property id=&quot;20148&quot; value=&quot;5&quot;/&gt;&lt;property id=&quot;20300&quot; value=&quot;Slide 18&quot;/&gt;&lt;property id=&quot;20307&quot; value=&quot;343&quot;/&gt;&lt;/object&gt;&lt;/object&gt;&lt;object type=&quot;8&quot; unique_id=&quot;10050&quot;&gt;&lt;/object&gt;&lt;/object&gt;&lt;/database&gt;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apa e Slides de Transição">
  <a:themeElements>
    <a:clrScheme name="Pré-Sal">
      <a:dk1>
        <a:srgbClr val="4A4A4A"/>
      </a:dk1>
      <a:lt1>
        <a:sysClr val="window" lastClr="FFFFFF"/>
      </a:lt1>
      <a:dk2>
        <a:srgbClr val="002F4F"/>
      </a:dk2>
      <a:lt2>
        <a:srgbClr val="EEECE1"/>
      </a:lt2>
      <a:accent1>
        <a:srgbClr val="002F4F"/>
      </a:accent1>
      <a:accent2>
        <a:srgbClr val="2C4272"/>
      </a:accent2>
      <a:accent3>
        <a:srgbClr val="008192"/>
      </a:accent3>
      <a:accent4>
        <a:srgbClr val="00999B"/>
      </a:accent4>
      <a:accent5>
        <a:srgbClr val="5CA551"/>
      </a:accent5>
      <a:accent6>
        <a:srgbClr val="F4D205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Corporativo PPSA - Lumi_rev01.pptx" id="{CAEB432B-F95D-4749-9A5F-BEC0ADB7391E}" vid="{6B5C9511-034D-4498-B9BC-D67788334BEA}"/>
    </a:ext>
  </a:extLst>
</a:theme>
</file>

<file path=ppt/theme/theme10.xml><?xml version="1.0" encoding="utf-8"?>
<a:theme xmlns:a="http://schemas.openxmlformats.org/drawingml/2006/main" name="4_Capa e Slides de Transição">
  <a:themeElements>
    <a:clrScheme name="Pré-Sal">
      <a:dk1>
        <a:srgbClr val="4A4A4A"/>
      </a:dk1>
      <a:lt1>
        <a:sysClr val="window" lastClr="FFFFFF"/>
      </a:lt1>
      <a:dk2>
        <a:srgbClr val="002F4F"/>
      </a:dk2>
      <a:lt2>
        <a:srgbClr val="EEECE1"/>
      </a:lt2>
      <a:accent1>
        <a:srgbClr val="002F4F"/>
      </a:accent1>
      <a:accent2>
        <a:srgbClr val="2C4272"/>
      </a:accent2>
      <a:accent3>
        <a:srgbClr val="008192"/>
      </a:accent3>
      <a:accent4>
        <a:srgbClr val="00999B"/>
      </a:accent4>
      <a:accent5>
        <a:srgbClr val="5CA551"/>
      </a:accent5>
      <a:accent6>
        <a:srgbClr val="F4D205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9.04.22_Template corporativo_Novos_Logos.potx" id="{4DDA0A93-6A2F-41C0-AB7A-AC8653B495A9}" vid="{68C4E0E6-A5CB-4DD6-8618-521E53E94485}"/>
    </a:ext>
  </a:extLst>
</a:theme>
</file>

<file path=ppt/theme/theme11.xml><?xml version="1.0" encoding="utf-8"?>
<a:theme xmlns:a="http://schemas.openxmlformats.org/drawingml/2006/main" name="5_Capa e Slides de Transição">
  <a:themeElements>
    <a:clrScheme name="Pré-Sal">
      <a:dk1>
        <a:srgbClr val="4A4A4A"/>
      </a:dk1>
      <a:lt1>
        <a:sysClr val="window" lastClr="FFFFFF"/>
      </a:lt1>
      <a:dk2>
        <a:srgbClr val="002F4F"/>
      </a:dk2>
      <a:lt2>
        <a:srgbClr val="EEECE1"/>
      </a:lt2>
      <a:accent1>
        <a:srgbClr val="002F4F"/>
      </a:accent1>
      <a:accent2>
        <a:srgbClr val="2C4272"/>
      </a:accent2>
      <a:accent3>
        <a:srgbClr val="008192"/>
      </a:accent3>
      <a:accent4>
        <a:srgbClr val="00999B"/>
      </a:accent4>
      <a:accent5>
        <a:srgbClr val="5CA551"/>
      </a:accent5>
      <a:accent6>
        <a:srgbClr val="F4D205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Corporativo PPSA - Lumi_rev01.pptx" id="{CAEB432B-F95D-4749-9A5F-BEC0ADB7391E}" vid="{6B5C9511-034D-4498-B9BC-D67788334BEA}"/>
    </a:ext>
  </a:extLst>
</a:theme>
</file>

<file path=ppt/theme/theme12.xml><?xml version="1.0" encoding="utf-8"?>
<a:theme xmlns:a="http://schemas.openxmlformats.org/drawingml/2006/main" name="11_Tema_conteúdo">
  <a:themeElements>
    <a:clrScheme name="TEMA CORES PPSA">
      <a:dk1>
        <a:srgbClr val="022040"/>
      </a:dk1>
      <a:lt1>
        <a:srgbClr val="FFFFFF"/>
      </a:lt1>
      <a:dk2>
        <a:srgbClr val="008192"/>
      </a:dk2>
      <a:lt2>
        <a:srgbClr val="FFFFFF"/>
      </a:lt2>
      <a:accent1>
        <a:srgbClr val="022040"/>
      </a:accent1>
      <a:accent2>
        <a:srgbClr val="11617F"/>
      </a:accent2>
      <a:accent3>
        <a:srgbClr val="008192"/>
      </a:accent3>
      <a:accent4>
        <a:srgbClr val="00999B"/>
      </a:accent4>
      <a:accent5>
        <a:srgbClr val="5CA551"/>
      </a:accent5>
      <a:accent6>
        <a:srgbClr val="F4D222"/>
      </a:accent6>
      <a:hlink>
        <a:srgbClr val="022040"/>
      </a:hlink>
      <a:folHlink>
        <a:srgbClr val="5CA55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192"/>
        </a:solidFill>
        <a:effectLst/>
      </a:spPr>
      <a:bodyPr rtlCol="0" anchor="ctr"/>
      <a:lstStyle>
        <a:defPPr algn="ctr">
          <a:lnSpc>
            <a:spcPct val="90000"/>
          </a:lnSpc>
          <a:defRPr sz="12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6_Capa e Slides de Transição">
  <a:themeElements>
    <a:clrScheme name="Pré-Sal">
      <a:dk1>
        <a:srgbClr val="4A4A4A"/>
      </a:dk1>
      <a:lt1>
        <a:sysClr val="window" lastClr="FFFFFF"/>
      </a:lt1>
      <a:dk2>
        <a:srgbClr val="002F4F"/>
      </a:dk2>
      <a:lt2>
        <a:srgbClr val="EEECE1"/>
      </a:lt2>
      <a:accent1>
        <a:srgbClr val="002F4F"/>
      </a:accent1>
      <a:accent2>
        <a:srgbClr val="2C4272"/>
      </a:accent2>
      <a:accent3>
        <a:srgbClr val="008192"/>
      </a:accent3>
      <a:accent4>
        <a:srgbClr val="00999B"/>
      </a:accent4>
      <a:accent5>
        <a:srgbClr val="5CA551"/>
      </a:accent5>
      <a:accent6>
        <a:srgbClr val="F4D205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Corporativo PPSA - Lumi_rev01.pptx" id="{CAEB432B-F95D-4749-9A5F-BEC0ADB7391E}" vid="{6B5C9511-034D-4498-B9BC-D67788334BEA}"/>
    </a:ext>
  </a:extLst>
</a:theme>
</file>

<file path=ppt/theme/theme14.xml><?xml version="1.0" encoding="utf-8"?>
<a:theme xmlns:a="http://schemas.openxmlformats.org/drawingml/2006/main" name="2_Tema_conteúdo">
  <a:themeElements>
    <a:clrScheme name="TEMA CORES PPSA">
      <a:dk1>
        <a:srgbClr val="022040"/>
      </a:dk1>
      <a:lt1>
        <a:srgbClr val="FFFFFF"/>
      </a:lt1>
      <a:dk2>
        <a:srgbClr val="008192"/>
      </a:dk2>
      <a:lt2>
        <a:srgbClr val="FFFFFF"/>
      </a:lt2>
      <a:accent1>
        <a:srgbClr val="022040"/>
      </a:accent1>
      <a:accent2>
        <a:srgbClr val="11617F"/>
      </a:accent2>
      <a:accent3>
        <a:srgbClr val="008192"/>
      </a:accent3>
      <a:accent4>
        <a:srgbClr val="00999B"/>
      </a:accent4>
      <a:accent5>
        <a:srgbClr val="5CA551"/>
      </a:accent5>
      <a:accent6>
        <a:srgbClr val="F4D222"/>
      </a:accent6>
      <a:hlink>
        <a:srgbClr val="022040"/>
      </a:hlink>
      <a:folHlink>
        <a:srgbClr val="5CA55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192"/>
        </a:solidFill>
        <a:effectLst/>
      </a:spPr>
      <a:bodyPr rtlCol="0" anchor="ctr"/>
      <a:lstStyle>
        <a:defPPr algn="ctr">
          <a:lnSpc>
            <a:spcPct val="90000"/>
          </a:lnSpc>
          <a:defRPr sz="12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istas Especiais">
  <a:themeElements>
    <a:clrScheme name="Pré-Sal">
      <a:dk1>
        <a:srgbClr val="4A4A4A"/>
      </a:dk1>
      <a:lt1>
        <a:sysClr val="window" lastClr="FFFFFF"/>
      </a:lt1>
      <a:dk2>
        <a:srgbClr val="002F4F"/>
      </a:dk2>
      <a:lt2>
        <a:srgbClr val="EEECE1"/>
      </a:lt2>
      <a:accent1>
        <a:srgbClr val="002F4F"/>
      </a:accent1>
      <a:accent2>
        <a:srgbClr val="2C4272"/>
      </a:accent2>
      <a:accent3>
        <a:srgbClr val="008192"/>
      </a:accent3>
      <a:accent4>
        <a:srgbClr val="00999B"/>
      </a:accent4>
      <a:accent5>
        <a:srgbClr val="5CA551"/>
      </a:accent5>
      <a:accent6>
        <a:srgbClr val="F4D205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Corporativo PPSA - Lumi_rev01.pptx" id="{CAEB432B-F95D-4749-9A5F-BEC0ADB7391E}" vid="{C1021C28-4402-4FA6-A684-33FE7BEBEAB5}"/>
    </a:ext>
  </a:extLst>
</a:theme>
</file>

<file path=ppt/theme/theme3.xml><?xml version="1.0" encoding="utf-8"?>
<a:theme xmlns:a="http://schemas.openxmlformats.org/drawingml/2006/main" name="Galerias">
  <a:themeElements>
    <a:clrScheme name="Pré-Sal">
      <a:dk1>
        <a:srgbClr val="4A4A4A"/>
      </a:dk1>
      <a:lt1>
        <a:sysClr val="window" lastClr="FFFFFF"/>
      </a:lt1>
      <a:dk2>
        <a:srgbClr val="002F4F"/>
      </a:dk2>
      <a:lt2>
        <a:srgbClr val="EEECE1"/>
      </a:lt2>
      <a:accent1>
        <a:srgbClr val="002F4F"/>
      </a:accent1>
      <a:accent2>
        <a:srgbClr val="2C4272"/>
      </a:accent2>
      <a:accent3>
        <a:srgbClr val="008192"/>
      </a:accent3>
      <a:accent4>
        <a:srgbClr val="00999B"/>
      </a:accent4>
      <a:accent5>
        <a:srgbClr val="5CA551"/>
      </a:accent5>
      <a:accent6>
        <a:srgbClr val="F4D205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Corporativo PPSA - Lumi_rev01.pptx" id="{CAEB432B-F95D-4749-9A5F-BEC0ADB7391E}" vid="{B98DE775-F92B-4CB1-BBC7-9D42E6DD9B9A}"/>
    </a:ext>
  </a:extLst>
</a:theme>
</file>

<file path=ppt/theme/theme4.xml><?xml version="1.0" encoding="utf-8"?>
<a:theme xmlns:a="http://schemas.openxmlformats.org/drawingml/2006/main" name="Slides em Branco">
  <a:themeElements>
    <a:clrScheme name="Pré-Sal">
      <a:dk1>
        <a:srgbClr val="4A4A4A"/>
      </a:dk1>
      <a:lt1>
        <a:sysClr val="window" lastClr="FFFFFF"/>
      </a:lt1>
      <a:dk2>
        <a:srgbClr val="002F4F"/>
      </a:dk2>
      <a:lt2>
        <a:srgbClr val="EEECE1"/>
      </a:lt2>
      <a:accent1>
        <a:srgbClr val="002F4F"/>
      </a:accent1>
      <a:accent2>
        <a:srgbClr val="2C4272"/>
      </a:accent2>
      <a:accent3>
        <a:srgbClr val="008192"/>
      </a:accent3>
      <a:accent4>
        <a:srgbClr val="00999B"/>
      </a:accent4>
      <a:accent5>
        <a:srgbClr val="5CA551"/>
      </a:accent5>
      <a:accent6>
        <a:srgbClr val="F4D205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Corporativo PPSA - Lumi_rev01.pptx" id="{CAEB432B-F95D-4749-9A5F-BEC0ADB7391E}" vid="{63AB3DA7-3843-481B-AF0A-69521D568DE6}"/>
    </a:ext>
  </a:extLst>
</a:theme>
</file>

<file path=ppt/theme/theme5.xml><?xml version="1.0" encoding="utf-8"?>
<a:theme xmlns:a="http://schemas.openxmlformats.org/drawingml/2006/main" name="Tema_conteúdo">
  <a:themeElements>
    <a:clrScheme name="TEMA CORES PPSA">
      <a:dk1>
        <a:srgbClr val="022040"/>
      </a:dk1>
      <a:lt1>
        <a:srgbClr val="FFFFFF"/>
      </a:lt1>
      <a:dk2>
        <a:srgbClr val="008192"/>
      </a:dk2>
      <a:lt2>
        <a:srgbClr val="FFFFFF"/>
      </a:lt2>
      <a:accent1>
        <a:srgbClr val="022040"/>
      </a:accent1>
      <a:accent2>
        <a:srgbClr val="11617F"/>
      </a:accent2>
      <a:accent3>
        <a:srgbClr val="008192"/>
      </a:accent3>
      <a:accent4>
        <a:srgbClr val="00999B"/>
      </a:accent4>
      <a:accent5>
        <a:srgbClr val="5CA551"/>
      </a:accent5>
      <a:accent6>
        <a:srgbClr val="F4D222"/>
      </a:accent6>
      <a:hlink>
        <a:srgbClr val="022040"/>
      </a:hlink>
      <a:folHlink>
        <a:srgbClr val="5CA55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192"/>
        </a:solidFill>
        <a:effectLst/>
      </a:spPr>
      <a:bodyPr rtlCol="0" anchor="ctr"/>
      <a:lstStyle>
        <a:defPPr algn="ctr">
          <a:lnSpc>
            <a:spcPct val="90000"/>
          </a:lnSpc>
          <a:defRPr sz="12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Tema_agradecimento_azul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1_Tema_conteúdo">
  <a:themeElements>
    <a:clrScheme name="TEMA CORES PPSA">
      <a:dk1>
        <a:srgbClr val="022040"/>
      </a:dk1>
      <a:lt1>
        <a:srgbClr val="FFFFFF"/>
      </a:lt1>
      <a:dk2>
        <a:srgbClr val="008192"/>
      </a:dk2>
      <a:lt2>
        <a:srgbClr val="FFFFFF"/>
      </a:lt2>
      <a:accent1>
        <a:srgbClr val="022040"/>
      </a:accent1>
      <a:accent2>
        <a:srgbClr val="11617F"/>
      </a:accent2>
      <a:accent3>
        <a:srgbClr val="008192"/>
      </a:accent3>
      <a:accent4>
        <a:srgbClr val="00999B"/>
      </a:accent4>
      <a:accent5>
        <a:srgbClr val="5CA551"/>
      </a:accent5>
      <a:accent6>
        <a:srgbClr val="F4D222"/>
      </a:accent6>
      <a:hlink>
        <a:srgbClr val="022040"/>
      </a:hlink>
      <a:folHlink>
        <a:srgbClr val="5CA55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192"/>
        </a:solidFill>
        <a:effectLst/>
      </a:spPr>
      <a:bodyPr rtlCol="0" anchor="ctr"/>
      <a:lstStyle>
        <a:defPPr algn="ctr">
          <a:lnSpc>
            <a:spcPct val="90000"/>
          </a:lnSpc>
          <a:defRPr sz="12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1_Capa e Slides de Transição">
  <a:themeElements>
    <a:clrScheme name="Pré-Sal">
      <a:dk1>
        <a:srgbClr val="4A4A4A"/>
      </a:dk1>
      <a:lt1>
        <a:sysClr val="window" lastClr="FFFFFF"/>
      </a:lt1>
      <a:dk2>
        <a:srgbClr val="002F4F"/>
      </a:dk2>
      <a:lt2>
        <a:srgbClr val="EEECE1"/>
      </a:lt2>
      <a:accent1>
        <a:srgbClr val="002F4F"/>
      </a:accent1>
      <a:accent2>
        <a:srgbClr val="2C4272"/>
      </a:accent2>
      <a:accent3>
        <a:srgbClr val="008192"/>
      </a:accent3>
      <a:accent4>
        <a:srgbClr val="00999B"/>
      </a:accent4>
      <a:accent5>
        <a:srgbClr val="5CA551"/>
      </a:accent5>
      <a:accent6>
        <a:srgbClr val="F4D205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9.04.22_Template corporativo_Novos_Logos.potx" id="{4DDA0A93-6A2F-41C0-AB7A-AC8653B495A9}" vid="{68C4E0E6-A5CB-4DD6-8618-521E53E94485}"/>
    </a:ext>
  </a:extLst>
</a:theme>
</file>

<file path=ppt/theme/theme9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Escritório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8bc998a-26d0-41a5-a3ff-3844a0b5771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83DDB8A8EE0D0A4F9224919E1EE291EC" ma:contentTypeVersion="15" ma:contentTypeDescription="Crie um novo documento." ma:contentTypeScope="" ma:versionID="a7dd9013c021f92088c1360af5959270">
  <xsd:schema xmlns:xsd="http://www.w3.org/2001/XMLSchema" xmlns:xs="http://www.w3.org/2001/XMLSchema" xmlns:p="http://schemas.microsoft.com/office/2006/metadata/properties" xmlns:ns3="df04f808-34aa-4ec7-b570-9235d45eff31" xmlns:ns4="78bc998a-26d0-41a5-a3ff-3844a0b5771c" targetNamespace="http://schemas.microsoft.com/office/2006/metadata/properties" ma:root="true" ma:fieldsID="8944bfdb6d06a823b968d9cbceee66e0" ns3:_="" ns4:_="">
    <xsd:import namespace="df04f808-34aa-4ec7-b570-9235d45eff31"/>
    <xsd:import namespace="78bc998a-26d0-41a5-a3ff-3844a0b5771c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DateTaken" minOccurs="0"/>
                <xsd:element ref="ns4:MediaServiceLocation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04f808-34aa-4ec7-b570-9235d45eff3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Dica de Compartilhamento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bc998a-26d0-41a5-a3ff-3844a0b577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3A9FC97-D33D-466C-A312-ECE323AC226D}">
  <ds:schemaRefs>
    <ds:schemaRef ds:uri="http://purl.org/dc/elements/1.1/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terms/"/>
    <ds:schemaRef ds:uri="78bc998a-26d0-41a5-a3ff-3844a0b5771c"/>
    <ds:schemaRef ds:uri="df04f808-34aa-4ec7-b570-9235d45eff31"/>
    <ds:schemaRef ds:uri="http://www.w3.org/XML/1998/namespace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6766CA8-579F-4335-B822-15484173C7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f04f808-34aa-4ec7-b570-9235d45eff31"/>
    <ds:schemaRef ds:uri="78bc998a-26d0-41a5-a3ff-3844a0b5771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4970314-9163-4294-AD39-C9940137740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Corporativo PPSA - Lumi_rev01</Template>
  <TotalTime>38317</TotalTime>
  <Words>953</Words>
  <Application>Microsoft Office PowerPoint</Application>
  <PresentationFormat>Personalizar</PresentationFormat>
  <Paragraphs>124</Paragraphs>
  <Slides>7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</vt:i4>
      </vt:variant>
    </vt:vector>
  </HeadingPairs>
  <TitlesOfParts>
    <vt:vector size="27" baseType="lpstr">
      <vt:lpstr>Arial</vt:lpstr>
      <vt:lpstr>Calibri</vt:lpstr>
      <vt:lpstr>Calibri Light</vt:lpstr>
      <vt:lpstr>Wingdings</vt:lpstr>
      <vt:lpstr>Wingdings 2</vt:lpstr>
      <vt:lpstr>Capa e Slides de Transição</vt:lpstr>
      <vt:lpstr>Listas Especiais</vt:lpstr>
      <vt:lpstr>Galerias</vt:lpstr>
      <vt:lpstr>Slides em Branco</vt:lpstr>
      <vt:lpstr>Tema_conteúdo</vt:lpstr>
      <vt:lpstr>Tema_agradecimento_azul</vt:lpstr>
      <vt:lpstr>1_Tema_conteúdo</vt:lpstr>
      <vt:lpstr>1_Capa e Slides de Transição</vt:lpstr>
      <vt:lpstr>Personalizar design</vt:lpstr>
      <vt:lpstr>4_Capa e Slides de Transição</vt:lpstr>
      <vt:lpstr>5_Capa e Slides de Transição</vt:lpstr>
      <vt:lpstr>11_Tema_conteúdo</vt:lpstr>
      <vt:lpstr>6_Capa e Slides de Transição</vt:lpstr>
      <vt:lpstr>2_Tema_conteúdo</vt:lpstr>
      <vt:lpstr>think-cell Slide</vt:lpstr>
      <vt:lpstr>Relatório dos RESULTADOS do planejamento Estratégico 2022-2026 </vt:lpstr>
      <vt:lpstr>Apresentação do PowerPoint</vt:lpstr>
      <vt:lpstr>Apresentação do PowerPoint</vt:lpstr>
      <vt:lpstr>Apresentação do PowerPoint</vt:lpstr>
      <vt:lpstr>Apresentação do PowerPoint</vt:lpstr>
      <vt:lpstr>   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 corporativo</dc:title>
  <dc:creator>Andrea Dunningham Baptista</dc:creator>
  <cp:lastModifiedBy>Andrea Dunningham Baptista</cp:lastModifiedBy>
  <cp:revision>403</cp:revision>
  <cp:lastPrinted>2020-01-21T12:33:52Z</cp:lastPrinted>
  <dcterms:created xsi:type="dcterms:W3CDTF">2019-03-08T19:28:01Z</dcterms:created>
  <dcterms:modified xsi:type="dcterms:W3CDTF">2023-03-21T18:48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8-11-19T00:00:00Z</vt:filetime>
  </property>
  <property fmtid="{D5CDD505-2E9C-101B-9397-08002B2CF9AE}" pid="3" name="Creator">
    <vt:lpwstr>Adobe InDesign CC 14.0 (Windows)</vt:lpwstr>
  </property>
  <property fmtid="{D5CDD505-2E9C-101B-9397-08002B2CF9AE}" pid="4" name="LastSaved">
    <vt:filetime>2018-11-19T00:00:00Z</vt:filetime>
  </property>
  <property fmtid="{D5CDD505-2E9C-101B-9397-08002B2CF9AE}" pid="5" name="ContentTypeId">
    <vt:lpwstr>0x01010083DDB8A8EE0D0A4F9224919E1EE291EC</vt:lpwstr>
  </property>
</Properties>
</file>